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3.xml" ContentType="application/vnd.openxmlformats-officedocument.presentationml.tags+xml"/>
  <Override PartName="/ppt/notesSlides/notesSlide5.xml" ContentType="application/vnd.openxmlformats-officedocument.presentationml.notesSlide+xml"/>
  <Override PartName="/ppt/tags/tag4.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5.xml" ContentType="application/vnd.openxmlformats-officedocument.presentationml.tags+xml"/>
  <Override PartName="/ppt/notesSlides/notesSlide13.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tags/tag8.xml" ContentType="application/vnd.openxmlformats-officedocument.presentationml.tags+xml"/>
  <Override PartName="/ppt/notesSlides/notesSlide16.xml" ContentType="application/vnd.openxmlformats-officedocument.presentationml.notesSlide+xml"/>
  <Override PartName="/ppt/tags/tag9.xml" ContentType="application/vnd.openxmlformats-officedocument.presentationml.tags+xml"/>
  <Override PartName="/ppt/notesSlides/notesSlide17.xml" ContentType="application/vnd.openxmlformats-officedocument.presentationml.notesSlide+xml"/>
  <Override PartName="/ppt/tags/tag10.xml" ContentType="application/vnd.openxmlformats-officedocument.presentationml.tag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tags/tag11.xml" ContentType="application/vnd.openxmlformats-officedocument.presentationml.tags+xml"/>
  <Override PartName="/ppt/notesSlides/notesSlide20.xml" ContentType="application/vnd.openxmlformats-officedocument.presentationml.notesSlide+xml"/>
  <Override PartName="/ppt/tags/tag12.xml" ContentType="application/vnd.openxmlformats-officedocument.presentationml.tags+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tags/tag13.xml" ContentType="application/vnd.openxmlformats-officedocument.presentationml.tags+xml"/>
  <Override PartName="/ppt/notesSlides/notesSlide28.xml" ContentType="application/vnd.openxmlformats-officedocument.presentationml.notesSlide+xml"/>
  <Override PartName="/ppt/tags/tag14.xml" ContentType="application/vnd.openxmlformats-officedocument.presentationml.tags+xml"/>
  <Override PartName="/ppt/notesSlides/notesSlide29.xml" ContentType="application/vnd.openxmlformats-officedocument.presentationml.notesSlide+xml"/>
  <Override PartName="/ppt/tags/tag15.xml" ContentType="application/vnd.openxmlformats-officedocument.presentationml.tags+xml"/>
  <Override PartName="/ppt/notesSlides/notesSlide30.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ppt/metadata" ContentType="application/binary"/>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embedTrueTypeFonts="1" saveSubsetFonts="1" autoCompressPictures="0">
  <p:sldMasterIdLst>
    <p:sldMasterId id="2147483648" r:id="rId1"/>
  </p:sldMasterIdLst>
  <p:notesMasterIdLst>
    <p:notesMasterId r:id="rId38"/>
  </p:notesMasterIdLst>
  <p:sldIdLst>
    <p:sldId id="256" r:id="rId2"/>
    <p:sldId id="384" r:id="rId3"/>
    <p:sldId id="258" r:id="rId4"/>
    <p:sldId id="259" r:id="rId5"/>
    <p:sldId id="386" r:id="rId6"/>
    <p:sldId id="264" r:id="rId7"/>
    <p:sldId id="260" r:id="rId8"/>
    <p:sldId id="261" r:id="rId9"/>
    <p:sldId id="380" r:id="rId10"/>
    <p:sldId id="336" r:id="rId11"/>
    <p:sldId id="385" r:id="rId12"/>
    <p:sldId id="390" r:id="rId13"/>
    <p:sldId id="388" r:id="rId14"/>
    <p:sldId id="342" r:id="rId15"/>
    <p:sldId id="352" r:id="rId16"/>
    <p:sldId id="263" r:id="rId17"/>
    <p:sldId id="387" r:id="rId18"/>
    <p:sldId id="375" r:id="rId19"/>
    <p:sldId id="363" r:id="rId20"/>
    <p:sldId id="275" r:id="rId21"/>
    <p:sldId id="382" r:id="rId22"/>
    <p:sldId id="383" r:id="rId23"/>
    <p:sldId id="276" r:id="rId24"/>
    <p:sldId id="303" r:id="rId25"/>
    <p:sldId id="376" r:id="rId26"/>
    <p:sldId id="279" r:id="rId27"/>
    <p:sldId id="280" r:id="rId28"/>
    <p:sldId id="283" r:id="rId29"/>
    <p:sldId id="389" r:id="rId30"/>
    <p:sldId id="323" r:id="rId31"/>
    <p:sldId id="379" r:id="rId32"/>
    <p:sldId id="378" r:id="rId33"/>
    <p:sldId id="267" r:id="rId34"/>
    <p:sldId id="381" r:id="rId35"/>
    <p:sldId id="373" r:id="rId36"/>
    <p:sldId id="377" r:id="rId37"/>
  </p:sldIdLst>
  <p:sldSz cx="12192000" cy="6858000"/>
  <p:notesSz cx="7010400" cy="9296400"/>
  <p:embeddedFontLst>
    <p:embeddedFont>
      <p:font typeface="Calibri" panose="020F0502020204030204" pitchFamily="34" charset="0"/>
      <p:regular r:id="rId39"/>
      <p:bold r:id="rId40"/>
      <p:italic r:id="rId41"/>
      <p:boldItalic r:id="rId42"/>
    </p:embeddedFont>
    <p:embeddedFont>
      <p:font typeface="PT Serif" panose="020B0604020202020204" charset="0"/>
      <p:regular r:id="rId43"/>
      <p:bold r:id="rId44"/>
      <p:italic r:id="rId45"/>
      <p:boldItalic r:id="rId46"/>
    </p:embeddedFont>
    <p:embeddedFont>
      <p:font typeface="Source Sans Pro" panose="020B0604020202020204" charset="0"/>
      <p:regular r:id="rId47"/>
      <p:bold r:id="rId48"/>
      <p:italic r:id="rId49"/>
      <p:boldItalic r:id="rId50"/>
    </p:embeddedFont>
    <p:embeddedFont>
      <p:font typeface="Source Sans Pro Semibold" panose="020B0604020202020204" charset="0"/>
      <p:bold r:id="rId51"/>
      <p:boldItalic r:id="rId52"/>
    </p:embeddedFont>
    <p:embeddedFont>
      <p:font typeface="Source Sans Pro Semibold" panose="020B0604020202020204" charset="0"/>
      <p:bold r:id="rId51"/>
      <p:boldItalic r:id="rId52"/>
    </p:embeddedFont>
  </p:embeddedFontLst>
  <p:custDataLst>
    <p:tags r:id="rId53"/>
  </p:custData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http://customooxmlschemas.google.com/">
      <go:slidesCustomData xmlns:go="http://customooxmlschemas.google.com/" xmlns:ahyp="http://schemas.microsoft.com/office/drawing/2018/hyperlinkcolor" xmlns:p15="http://schemas.microsoft.com/office/powerpoint/2012/main" xmlns:p14="http://schemas.microsoft.com/office/powerpoint/2010/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mc="http://schemas.openxmlformats.org/markup-compatibility/2006" xmlns="" r:id="rId69" roundtripDataSignature="AMtx7mh+ro306qLpZNp4LlCVpFzzejAaEQ=="/>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C6ED3EE-FBDE-2C5F-2E85-5D3903732B61}" name="Tami Corson" initials="TC" userId="S::tamera.corson@serveadvisory.com::17b03132-2f21-4edf-a2df-f25c30f43233"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0365B9"/>
    <a:srgbClr val="FFF8E5"/>
    <a:srgbClr val="F9F9F9"/>
    <a:srgbClr val="FCF8E8"/>
    <a:srgbClr val="FCF7C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417915B-8302-53CF-D2C7-B6F3D8DE8310}" v="1" dt="2022-04-19T12:34:06.035"/>
    <p1510:client id="{19E50F89-6936-3FD0-5745-06B18059A239}" v="189" dt="2022-04-18T19:41:28.015"/>
    <p1510:client id="{3B43DDE6-6292-2CF6-7BD2-C88E71982351}" v="158" dt="2022-04-19T12:31:06.674"/>
    <p1510:client id="{68B14A21-1A54-4054-8C52-4708997AF24A}" v="4321" dt="2022-04-19T16:40:25.789"/>
    <p1510:client id="{81A8E810-A772-4F40-A97E-29FFC89DE642}" v="862" dt="2022-04-18T20:37:19.853"/>
    <p1510:client id="{897BE59E-A54C-43BE-9EF2-7E115F645F03}" v="225" dt="2022-04-18T17:25:23.533"/>
    <p1510:client id="{9E218140-24F6-CE53-E868-22B9CB73B674}" v="104" dt="2022-04-19T15:08:32.645"/>
    <p1510:client id="{C0B79F31-32B3-3B16-EABD-C6ACC4281900}" v="1114" dt="2022-04-18T19:27:25.069"/>
    <p1510:client id="{E0C9DE80-9D5F-459F-938B-6F4A3C9C60D2}" v="519" dt="2022-04-19T17:15:36.959"/>
    <p1510:client id="{E5083D3F-752C-44C0-AEB5-4F1BCC5D4427}" v="315" dt="2022-04-18T22:10:41.575"/>
  </p1510:revLst>
</p1510:revInfo>
</file>

<file path=ppt/tableStyles.xml><?xml version="1.0" encoding="utf-8"?>
<a:tblStyleLst xmlns:a="http://schemas.openxmlformats.org/drawingml/2006/main" def="{AC820A2F-F511-4E25-9DDC-E36724F9A483}">
  <a:tblStyle styleId="{AC820A2F-F511-4E25-9DDC-E36724F9A483}" styleName="Table_0">
    <a:wholeTbl>
      <a:tcTxStyle b="off" i="off">
        <a:font>
          <a:latin typeface="Calibri"/>
          <a:ea typeface="Calibri"/>
          <a:cs typeface="Calibri"/>
        </a:font>
        <a:schemeClr val="dk1"/>
      </a:tcTxStyle>
      <a:tcStyle>
        <a:tcBdr>
          <a:left>
            <a:ln w="12700" cap="flat" cmpd="sng">
              <a:solidFill>
                <a:schemeClr val="lt1"/>
              </a:solidFill>
              <a:prstDash val="solid"/>
              <a:round/>
              <a:headEnd type="none" w="sm" len="sm"/>
              <a:tailEnd type="none" w="sm" len="sm"/>
            </a:ln>
          </a:left>
          <a:right>
            <a:ln w="12700" cap="flat" cmpd="sng">
              <a:solidFill>
                <a:schemeClr val="lt1"/>
              </a:solidFill>
              <a:prstDash val="solid"/>
              <a:round/>
              <a:headEnd type="none" w="sm" len="sm"/>
              <a:tailEnd type="none" w="sm" len="sm"/>
            </a:ln>
          </a:right>
          <a:top>
            <a:ln w="12700" cap="flat" cmpd="sng">
              <a:solidFill>
                <a:schemeClr val="lt1"/>
              </a:solidFill>
              <a:prstDash val="solid"/>
              <a:round/>
              <a:headEnd type="none" w="sm" len="sm"/>
              <a:tailEnd type="none" w="sm" len="sm"/>
            </a:ln>
          </a:top>
          <a:bottom>
            <a:ln w="12700" cap="flat" cmpd="sng">
              <a:solidFill>
                <a:schemeClr val="lt1"/>
              </a:solidFill>
              <a:prstDash val="solid"/>
              <a:round/>
              <a:headEnd type="none" w="sm" len="sm"/>
              <a:tailEnd type="none" w="sm" len="sm"/>
            </a:ln>
          </a:bottom>
          <a:insideH>
            <a:ln w="12700" cap="flat" cmpd="sng">
              <a:solidFill>
                <a:schemeClr val="lt1"/>
              </a:solidFill>
              <a:prstDash val="solid"/>
              <a:round/>
              <a:headEnd type="none" w="sm" len="sm"/>
              <a:tailEnd type="none" w="sm" len="sm"/>
            </a:ln>
          </a:insideH>
          <a:insideV>
            <a:ln w="12700" cap="flat" cmpd="sng">
              <a:solidFill>
                <a:schemeClr val="lt1"/>
              </a:solidFill>
              <a:prstDash val="solid"/>
              <a:round/>
              <a:headEnd type="none" w="sm" len="sm"/>
              <a:tailEnd type="none" w="sm" len="sm"/>
            </a:ln>
          </a:insideV>
        </a:tcBdr>
        <a:fill>
          <a:solidFill>
            <a:srgbClr val="E6E7E8"/>
          </a:solidFill>
        </a:fill>
      </a:tcStyle>
    </a:wholeTbl>
    <a:band1H>
      <a:tcTxStyle/>
      <a:tcStyle>
        <a:tcBdr/>
        <a:fill>
          <a:solidFill>
            <a:srgbClr val="CACCCF"/>
          </a:solidFill>
        </a:fill>
      </a:tcStyle>
    </a:band1H>
    <a:band2H>
      <a:tcTxStyle/>
      <a:tcStyle>
        <a:tcBdr/>
      </a:tcStyle>
    </a:band2H>
    <a:band1V>
      <a:tcTxStyle/>
      <a:tcStyle>
        <a:tcBdr/>
        <a:fill>
          <a:solidFill>
            <a:srgbClr val="CACCCF"/>
          </a:solidFill>
        </a:fill>
      </a:tcStyle>
    </a:band1V>
    <a:band2V>
      <a:tcTxStyle/>
      <a:tcStyle>
        <a:tcBdr/>
      </a:tcStyle>
    </a:band2V>
    <a:lastCol>
      <a:tcTxStyle b="on" i="off">
        <a:font>
          <a:latin typeface="Calibri"/>
          <a:ea typeface="Calibri"/>
          <a:cs typeface="Calibri"/>
        </a:font>
        <a:schemeClr val="lt1"/>
      </a:tcTxStyle>
      <a:tcStyle>
        <a:tcBdr/>
        <a:fill>
          <a:solidFill>
            <a:schemeClr val="accent1"/>
          </a:solidFill>
        </a:fill>
      </a:tcStyle>
    </a:lastCol>
    <a:firstCol>
      <a:tcTxStyle b="on" i="off">
        <a:font>
          <a:latin typeface="Calibri"/>
          <a:ea typeface="Calibri"/>
          <a:cs typeface="Calibri"/>
        </a:font>
        <a:schemeClr val="lt1"/>
      </a:tcTxStyle>
      <a:tcStyle>
        <a:tcBdr/>
        <a:fill>
          <a:solidFill>
            <a:schemeClr val="accent1"/>
          </a:solidFill>
        </a:fill>
      </a:tcStyle>
    </a:firstCol>
    <a:lastRow>
      <a:tcTxStyle b="on" i="off">
        <a:font>
          <a:latin typeface="Calibri"/>
          <a:ea typeface="Calibri"/>
          <a:cs typeface="Calibri"/>
        </a:font>
        <a:schemeClr val="lt1"/>
      </a:tcTxStyle>
      <a:tcStyle>
        <a:tcBdr>
          <a:top>
            <a:ln w="38100" cap="flat" cmpd="sng">
              <a:solidFill>
                <a:schemeClr val="lt1"/>
              </a:solidFill>
              <a:prstDash val="solid"/>
              <a:round/>
              <a:headEnd type="none" w="sm" len="sm"/>
              <a:tailEnd type="none" w="sm" len="sm"/>
            </a:ln>
          </a:top>
        </a:tcBdr>
        <a:fill>
          <a:solidFill>
            <a:schemeClr val="accent1"/>
          </a:solidFill>
        </a:fill>
      </a:tcStyle>
    </a:lastRow>
    <a:seCell>
      <a:tcTxStyle/>
      <a:tcStyle>
        <a:tcBdr/>
      </a:tcStyle>
    </a:seCell>
    <a:swCell>
      <a:tcTxStyle/>
      <a:tcStyle>
        <a:tcBdr/>
      </a:tcStyle>
    </a:swCell>
    <a:firstRow>
      <a:tcTxStyle b="on" i="off">
        <a:font>
          <a:latin typeface="Calibri"/>
          <a:ea typeface="Calibri"/>
          <a:cs typeface="Calibri"/>
        </a:font>
        <a:schemeClr val="lt1"/>
      </a:tcTxStyle>
      <a:tcStyle>
        <a:tcBdr>
          <a:bottom>
            <a:ln w="38100" cap="flat" cmpd="sng">
              <a:solidFill>
                <a:schemeClr val="lt1"/>
              </a:solidFill>
              <a:prstDash val="solid"/>
              <a:round/>
              <a:headEnd type="none" w="sm" len="sm"/>
              <a:tailEnd type="none" w="sm" len="sm"/>
            </a:ln>
          </a:bottom>
        </a:tcBdr>
        <a:fill>
          <a:solidFill>
            <a:schemeClr val="accent1"/>
          </a:solidFill>
        </a:fill>
      </a:tcStyle>
    </a:firstRow>
    <a:neCell>
      <a:tcTxStyle/>
      <a:tcStyle>
        <a:tcBdr/>
      </a:tcStyle>
    </a:neCell>
    <a:nwCell>
      <a:tcTxStyle/>
      <a:tcStyle>
        <a:tcBdr/>
      </a:tcStyle>
    </a:nwCell>
  </a:tblStyle>
  <a:tblStyle styleId="{1F4BC13E-62C9-4DB2-9D77-78E559E1D0AC}" styleName="Table_1">
    <a:wholeTbl>
      <a:tcTxStyle>
        <a:font>
          <a:latin typeface="Arial"/>
          <a:ea typeface="Arial"/>
          <a:cs typeface="Arial"/>
        </a:font>
        <a:srgbClr val="000000"/>
      </a:tcTxStyle>
      <a:tcStyle>
        <a:tcBdr/>
      </a:tcStyle>
    </a:wholeTbl>
    <a:band1H>
      <a:tcTxStyle/>
      <a:tcStyle>
        <a:tcBdr/>
      </a:tcStyle>
    </a:band1H>
    <a:band2H>
      <a:tcTxStyle/>
      <a:tcStyle>
        <a:tcBdr/>
      </a:tcStyle>
    </a:band2H>
    <a:band1V>
      <a:tcTxStyle/>
      <a:tcStyle>
        <a:tcBdr/>
      </a:tcStyle>
    </a:band1V>
    <a:band2V>
      <a:tcTxStyle/>
      <a:tcStyle>
        <a:tcBdr/>
      </a:tcStyle>
    </a:band2V>
    <a:lastCol>
      <a:tcTxStyle/>
      <a:tcStyle>
        <a:tcBdr/>
      </a:tcStyle>
    </a:lastCol>
    <a:firstCol>
      <a:tcTxStyle/>
      <a:tcStyle>
        <a:tcBdr/>
      </a:tcStyle>
    </a:firstCol>
    <a:lastRow>
      <a:tcTxStyle/>
      <a:tcStyle>
        <a:tcBdr/>
      </a:tcStyle>
    </a:lastRow>
    <a:seCell>
      <a:tcTxStyle/>
      <a:tcStyle>
        <a:tcBdr/>
      </a:tcStyle>
    </a:seCell>
    <a:swCell>
      <a:tcTxStyle/>
      <a:tcStyle>
        <a:tcBdr/>
      </a:tcStyle>
    </a:swCell>
    <a:firstRow>
      <a:tcTxStyle/>
      <a:tcStyle>
        <a:tcBdr/>
      </a:tcStyle>
    </a:firstRow>
    <a:neCell>
      <a:tcTxStyle/>
      <a:tcStyle>
        <a:tcBdr/>
      </a:tcStyle>
    </a:neCell>
    <a:nwCell>
      <a:tcTxStyle/>
      <a:tcStyle>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guide orient="horz" pos="2160"/>
        <p:guide pos="3840"/>
      </p:guideLst>
    </p:cSldViewPr>
  </p:slide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font" Target="fonts/font1.fntdata"/><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font" Target="fonts/font4.fntdata"/><Relationship Id="rId47" Type="http://schemas.openxmlformats.org/officeDocument/2006/relationships/font" Target="fonts/font9.fntdata"/><Relationship Id="rId50" Type="http://schemas.openxmlformats.org/officeDocument/2006/relationships/font" Target="fonts/font12.fntdata"/><Relationship Id="rId76" Type="http://schemas.microsoft.com/office/2018/10/relationships/authors" Target="authors.xml"/><Relationship Id="rId7" Type="http://schemas.openxmlformats.org/officeDocument/2006/relationships/slide" Target="slides/slide6.xml"/><Relationship Id="rId71"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font" Target="fonts/font2.fntdata"/><Relationship Id="rId45" Type="http://schemas.openxmlformats.org/officeDocument/2006/relationships/font" Target="fonts/font7.fntdata"/><Relationship Id="rId53" Type="http://schemas.openxmlformats.org/officeDocument/2006/relationships/tags" Target="tags/tag1.xml"/><Relationship Id="rId74" Type="http://schemas.microsoft.com/office/2016/11/relationships/changesInfo" Target="changesInfos/changesInfo1.xml"/><Relationship Id="rId5" Type="http://schemas.openxmlformats.org/officeDocument/2006/relationships/slide" Target="slides/slide4.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font" Target="fonts/font5.fntdata"/><Relationship Id="rId48" Type="http://schemas.openxmlformats.org/officeDocument/2006/relationships/font" Target="fonts/font10.fntdata"/><Relationship Id="rId69" Type="http://customschemas.google.com/relationships/presentationmetadata" Target="metadata"/><Relationship Id="rId8" Type="http://schemas.openxmlformats.org/officeDocument/2006/relationships/slide" Target="slides/slide7.xml"/><Relationship Id="rId51" Type="http://schemas.openxmlformats.org/officeDocument/2006/relationships/font" Target="fonts/font13.fntdata"/><Relationship Id="rId72" Type="http://schemas.openxmlformats.org/officeDocument/2006/relationships/theme" Target="theme/theme1.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notesMaster" Target="notesMasters/notesMaster1.xml"/><Relationship Id="rId46" Type="http://schemas.openxmlformats.org/officeDocument/2006/relationships/font" Target="fonts/font8.fntdata"/><Relationship Id="rId20" Type="http://schemas.openxmlformats.org/officeDocument/2006/relationships/slide" Target="slides/slide19.xml"/><Relationship Id="rId41" Type="http://schemas.openxmlformats.org/officeDocument/2006/relationships/font" Target="fonts/font3.fntdata"/><Relationship Id="rId70" Type="http://schemas.openxmlformats.org/officeDocument/2006/relationships/presProps" Target="presProps.xml"/><Relationship Id="rId75" Type="http://schemas.microsoft.com/office/2015/10/relationships/revisionInfo" Target="revisionInfo.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font" Target="fonts/font11.fntdata"/><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font" Target="fonts/font6.fntdata"/><Relationship Id="rId52" Type="http://schemas.openxmlformats.org/officeDocument/2006/relationships/font" Target="fonts/font14.fntdata"/><Relationship Id="rId73"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Guest User" userId="S::urn:spo:anon#bc72e6c931b442e1b83d9d7baffb28dcb7bee849e2d9a5e2bb7cc25170a1c113::" providerId="AD" clId="Web-{51BBEAE0-DDA1-0435-AA7B-E3B3F4FE8ADD}"/>
    <pc:docChg chg="addSld modSld sldOrd">
      <pc:chgData name="Guest User" userId="S::urn:spo:anon#bc72e6c931b442e1b83d9d7baffb28dcb7bee849e2d9a5e2bb7cc25170a1c113::" providerId="AD" clId="Web-{51BBEAE0-DDA1-0435-AA7B-E3B3F4FE8ADD}" dt="2022-03-21T21:23:38.132" v="62"/>
      <pc:docMkLst>
        <pc:docMk/>
      </pc:docMkLst>
      <pc:sldChg chg="modSp">
        <pc:chgData name="Guest User" userId="S::urn:spo:anon#bc72e6c931b442e1b83d9d7baffb28dcb7bee849e2d9a5e2bb7cc25170a1c113::" providerId="AD" clId="Web-{51BBEAE0-DDA1-0435-AA7B-E3B3F4FE8ADD}" dt="2022-03-21T21:23:08.583" v="61" actId="20577"/>
        <pc:sldMkLst>
          <pc:docMk/>
          <pc:sldMk cId="0" sldId="269"/>
        </pc:sldMkLst>
        <pc:spChg chg="mod">
          <ac:chgData name="Guest User" userId="S::urn:spo:anon#bc72e6c931b442e1b83d9d7baffb28dcb7bee849e2d9a5e2bb7cc25170a1c113::" providerId="AD" clId="Web-{51BBEAE0-DDA1-0435-AA7B-E3B3F4FE8ADD}" dt="2022-03-21T21:23:08.583" v="61" actId="20577"/>
          <ac:spMkLst>
            <pc:docMk/>
            <pc:sldMk cId="0" sldId="269"/>
            <ac:spMk id="16" creationId="{F29BBF2D-5F15-45EC-BE2A-14ABF1E18DB5}"/>
          </ac:spMkLst>
        </pc:spChg>
      </pc:sldChg>
      <pc:sldChg chg="ord">
        <pc:chgData name="Guest User" userId="S::urn:spo:anon#bc72e6c931b442e1b83d9d7baffb28dcb7bee849e2d9a5e2bb7cc25170a1c113::" providerId="AD" clId="Web-{51BBEAE0-DDA1-0435-AA7B-E3B3F4FE8ADD}" dt="2022-03-21T21:23:38.132" v="62"/>
        <pc:sldMkLst>
          <pc:docMk/>
          <pc:sldMk cId="1209993513" sldId="338"/>
        </pc:sldMkLst>
      </pc:sldChg>
      <pc:sldChg chg="modSp">
        <pc:chgData name="Guest User" userId="S::urn:spo:anon#bc72e6c931b442e1b83d9d7baffb28dcb7bee849e2d9a5e2bb7cc25170a1c113::" providerId="AD" clId="Web-{51BBEAE0-DDA1-0435-AA7B-E3B3F4FE8ADD}" dt="2022-03-21T21:16:11.602" v="0" actId="20577"/>
        <pc:sldMkLst>
          <pc:docMk/>
          <pc:sldMk cId="1639760722" sldId="344"/>
        </pc:sldMkLst>
        <pc:spChg chg="mod">
          <ac:chgData name="Guest User" userId="S::urn:spo:anon#bc72e6c931b442e1b83d9d7baffb28dcb7bee849e2d9a5e2bb7cc25170a1c113::" providerId="AD" clId="Web-{51BBEAE0-DDA1-0435-AA7B-E3B3F4FE8ADD}" dt="2022-03-21T21:16:11.602" v="0" actId="20577"/>
          <ac:spMkLst>
            <pc:docMk/>
            <pc:sldMk cId="1639760722" sldId="344"/>
            <ac:spMk id="16" creationId="{F29BBF2D-5F15-45EC-BE2A-14ABF1E18DB5}"/>
          </ac:spMkLst>
        </pc:spChg>
      </pc:sldChg>
      <pc:sldChg chg="modSp add replId">
        <pc:chgData name="Guest User" userId="S::urn:spo:anon#bc72e6c931b442e1b83d9d7baffb28dcb7bee849e2d9a5e2bb7cc25170a1c113::" providerId="AD" clId="Web-{51BBEAE0-DDA1-0435-AA7B-E3B3F4FE8ADD}" dt="2022-03-21T21:16:20.540" v="2" actId="20577"/>
        <pc:sldMkLst>
          <pc:docMk/>
          <pc:sldMk cId="3576351713" sldId="354"/>
        </pc:sldMkLst>
        <pc:spChg chg="mod">
          <ac:chgData name="Guest User" userId="S::urn:spo:anon#bc72e6c931b442e1b83d9d7baffb28dcb7bee849e2d9a5e2bb7cc25170a1c113::" providerId="AD" clId="Web-{51BBEAE0-DDA1-0435-AA7B-E3B3F4FE8ADD}" dt="2022-03-21T21:16:20.540" v="2" actId="20577"/>
          <ac:spMkLst>
            <pc:docMk/>
            <pc:sldMk cId="3576351713" sldId="354"/>
            <ac:spMk id="16" creationId="{F29BBF2D-5F15-45EC-BE2A-14ABF1E18DB5}"/>
          </ac:spMkLst>
        </pc:spChg>
      </pc:sldChg>
      <pc:sldChg chg="modSp add replId">
        <pc:chgData name="Guest User" userId="S::urn:spo:anon#bc72e6c931b442e1b83d9d7baffb28dcb7bee849e2d9a5e2bb7cc25170a1c113::" providerId="AD" clId="Web-{51BBEAE0-DDA1-0435-AA7B-E3B3F4FE8ADD}" dt="2022-03-21T21:16:57.668" v="11" actId="20577"/>
        <pc:sldMkLst>
          <pc:docMk/>
          <pc:sldMk cId="2060296423" sldId="355"/>
        </pc:sldMkLst>
        <pc:spChg chg="mod">
          <ac:chgData name="Guest User" userId="S::urn:spo:anon#bc72e6c931b442e1b83d9d7baffb28dcb7bee849e2d9a5e2bb7cc25170a1c113::" providerId="AD" clId="Web-{51BBEAE0-DDA1-0435-AA7B-E3B3F4FE8ADD}" dt="2022-03-21T21:16:57.668" v="11" actId="20577"/>
          <ac:spMkLst>
            <pc:docMk/>
            <pc:sldMk cId="2060296423" sldId="355"/>
            <ac:spMk id="7" creationId="{1129B7BA-4DD2-4F48-8014-45C471497F3B}"/>
          </ac:spMkLst>
        </pc:spChg>
      </pc:sldChg>
    </pc:docChg>
  </pc:docChgLst>
  <pc:docChgLst>
    <pc:chgData name="Guest User" userId="S::urn:spo:anon#c437c167f923f422528aee73b5e70e5726914197d2dec7f210a84ae49e8498a7::" providerId="AD" clId="Web-{B60CE266-9AD0-987C-075D-B5A6B43FDD65}"/>
    <pc:docChg chg="modSld">
      <pc:chgData name="Guest User" userId="S::urn:spo:anon#c437c167f923f422528aee73b5e70e5726914197d2dec7f210a84ae49e8498a7::" providerId="AD" clId="Web-{B60CE266-9AD0-987C-075D-B5A6B43FDD65}" dt="2022-04-04T16:10:22.497" v="96" actId="20577"/>
      <pc:docMkLst>
        <pc:docMk/>
      </pc:docMkLst>
      <pc:sldChg chg="addSp delSp modSp">
        <pc:chgData name="Guest User" userId="S::urn:spo:anon#c437c167f923f422528aee73b5e70e5726914197d2dec7f210a84ae49e8498a7::" providerId="AD" clId="Web-{B60CE266-9AD0-987C-075D-B5A6B43FDD65}" dt="2022-04-04T14:27:46.444" v="44"/>
        <pc:sldMkLst>
          <pc:docMk/>
          <pc:sldMk cId="3720673345" sldId="336"/>
        </pc:sldMkLst>
        <pc:spChg chg="del mod">
          <ac:chgData name="Guest User" userId="S::urn:spo:anon#c437c167f923f422528aee73b5e70e5726914197d2dec7f210a84ae49e8498a7::" providerId="AD" clId="Web-{B60CE266-9AD0-987C-075D-B5A6B43FDD65}" dt="2022-04-04T14:27:46.444" v="44"/>
          <ac:spMkLst>
            <pc:docMk/>
            <pc:sldMk cId="3720673345" sldId="336"/>
            <ac:spMk id="2" creationId="{8590B0AD-CF71-4028-AE61-68B4F1150A4F}"/>
          </ac:spMkLst>
        </pc:spChg>
        <pc:picChg chg="add mod">
          <ac:chgData name="Guest User" userId="S::urn:spo:anon#c437c167f923f422528aee73b5e70e5726914197d2dec7f210a84ae49e8498a7::" providerId="AD" clId="Web-{B60CE266-9AD0-987C-075D-B5A6B43FDD65}" dt="2022-04-04T14:27:25.865" v="41" actId="14100"/>
          <ac:picMkLst>
            <pc:docMk/>
            <pc:sldMk cId="3720673345" sldId="336"/>
            <ac:picMk id="3" creationId="{B724F98D-FF1B-BCB1-E2C4-E208C15BF35F}"/>
          </ac:picMkLst>
        </pc:picChg>
        <pc:picChg chg="add mod ord modCrop">
          <ac:chgData name="Guest User" userId="S::urn:spo:anon#c437c167f923f422528aee73b5e70e5726914197d2dec7f210a84ae49e8498a7::" providerId="AD" clId="Web-{B60CE266-9AD0-987C-075D-B5A6B43FDD65}" dt="2022-04-04T14:27:30.709" v="42" actId="1076"/>
          <ac:picMkLst>
            <pc:docMk/>
            <pc:sldMk cId="3720673345" sldId="336"/>
            <ac:picMk id="4" creationId="{09CA8A60-BBAA-9446-D21F-66F43DA127B3}"/>
          </ac:picMkLst>
        </pc:picChg>
        <pc:picChg chg="add mod">
          <ac:chgData name="Guest User" userId="S::urn:spo:anon#c437c167f923f422528aee73b5e70e5726914197d2dec7f210a84ae49e8498a7::" providerId="AD" clId="Web-{B60CE266-9AD0-987C-075D-B5A6B43FDD65}" dt="2022-04-04T14:26:40.895" v="30" actId="1076"/>
          <ac:picMkLst>
            <pc:docMk/>
            <pc:sldMk cId="3720673345" sldId="336"/>
            <ac:picMk id="6" creationId="{C960AA0D-8A45-1E16-84E3-8E85DDC162F3}"/>
          </ac:picMkLst>
        </pc:picChg>
      </pc:sldChg>
      <pc:sldChg chg="modSp">
        <pc:chgData name="Guest User" userId="S::urn:spo:anon#c437c167f923f422528aee73b5e70e5726914197d2dec7f210a84ae49e8498a7::" providerId="AD" clId="Web-{B60CE266-9AD0-987C-075D-B5A6B43FDD65}" dt="2022-04-04T16:10:22.497" v="96" actId="20577"/>
        <pc:sldMkLst>
          <pc:docMk/>
          <pc:sldMk cId="3762238417" sldId="367"/>
        </pc:sldMkLst>
        <pc:spChg chg="mod">
          <ac:chgData name="Guest User" userId="S::urn:spo:anon#c437c167f923f422528aee73b5e70e5726914197d2dec7f210a84ae49e8498a7::" providerId="AD" clId="Web-{B60CE266-9AD0-987C-075D-B5A6B43FDD65}" dt="2022-04-04T16:10:22.497" v="96" actId="20577"/>
          <ac:spMkLst>
            <pc:docMk/>
            <pc:sldMk cId="3762238417" sldId="367"/>
            <ac:spMk id="3" creationId="{346B9D98-5C00-250F-2E85-76FD3A920D22}"/>
          </ac:spMkLst>
        </pc:spChg>
        <pc:spChg chg="mod">
          <ac:chgData name="Guest User" userId="S::urn:spo:anon#c437c167f923f422528aee73b5e70e5726914197d2dec7f210a84ae49e8498a7::" providerId="AD" clId="Web-{B60CE266-9AD0-987C-075D-B5A6B43FDD65}" dt="2022-04-04T15:06:53.812" v="66" actId="1076"/>
          <ac:spMkLst>
            <pc:docMk/>
            <pc:sldMk cId="3762238417" sldId="367"/>
            <ac:spMk id="9" creationId="{A559BC09-4387-488E-85BC-CBE75B1CE17C}"/>
          </ac:spMkLst>
        </pc:spChg>
      </pc:sldChg>
      <pc:sldChg chg="modSp">
        <pc:chgData name="Guest User" userId="S::urn:spo:anon#c437c167f923f422528aee73b5e70e5726914197d2dec7f210a84ae49e8498a7::" providerId="AD" clId="Web-{B60CE266-9AD0-987C-075D-B5A6B43FDD65}" dt="2022-04-04T15:06:43.952" v="65" actId="20577"/>
        <pc:sldMkLst>
          <pc:docMk/>
          <pc:sldMk cId="874573340" sldId="373"/>
        </pc:sldMkLst>
        <pc:spChg chg="mod">
          <ac:chgData name="Guest User" userId="S::urn:spo:anon#c437c167f923f422528aee73b5e70e5726914197d2dec7f210a84ae49e8498a7::" providerId="AD" clId="Web-{B60CE266-9AD0-987C-075D-B5A6B43FDD65}" dt="2022-04-04T15:05:49.982" v="63" actId="1076"/>
          <ac:spMkLst>
            <pc:docMk/>
            <pc:sldMk cId="874573340" sldId="373"/>
            <ac:spMk id="15" creationId="{C4C62486-463F-4FC0-B499-CE49552602ED}"/>
          </ac:spMkLst>
        </pc:spChg>
        <pc:spChg chg="mod">
          <ac:chgData name="Guest User" userId="S::urn:spo:anon#c437c167f923f422528aee73b5e70e5726914197d2dec7f210a84ae49e8498a7::" providerId="AD" clId="Web-{B60CE266-9AD0-987C-075D-B5A6B43FDD65}" dt="2022-04-04T15:06:43.952" v="65" actId="20577"/>
          <ac:spMkLst>
            <pc:docMk/>
            <pc:sldMk cId="874573340" sldId="373"/>
            <ac:spMk id="16" creationId="{FA350308-1FE7-45EE-B3DC-3D3434DF4E7B}"/>
          </ac:spMkLst>
        </pc:spChg>
      </pc:sldChg>
    </pc:docChg>
  </pc:docChgLst>
  <pc:docChgLst>
    <pc:chgData name="Guest User" userId="S::urn:spo:anon#bc72e6c931b442e1b83d9d7baffb28dcb7bee849e2d9a5e2bb7cc25170a1c113::" providerId="AD" clId="Web-{B279289B-7874-F75B-DAC2-F4B3A353269E}"/>
    <pc:docChg chg="addSld delSld modSld">
      <pc:chgData name="Guest User" userId="S::urn:spo:anon#bc72e6c931b442e1b83d9d7baffb28dcb7bee849e2d9a5e2bb7cc25170a1c113::" providerId="AD" clId="Web-{B279289B-7874-F75B-DAC2-F4B3A353269E}" dt="2022-03-21T23:25:38.433" v="840"/>
      <pc:docMkLst>
        <pc:docMk/>
      </pc:docMkLst>
      <pc:sldChg chg="delSp modSp">
        <pc:chgData name="Guest User" userId="S::urn:spo:anon#bc72e6c931b442e1b83d9d7baffb28dcb7bee849e2d9a5e2bb7cc25170a1c113::" providerId="AD" clId="Web-{B279289B-7874-F75B-DAC2-F4B3A353269E}" dt="2022-03-21T22:58:36.931" v="246" actId="1076"/>
        <pc:sldMkLst>
          <pc:docMk/>
          <pc:sldMk cId="0" sldId="264"/>
        </pc:sldMkLst>
        <pc:spChg chg="mod">
          <ac:chgData name="Guest User" userId="S::urn:spo:anon#bc72e6c931b442e1b83d9d7baffb28dcb7bee849e2d9a5e2bb7cc25170a1c113::" providerId="AD" clId="Web-{B279289B-7874-F75B-DAC2-F4B3A353269E}" dt="2022-03-21T22:58:31.399" v="244" actId="1076"/>
          <ac:spMkLst>
            <pc:docMk/>
            <pc:sldMk cId="0" sldId="264"/>
            <ac:spMk id="26" creationId="{63D5B65A-793E-4E79-B52C-834340BABD85}"/>
          </ac:spMkLst>
        </pc:spChg>
        <pc:spChg chg="mod">
          <ac:chgData name="Guest User" userId="S::urn:spo:anon#bc72e6c931b442e1b83d9d7baffb28dcb7bee849e2d9a5e2bb7cc25170a1c113::" providerId="AD" clId="Web-{B279289B-7874-F75B-DAC2-F4B3A353269E}" dt="2022-03-21T22:58:22.712" v="238" actId="1076"/>
          <ac:spMkLst>
            <pc:docMk/>
            <pc:sldMk cId="0" sldId="264"/>
            <ac:spMk id="29" creationId="{CE4534C1-122C-4584-960F-B0117C9A488A}"/>
          </ac:spMkLst>
        </pc:spChg>
        <pc:spChg chg="mod">
          <ac:chgData name="Guest User" userId="S::urn:spo:anon#bc72e6c931b442e1b83d9d7baffb28dcb7bee849e2d9a5e2bb7cc25170a1c113::" providerId="AD" clId="Web-{B279289B-7874-F75B-DAC2-F4B3A353269E}" dt="2022-03-21T22:58:31.415" v="245" actId="1076"/>
          <ac:spMkLst>
            <pc:docMk/>
            <pc:sldMk cId="0" sldId="264"/>
            <ac:spMk id="30" creationId="{100AEE39-1F64-4466-ACEE-5B01ED088536}"/>
          </ac:spMkLst>
        </pc:spChg>
        <pc:spChg chg="mod">
          <ac:chgData name="Guest User" userId="S::urn:spo:anon#bc72e6c931b442e1b83d9d7baffb28dcb7bee849e2d9a5e2bb7cc25170a1c113::" providerId="AD" clId="Web-{B279289B-7874-F75B-DAC2-F4B3A353269E}" dt="2022-03-21T22:55:45.958" v="159" actId="1076"/>
          <ac:spMkLst>
            <pc:docMk/>
            <pc:sldMk cId="0" sldId="264"/>
            <ac:spMk id="73" creationId="{A01F0CD4-3151-470D-98D7-45285C90FD04}"/>
          </ac:spMkLst>
        </pc:spChg>
        <pc:spChg chg="mod">
          <ac:chgData name="Guest User" userId="S::urn:spo:anon#bc72e6c931b442e1b83d9d7baffb28dcb7bee849e2d9a5e2bb7cc25170a1c113::" providerId="AD" clId="Web-{B279289B-7874-F75B-DAC2-F4B3A353269E}" dt="2022-03-21T22:58:36.931" v="246" actId="1076"/>
          <ac:spMkLst>
            <pc:docMk/>
            <pc:sldMk cId="0" sldId="264"/>
            <ac:spMk id="76" creationId="{268B7FA2-6C97-4334-B410-4B8B13FCDB35}"/>
          </ac:spMkLst>
        </pc:spChg>
        <pc:spChg chg="mod">
          <ac:chgData name="Guest User" userId="S::urn:spo:anon#bc72e6c931b442e1b83d9d7baffb28dcb7bee849e2d9a5e2bb7cc25170a1c113::" providerId="AD" clId="Web-{B279289B-7874-F75B-DAC2-F4B3A353269E}" dt="2022-03-21T22:57:48.664" v="217" actId="1076"/>
          <ac:spMkLst>
            <pc:docMk/>
            <pc:sldMk cId="0" sldId="264"/>
            <ac:spMk id="467" creationId="{00000000-0000-0000-0000-000000000000}"/>
          </ac:spMkLst>
        </pc:spChg>
        <pc:spChg chg="mod">
          <ac:chgData name="Guest User" userId="S::urn:spo:anon#bc72e6c931b442e1b83d9d7baffb28dcb7bee849e2d9a5e2bb7cc25170a1c113::" providerId="AD" clId="Web-{B279289B-7874-F75B-DAC2-F4B3A353269E}" dt="2022-03-21T22:58:09.086" v="229" actId="14100"/>
          <ac:spMkLst>
            <pc:docMk/>
            <pc:sldMk cId="0" sldId="264"/>
            <ac:spMk id="472" creationId="{00000000-0000-0000-0000-000000000000}"/>
          </ac:spMkLst>
        </pc:spChg>
        <pc:grpChg chg="mod">
          <ac:chgData name="Guest User" userId="S::urn:spo:anon#bc72e6c931b442e1b83d9d7baffb28dcb7bee849e2d9a5e2bb7cc25170a1c113::" providerId="AD" clId="Web-{B279289B-7874-F75B-DAC2-F4B3A353269E}" dt="2022-03-21T22:58:31.337" v="240" actId="1076"/>
          <ac:grpSpMkLst>
            <pc:docMk/>
            <pc:sldMk cId="0" sldId="264"/>
            <ac:grpSpMk id="71" creationId="{6AE99249-61B0-4010-A9C3-CCC1E2A6D758}"/>
          </ac:grpSpMkLst>
        </pc:grpChg>
        <pc:grpChg chg="mod">
          <ac:chgData name="Guest User" userId="S::urn:spo:anon#bc72e6c931b442e1b83d9d7baffb28dcb7bee849e2d9a5e2bb7cc25170a1c113::" providerId="AD" clId="Web-{B279289B-7874-F75B-DAC2-F4B3A353269E}" dt="2022-03-21T22:58:31.353" v="241" actId="1076"/>
          <ac:grpSpMkLst>
            <pc:docMk/>
            <pc:sldMk cId="0" sldId="264"/>
            <ac:grpSpMk id="75" creationId="{2F4C0EEE-B2A5-4F5F-BA6D-5346F5BDD0C0}"/>
          </ac:grpSpMkLst>
        </pc:grpChg>
        <pc:grpChg chg="mod">
          <ac:chgData name="Guest User" userId="S::urn:spo:anon#bc72e6c931b442e1b83d9d7baffb28dcb7bee849e2d9a5e2bb7cc25170a1c113::" providerId="AD" clId="Web-{B279289B-7874-F75B-DAC2-F4B3A353269E}" dt="2022-03-21T22:58:22.649" v="234" actId="1076"/>
          <ac:grpSpMkLst>
            <pc:docMk/>
            <pc:sldMk cId="0" sldId="264"/>
            <ac:grpSpMk id="78" creationId="{F7502587-5DE6-406D-9E54-BB691FC4A86F}"/>
          </ac:grpSpMkLst>
        </pc:grpChg>
        <pc:graphicFrameChg chg="mod modGraphic">
          <ac:chgData name="Guest User" userId="S::urn:spo:anon#bc72e6c931b442e1b83d9d7baffb28dcb7bee849e2d9a5e2bb7cc25170a1c113::" providerId="AD" clId="Web-{B279289B-7874-F75B-DAC2-F4B3A353269E}" dt="2022-03-21T22:57:53.836" v="218" actId="1076"/>
          <ac:graphicFrameMkLst>
            <pc:docMk/>
            <pc:sldMk cId="0" sldId="264"/>
            <ac:graphicFrameMk id="488" creationId="{00000000-0000-0000-0000-000000000000}"/>
          </ac:graphicFrameMkLst>
        </pc:graphicFrameChg>
        <pc:cxnChg chg="del mod">
          <ac:chgData name="Guest User" userId="S::urn:spo:anon#bc72e6c931b442e1b83d9d7baffb28dcb7bee849e2d9a5e2bb7cc25170a1c113::" providerId="AD" clId="Web-{B279289B-7874-F75B-DAC2-F4B3A353269E}" dt="2022-03-21T22:58:15.149" v="230"/>
          <ac:cxnSpMkLst>
            <pc:docMk/>
            <pc:sldMk cId="0" sldId="264"/>
            <ac:cxnSpMk id="27" creationId="{1C2878D1-A3A9-40A6-80C6-FFD7D7BC0686}"/>
          </ac:cxnSpMkLst>
        </pc:cxnChg>
        <pc:cxnChg chg="mod">
          <ac:chgData name="Guest User" userId="S::urn:spo:anon#bc72e6c931b442e1b83d9d7baffb28dcb7bee849e2d9a5e2bb7cc25170a1c113::" providerId="AD" clId="Web-{B279289B-7874-F75B-DAC2-F4B3A353269E}" dt="2022-03-21T22:58:31.368" v="242" actId="1076"/>
          <ac:cxnSpMkLst>
            <pc:docMk/>
            <pc:sldMk cId="0" sldId="264"/>
            <ac:cxnSpMk id="83" creationId="{8A2F6C26-81D3-43E5-B4BE-4DD32D42E75D}"/>
          </ac:cxnSpMkLst>
        </pc:cxnChg>
        <pc:cxnChg chg="mod">
          <ac:chgData name="Guest User" userId="S::urn:spo:anon#bc72e6c931b442e1b83d9d7baffb28dcb7bee849e2d9a5e2bb7cc25170a1c113::" providerId="AD" clId="Web-{B279289B-7874-F75B-DAC2-F4B3A353269E}" dt="2022-03-21T22:58:31.384" v="243" actId="1076"/>
          <ac:cxnSpMkLst>
            <pc:docMk/>
            <pc:sldMk cId="0" sldId="264"/>
            <ac:cxnSpMk id="84" creationId="{AC6210DF-562A-41C9-9E37-6F2588D8CA5A}"/>
          </ac:cxnSpMkLst>
        </pc:cxnChg>
        <pc:cxnChg chg="del mod">
          <ac:chgData name="Guest User" userId="S::urn:spo:anon#bc72e6c931b442e1b83d9d7baffb28dcb7bee849e2d9a5e2bb7cc25170a1c113::" providerId="AD" clId="Web-{B279289B-7874-F75B-DAC2-F4B3A353269E}" dt="2022-03-21T22:58:17.540" v="231"/>
          <ac:cxnSpMkLst>
            <pc:docMk/>
            <pc:sldMk cId="0" sldId="264"/>
            <ac:cxnSpMk id="85" creationId="{808CDE5B-4E60-4E50-80CC-FFA002DFE02D}"/>
          </ac:cxnSpMkLst>
        </pc:cxnChg>
      </pc:sldChg>
      <pc:sldChg chg="modSp">
        <pc:chgData name="Guest User" userId="S::urn:spo:anon#bc72e6c931b442e1b83d9d7baffb28dcb7bee849e2d9a5e2bb7cc25170a1c113::" providerId="AD" clId="Web-{B279289B-7874-F75B-DAC2-F4B3A353269E}" dt="2022-03-21T23:23:36.884" v="814"/>
        <pc:sldMkLst>
          <pc:docMk/>
          <pc:sldMk cId="0" sldId="280"/>
        </pc:sldMkLst>
        <pc:spChg chg="mod">
          <ac:chgData name="Guest User" userId="S::urn:spo:anon#bc72e6c931b442e1b83d9d7baffb28dcb7bee849e2d9a5e2bb7cc25170a1c113::" providerId="AD" clId="Web-{B279289B-7874-F75B-DAC2-F4B3A353269E}" dt="2022-03-21T23:23:22.509" v="810" actId="14100"/>
          <ac:spMkLst>
            <pc:docMk/>
            <pc:sldMk cId="0" sldId="280"/>
            <ac:spMk id="863" creationId="{00000000-0000-0000-0000-000000000000}"/>
          </ac:spMkLst>
        </pc:spChg>
        <pc:graphicFrameChg chg="modGraphic">
          <ac:chgData name="Guest User" userId="S::urn:spo:anon#bc72e6c931b442e1b83d9d7baffb28dcb7bee849e2d9a5e2bb7cc25170a1c113::" providerId="AD" clId="Web-{B279289B-7874-F75B-DAC2-F4B3A353269E}" dt="2022-03-21T23:23:36.884" v="814"/>
          <ac:graphicFrameMkLst>
            <pc:docMk/>
            <pc:sldMk cId="0" sldId="280"/>
            <ac:graphicFrameMk id="858" creationId="{00000000-0000-0000-0000-000000000000}"/>
          </ac:graphicFrameMkLst>
        </pc:graphicFrameChg>
        <pc:cxnChg chg="mod">
          <ac:chgData name="Guest User" userId="S::urn:spo:anon#bc72e6c931b442e1b83d9d7baffb28dcb7bee849e2d9a5e2bb7cc25170a1c113::" providerId="AD" clId="Web-{B279289B-7874-F75B-DAC2-F4B3A353269E}" dt="2022-03-21T23:23:32.196" v="813" actId="14100"/>
          <ac:cxnSpMkLst>
            <pc:docMk/>
            <pc:sldMk cId="0" sldId="280"/>
            <ac:cxnSpMk id="864" creationId="{00000000-0000-0000-0000-000000000000}"/>
          </ac:cxnSpMkLst>
        </pc:cxnChg>
      </pc:sldChg>
      <pc:sldChg chg="addSp modSp">
        <pc:chgData name="Guest User" userId="S::urn:spo:anon#bc72e6c931b442e1b83d9d7baffb28dcb7bee849e2d9a5e2bb7cc25170a1c113::" providerId="AD" clId="Web-{B279289B-7874-F75B-DAC2-F4B3A353269E}" dt="2022-03-21T23:25:17.699" v="837" actId="1076"/>
        <pc:sldMkLst>
          <pc:docMk/>
          <pc:sldMk cId="3210015788" sldId="303"/>
        </pc:sldMkLst>
        <pc:spChg chg="add mod">
          <ac:chgData name="Guest User" userId="S::urn:spo:anon#bc72e6c931b442e1b83d9d7baffb28dcb7bee849e2d9a5e2bb7cc25170a1c113::" providerId="AD" clId="Web-{B279289B-7874-F75B-DAC2-F4B3A353269E}" dt="2022-03-21T23:10:48.196" v="487"/>
          <ac:spMkLst>
            <pc:docMk/>
            <pc:sldMk cId="3210015788" sldId="303"/>
            <ac:spMk id="6" creationId="{B55CE2C2-56AC-47ED-99D5-58725C3B3F89}"/>
          </ac:spMkLst>
        </pc:spChg>
        <pc:spChg chg="mod">
          <ac:chgData name="Guest User" userId="S::urn:spo:anon#bc72e6c931b442e1b83d9d7baffb28dcb7bee849e2d9a5e2bb7cc25170a1c113::" providerId="AD" clId="Web-{B279289B-7874-F75B-DAC2-F4B3A353269E}" dt="2022-03-21T23:16:19.281" v="628" actId="14100"/>
          <ac:spMkLst>
            <pc:docMk/>
            <pc:sldMk cId="3210015788" sldId="303"/>
            <ac:spMk id="7" creationId="{BE7F7455-B913-4524-B9A1-CFE51EA4FDC0}"/>
          </ac:spMkLst>
        </pc:spChg>
        <pc:spChg chg="add mod">
          <ac:chgData name="Guest User" userId="S::urn:spo:anon#bc72e6c931b442e1b83d9d7baffb28dcb7bee849e2d9a5e2bb7cc25170a1c113::" providerId="AD" clId="Web-{B279289B-7874-F75B-DAC2-F4B3A353269E}" dt="2022-03-21T23:11:04.556" v="495" actId="20577"/>
          <ac:spMkLst>
            <pc:docMk/>
            <pc:sldMk cId="3210015788" sldId="303"/>
            <ac:spMk id="8" creationId="{A19485DD-AF7A-4DC6-9406-74037D209156}"/>
          </ac:spMkLst>
        </pc:spChg>
        <pc:spChg chg="mod">
          <ac:chgData name="Guest User" userId="S::urn:spo:anon#bc72e6c931b442e1b83d9d7baffb28dcb7bee849e2d9a5e2bb7cc25170a1c113::" providerId="AD" clId="Web-{B279289B-7874-F75B-DAC2-F4B3A353269E}" dt="2022-03-21T23:16:14.844" v="627" actId="1076"/>
          <ac:spMkLst>
            <pc:docMk/>
            <pc:sldMk cId="3210015788" sldId="303"/>
            <ac:spMk id="15" creationId="{7CB18294-8481-4276-8B40-97E3110A50BA}"/>
          </ac:spMkLst>
        </pc:spChg>
        <pc:spChg chg="mod">
          <ac:chgData name="Guest User" userId="S::urn:spo:anon#bc72e6c931b442e1b83d9d7baffb28dcb7bee849e2d9a5e2bb7cc25170a1c113::" providerId="AD" clId="Web-{B279289B-7874-F75B-DAC2-F4B3A353269E}" dt="2022-03-21T23:24:59.933" v="830" actId="1076"/>
          <ac:spMkLst>
            <pc:docMk/>
            <pc:sldMk cId="3210015788" sldId="303"/>
            <ac:spMk id="29" creationId="{9EDE1D44-C442-44A3-A246-C666D0FC9506}"/>
          </ac:spMkLst>
        </pc:spChg>
        <pc:spChg chg="mod">
          <ac:chgData name="Guest User" userId="S::urn:spo:anon#bc72e6c931b442e1b83d9d7baffb28dcb7bee849e2d9a5e2bb7cc25170a1c113::" providerId="AD" clId="Web-{B279289B-7874-F75B-DAC2-F4B3A353269E}" dt="2022-03-21T23:25:05.995" v="834" actId="1076"/>
          <ac:spMkLst>
            <pc:docMk/>
            <pc:sldMk cId="3210015788" sldId="303"/>
            <ac:spMk id="30" creationId="{F5E6A857-939B-428F-8E38-79E7432F9239}"/>
          </ac:spMkLst>
        </pc:spChg>
        <pc:spChg chg="mod">
          <ac:chgData name="Guest User" userId="S::urn:spo:anon#bc72e6c931b442e1b83d9d7baffb28dcb7bee849e2d9a5e2bb7cc25170a1c113::" providerId="AD" clId="Web-{B279289B-7874-F75B-DAC2-F4B3A353269E}" dt="2022-03-21T23:24:45.026" v="818" actId="1076"/>
          <ac:spMkLst>
            <pc:docMk/>
            <pc:sldMk cId="3210015788" sldId="303"/>
            <ac:spMk id="482" creationId="{00000000-0000-0000-0000-000000000000}"/>
          </ac:spMkLst>
        </pc:spChg>
        <pc:grpChg chg="mod">
          <ac:chgData name="Guest User" userId="S::urn:spo:anon#bc72e6c931b442e1b83d9d7baffb28dcb7bee849e2d9a5e2bb7cc25170a1c113::" providerId="AD" clId="Web-{B279289B-7874-F75B-DAC2-F4B3A353269E}" dt="2022-03-21T23:24:59.886" v="827" actId="1076"/>
          <ac:grpSpMkLst>
            <pc:docMk/>
            <pc:sldMk cId="3210015788" sldId="303"/>
            <ac:grpSpMk id="2" creationId="{5446D027-4741-472B-92E7-05F1C5E0D155}"/>
          </ac:grpSpMkLst>
        </pc:grpChg>
        <pc:grpChg chg="mod">
          <ac:chgData name="Guest User" userId="S::urn:spo:anon#bc72e6c931b442e1b83d9d7baffb28dcb7bee849e2d9a5e2bb7cc25170a1c113::" providerId="AD" clId="Web-{B279289B-7874-F75B-DAC2-F4B3A353269E}" dt="2022-03-21T23:25:13.120" v="836" actId="1076"/>
          <ac:grpSpMkLst>
            <pc:docMk/>
            <pc:sldMk cId="3210015788" sldId="303"/>
            <ac:grpSpMk id="4" creationId="{AB31B214-37A4-4CE0-A956-87A5196939D4}"/>
          </ac:grpSpMkLst>
        </pc:grpChg>
        <pc:grpChg chg="mod">
          <ac:chgData name="Guest User" userId="S::urn:spo:anon#bc72e6c931b442e1b83d9d7baffb28dcb7bee849e2d9a5e2bb7cc25170a1c113::" providerId="AD" clId="Web-{B279289B-7874-F75B-DAC2-F4B3A353269E}" dt="2022-03-21T23:25:05.964" v="832" actId="1076"/>
          <ac:grpSpMkLst>
            <pc:docMk/>
            <pc:sldMk cId="3210015788" sldId="303"/>
            <ac:grpSpMk id="5" creationId="{B4748D22-10CC-4855-AD20-21CA97C1DB4C}"/>
          </ac:grpSpMkLst>
        </pc:grpChg>
        <pc:graphicFrameChg chg="mod modGraphic">
          <ac:chgData name="Guest User" userId="S::urn:spo:anon#bc72e6c931b442e1b83d9d7baffb28dcb7bee849e2d9a5e2bb7cc25170a1c113::" providerId="AD" clId="Web-{B279289B-7874-F75B-DAC2-F4B3A353269E}" dt="2022-03-21T23:16:14.828" v="626" actId="1076"/>
          <ac:graphicFrameMkLst>
            <pc:docMk/>
            <pc:sldMk cId="3210015788" sldId="303"/>
            <ac:graphicFrameMk id="488" creationId="{00000000-0000-0000-0000-000000000000}"/>
          </ac:graphicFrameMkLst>
        </pc:graphicFrameChg>
        <pc:cxnChg chg="mod">
          <ac:chgData name="Guest User" userId="S::urn:spo:anon#bc72e6c931b442e1b83d9d7baffb28dcb7bee849e2d9a5e2bb7cc25170a1c113::" providerId="AD" clId="Web-{B279289B-7874-F75B-DAC2-F4B3A353269E}" dt="2022-03-21T23:25:17.699" v="837" actId="1076"/>
          <ac:cxnSpMkLst>
            <pc:docMk/>
            <pc:sldMk cId="3210015788" sldId="303"/>
            <ac:cxnSpMk id="36" creationId="{EAECDCBB-3819-4FCD-A496-F9491BDFD89C}"/>
          </ac:cxnSpMkLst>
        </pc:cxnChg>
        <pc:cxnChg chg="mod">
          <ac:chgData name="Guest User" userId="S::urn:spo:anon#bc72e6c931b442e1b83d9d7baffb28dcb7bee849e2d9a5e2bb7cc25170a1c113::" providerId="AD" clId="Web-{B279289B-7874-F75B-DAC2-F4B3A353269E}" dt="2022-03-21T23:24:45.073" v="821" actId="1076"/>
          <ac:cxnSpMkLst>
            <pc:docMk/>
            <pc:sldMk cId="3210015788" sldId="303"/>
            <ac:cxnSpMk id="485" creationId="{00000000-0000-0000-0000-000000000000}"/>
          </ac:cxnSpMkLst>
        </pc:cxnChg>
        <pc:cxnChg chg="mod">
          <ac:chgData name="Guest User" userId="S::urn:spo:anon#bc72e6c931b442e1b83d9d7baffb28dcb7bee849e2d9a5e2bb7cc25170a1c113::" providerId="AD" clId="Web-{B279289B-7874-F75B-DAC2-F4B3A353269E}" dt="2022-03-21T23:24:59.901" v="828" actId="1076"/>
          <ac:cxnSpMkLst>
            <pc:docMk/>
            <pc:sldMk cId="3210015788" sldId="303"/>
            <ac:cxnSpMk id="486" creationId="{00000000-0000-0000-0000-000000000000}"/>
          </ac:cxnSpMkLst>
        </pc:cxnChg>
        <pc:cxnChg chg="mod">
          <ac:chgData name="Guest User" userId="S::urn:spo:anon#bc72e6c931b442e1b83d9d7baffb28dcb7bee849e2d9a5e2bb7cc25170a1c113::" providerId="AD" clId="Web-{B279289B-7874-F75B-DAC2-F4B3A353269E}" dt="2022-03-21T23:25:05.980" v="833" actId="1076"/>
          <ac:cxnSpMkLst>
            <pc:docMk/>
            <pc:sldMk cId="3210015788" sldId="303"/>
            <ac:cxnSpMk id="487" creationId="{00000000-0000-0000-0000-000000000000}"/>
          </ac:cxnSpMkLst>
        </pc:cxnChg>
      </pc:sldChg>
      <pc:sldChg chg="modSp">
        <pc:chgData name="Guest User" userId="S::urn:spo:anon#bc72e6c931b442e1b83d9d7baffb28dcb7bee849e2d9a5e2bb7cc25170a1c113::" providerId="AD" clId="Web-{B279289B-7874-F75B-DAC2-F4B3A353269E}" dt="2022-03-21T23:08:41.975" v="428"/>
        <pc:sldMkLst>
          <pc:docMk/>
          <pc:sldMk cId="1295029711" sldId="333"/>
        </pc:sldMkLst>
        <pc:graphicFrameChg chg="modGraphic">
          <ac:chgData name="Guest User" userId="S::urn:spo:anon#bc72e6c931b442e1b83d9d7baffb28dcb7bee849e2d9a5e2bb7cc25170a1c113::" providerId="AD" clId="Web-{B279289B-7874-F75B-DAC2-F4B3A353269E}" dt="2022-03-21T23:08:41.975" v="428"/>
          <ac:graphicFrameMkLst>
            <pc:docMk/>
            <pc:sldMk cId="1295029711" sldId="333"/>
            <ac:graphicFrameMk id="694" creationId="{00000000-0000-0000-0000-000000000000}"/>
          </ac:graphicFrameMkLst>
        </pc:graphicFrameChg>
      </pc:sldChg>
      <pc:sldChg chg="addSp delSp modSp">
        <pc:chgData name="Guest User" userId="S::urn:spo:anon#bc72e6c931b442e1b83d9d7baffb28dcb7bee849e2d9a5e2bb7cc25170a1c113::" providerId="AD" clId="Web-{B279289B-7874-F75B-DAC2-F4B3A353269E}" dt="2022-03-21T23:25:33.433" v="838"/>
        <pc:sldMkLst>
          <pc:docMk/>
          <pc:sldMk cId="3720673345" sldId="336"/>
        </pc:sldMkLst>
        <pc:spChg chg="del">
          <ac:chgData name="Guest User" userId="S::urn:spo:anon#bc72e6c931b442e1b83d9d7baffb28dcb7bee849e2d9a5e2bb7cc25170a1c113::" providerId="AD" clId="Web-{B279289B-7874-F75B-DAC2-F4B3A353269E}" dt="2022-03-21T21:52:03.178" v="14"/>
          <ac:spMkLst>
            <pc:docMk/>
            <pc:sldMk cId="3720673345" sldId="336"/>
            <ac:spMk id="7" creationId="{1129B7BA-4DD2-4F48-8014-45C471497F3B}"/>
          </ac:spMkLst>
        </pc:spChg>
        <pc:spChg chg="del">
          <ac:chgData name="Guest User" userId="S::urn:spo:anon#bc72e6c931b442e1b83d9d7baffb28dcb7bee849e2d9a5e2bb7cc25170a1c113::" providerId="AD" clId="Web-{B279289B-7874-F75B-DAC2-F4B3A353269E}" dt="2022-03-21T23:25:33.433" v="838"/>
          <ac:spMkLst>
            <pc:docMk/>
            <pc:sldMk cId="3720673345" sldId="336"/>
            <ac:spMk id="19" creationId="{927189BB-D2EA-495F-988C-3D63C6731950}"/>
          </ac:spMkLst>
        </pc:spChg>
        <pc:picChg chg="del">
          <ac:chgData name="Guest User" userId="S::urn:spo:anon#bc72e6c931b442e1b83d9d7baffb28dcb7bee849e2d9a5e2bb7cc25170a1c113::" providerId="AD" clId="Web-{B279289B-7874-F75B-DAC2-F4B3A353269E}" dt="2022-03-21T21:50:51.145" v="0"/>
          <ac:picMkLst>
            <pc:docMk/>
            <pc:sldMk cId="3720673345" sldId="336"/>
            <ac:picMk id="2" creationId="{076398DA-6924-4535-9B44-BDDF42024E00}"/>
          </ac:picMkLst>
        </pc:picChg>
        <pc:picChg chg="add del mod">
          <ac:chgData name="Guest User" userId="S::urn:spo:anon#bc72e6c931b442e1b83d9d7baffb28dcb7bee849e2d9a5e2bb7cc25170a1c113::" providerId="AD" clId="Web-{B279289B-7874-F75B-DAC2-F4B3A353269E}" dt="2022-03-21T21:51:38.443" v="6"/>
          <ac:picMkLst>
            <pc:docMk/>
            <pc:sldMk cId="3720673345" sldId="336"/>
            <ac:picMk id="3" creationId="{89FF1379-21E8-47E9-97C6-A83BFCE1B580}"/>
          </ac:picMkLst>
        </pc:picChg>
        <pc:picChg chg="add mod">
          <ac:chgData name="Guest User" userId="S::urn:spo:anon#bc72e6c931b442e1b83d9d7baffb28dcb7bee849e2d9a5e2bb7cc25170a1c113::" providerId="AD" clId="Web-{B279289B-7874-F75B-DAC2-F4B3A353269E}" dt="2022-03-21T21:52:01.522" v="13" actId="1076"/>
          <ac:picMkLst>
            <pc:docMk/>
            <pc:sldMk cId="3720673345" sldId="336"/>
            <ac:picMk id="4" creationId="{8D3C64D2-1D2C-40BE-9360-7D7368CC172E}"/>
          </ac:picMkLst>
        </pc:picChg>
      </pc:sldChg>
      <pc:sldChg chg="addSp delSp">
        <pc:chgData name="Guest User" userId="S::urn:spo:anon#bc72e6c931b442e1b83d9d7baffb28dcb7bee849e2d9a5e2bb7cc25170a1c113::" providerId="AD" clId="Web-{B279289B-7874-F75B-DAC2-F4B3A353269E}" dt="2022-03-21T23:11:15.650" v="498"/>
        <pc:sldMkLst>
          <pc:docMk/>
          <pc:sldMk cId="2486721525" sldId="341"/>
        </pc:sldMkLst>
        <pc:spChg chg="add">
          <ac:chgData name="Guest User" userId="S::urn:spo:anon#bc72e6c931b442e1b83d9d7baffb28dcb7bee849e2d9a5e2bb7cc25170a1c113::" providerId="AD" clId="Web-{B279289B-7874-F75B-DAC2-F4B3A353269E}" dt="2022-03-21T23:11:10.556" v="496"/>
          <ac:spMkLst>
            <pc:docMk/>
            <pc:sldMk cId="2486721525" sldId="341"/>
            <ac:spMk id="94" creationId="{E31314A6-B11D-4476-9803-2FB49A1BD625}"/>
          </ac:spMkLst>
        </pc:spChg>
        <pc:spChg chg="add del">
          <ac:chgData name="Guest User" userId="S::urn:spo:anon#bc72e6c931b442e1b83d9d7baffb28dcb7bee849e2d9a5e2bb7cc25170a1c113::" providerId="AD" clId="Web-{B279289B-7874-F75B-DAC2-F4B3A353269E}" dt="2022-03-21T23:11:15.650" v="498"/>
          <ac:spMkLst>
            <pc:docMk/>
            <pc:sldMk cId="2486721525" sldId="341"/>
            <ac:spMk id="95" creationId="{E31314A6-B11D-4476-9803-2FB49A1BD625}"/>
          </ac:spMkLst>
        </pc:spChg>
      </pc:sldChg>
      <pc:sldChg chg="addSp delSp modSp">
        <pc:chgData name="Guest User" userId="S::urn:spo:anon#bc72e6c931b442e1b83d9d7baffb28dcb7bee849e2d9a5e2bb7cc25170a1c113::" providerId="AD" clId="Web-{B279289B-7874-F75B-DAC2-F4B3A353269E}" dt="2022-03-21T23:23:08.024" v="809"/>
        <pc:sldMkLst>
          <pc:docMk/>
          <pc:sldMk cId="4114424017" sldId="342"/>
        </pc:sldMkLst>
        <pc:spChg chg="del">
          <ac:chgData name="Guest User" userId="S::urn:spo:anon#bc72e6c931b442e1b83d9d7baffb28dcb7bee849e2d9a5e2bb7cc25170a1c113::" providerId="AD" clId="Web-{B279289B-7874-F75B-DAC2-F4B3A353269E}" dt="2022-03-21T23:11:21.650" v="499"/>
          <ac:spMkLst>
            <pc:docMk/>
            <pc:sldMk cId="4114424017" sldId="342"/>
            <ac:spMk id="3" creationId="{C21DDB4A-434A-49A0-BBD9-20F3079D2A8B}"/>
          </ac:spMkLst>
        </pc:spChg>
        <pc:spChg chg="add mod">
          <ac:chgData name="Guest User" userId="S::urn:spo:anon#bc72e6c931b442e1b83d9d7baffb28dcb7bee849e2d9a5e2bb7cc25170a1c113::" providerId="AD" clId="Web-{B279289B-7874-F75B-DAC2-F4B3A353269E}" dt="2022-03-21T23:11:23.884" v="500"/>
          <ac:spMkLst>
            <pc:docMk/>
            <pc:sldMk cId="4114424017" sldId="342"/>
            <ac:spMk id="4" creationId="{F173D14F-C60A-49C7-A3F4-A50D97410ED9}"/>
          </ac:spMkLst>
        </pc:spChg>
        <pc:spChg chg="add">
          <ac:chgData name="Guest User" userId="S::urn:spo:anon#bc72e6c931b442e1b83d9d7baffb28dcb7bee849e2d9a5e2bb7cc25170a1c113::" providerId="AD" clId="Web-{B279289B-7874-F75B-DAC2-F4B3A353269E}" dt="2022-03-21T23:11:23.916" v="501"/>
          <ac:spMkLst>
            <pc:docMk/>
            <pc:sldMk cId="4114424017" sldId="342"/>
            <ac:spMk id="6" creationId="{27A3C5F9-CE7F-4416-9B0D-9A54A7CAF05D}"/>
          </ac:spMkLst>
        </pc:spChg>
        <pc:spChg chg="add">
          <ac:chgData name="Guest User" userId="S::urn:spo:anon#bc72e6c931b442e1b83d9d7baffb28dcb7bee849e2d9a5e2bb7cc25170a1c113::" providerId="AD" clId="Web-{B279289B-7874-F75B-DAC2-F4B3A353269E}" dt="2022-03-21T23:11:27.588" v="502"/>
          <ac:spMkLst>
            <pc:docMk/>
            <pc:sldMk cId="4114424017" sldId="342"/>
            <ac:spMk id="7" creationId="{3A459B18-D705-4DD6-8A98-83D381B62CE4}"/>
          </ac:spMkLst>
        </pc:spChg>
        <pc:spChg chg="mod">
          <ac:chgData name="Guest User" userId="S::urn:spo:anon#bc72e6c931b442e1b83d9d7baffb28dcb7bee849e2d9a5e2bb7cc25170a1c113::" providerId="AD" clId="Web-{B279289B-7874-F75B-DAC2-F4B3A353269E}" dt="2022-03-21T23:17:54.439" v="642" actId="1076"/>
          <ac:spMkLst>
            <pc:docMk/>
            <pc:sldMk cId="4114424017" sldId="342"/>
            <ac:spMk id="28" creationId="{6C1475B9-0D65-4E9C-A1BE-5280DA459F1D}"/>
          </ac:spMkLst>
        </pc:spChg>
        <pc:spChg chg="mod">
          <ac:chgData name="Guest User" userId="S::urn:spo:anon#bc72e6c931b442e1b83d9d7baffb28dcb7bee849e2d9a5e2bb7cc25170a1c113::" providerId="AD" clId="Web-{B279289B-7874-F75B-DAC2-F4B3A353269E}" dt="2022-03-21T23:17:56.674" v="643" actId="1076"/>
          <ac:spMkLst>
            <pc:docMk/>
            <pc:sldMk cId="4114424017" sldId="342"/>
            <ac:spMk id="29" creationId="{76F8C6E7-F209-41F4-BEFF-E33A2664F7DA}"/>
          </ac:spMkLst>
        </pc:spChg>
        <pc:graphicFrameChg chg="mod modGraphic">
          <ac:chgData name="Guest User" userId="S::urn:spo:anon#bc72e6c931b442e1b83d9d7baffb28dcb7bee849e2d9a5e2bb7cc25170a1c113::" providerId="AD" clId="Web-{B279289B-7874-F75B-DAC2-F4B3A353269E}" dt="2022-03-21T23:23:08.024" v="809"/>
          <ac:graphicFrameMkLst>
            <pc:docMk/>
            <pc:sldMk cId="4114424017" sldId="342"/>
            <ac:graphicFrameMk id="23" creationId="{F4A84191-3BFB-48AA-A343-19DE4EA3891C}"/>
          </ac:graphicFrameMkLst>
        </pc:graphicFrameChg>
        <pc:cxnChg chg="del mod">
          <ac:chgData name="Guest User" userId="S::urn:spo:anon#bc72e6c931b442e1b83d9d7baffb28dcb7bee849e2d9a5e2bb7cc25170a1c113::" providerId="AD" clId="Web-{B279289B-7874-F75B-DAC2-F4B3A353269E}" dt="2022-03-21T23:13:08.558" v="552"/>
          <ac:cxnSpMkLst>
            <pc:docMk/>
            <pc:sldMk cId="4114424017" sldId="342"/>
            <ac:cxnSpMk id="25" creationId="{85355DD6-5C90-4237-B742-14BBDBC9C561}"/>
          </ac:cxnSpMkLst>
        </pc:cxnChg>
      </pc:sldChg>
      <pc:sldChg chg="addSp delSp modSp">
        <pc:chgData name="Guest User" userId="S::urn:spo:anon#bc72e6c931b442e1b83d9d7baffb28dcb7bee849e2d9a5e2bb7cc25170a1c113::" providerId="AD" clId="Web-{B279289B-7874-F75B-DAC2-F4B3A353269E}" dt="2022-03-21T23:00:54.215" v="287" actId="14100"/>
        <pc:sldMkLst>
          <pc:docMk/>
          <pc:sldMk cId="1358823486" sldId="345"/>
        </pc:sldMkLst>
        <pc:spChg chg="mod">
          <ac:chgData name="Guest User" userId="S::urn:spo:anon#bc72e6c931b442e1b83d9d7baffb28dcb7bee849e2d9a5e2bb7cc25170a1c113::" providerId="AD" clId="Web-{B279289B-7874-F75B-DAC2-F4B3A353269E}" dt="2022-03-21T23:00:39.324" v="282" actId="1076"/>
          <ac:spMkLst>
            <pc:docMk/>
            <pc:sldMk cId="1358823486" sldId="345"/>
            <ac:spMk id="15" creationId="{CF9C4944-CC24-46A4-BC7C-9F086DBB5AAA}"/>
          </ac:spMkLst>
        </pc:spChg>
        <pc:spChg chg="mod">
          <ac:chgData name="Guest User" userId="S::urn:spo:anon#bc72e6c931b442e1b83d9d7baffb28dcb7bee849e2d9a5e2bb7cc25170a1c113::" providerId="AD" clId="Web-{B279289B-7874-F75B-DAC2-F4B3A353269E}" dt="2022-03-21T22:59:57.214" v="258" actId="1076"/>
          <ac:spMkLst>
            <pc:docMk/>
            <pc:sldMk cId="1358823486" sldId="345"/>
            <ac:spMk id="21" creationId="{D1F6E8BF-1253-4B1C-A8DF-1D5ECAB002A0}"/>
          </ac:spMkLst>
        </pc:spChg>
        <pc:picChg chg="del mod">
          <ac:chgData name="Guest User" userId="S::urn:spo:anon#bc72e6c931b442e1b83d9d7baffb28dcb7bee849e2d9a5e2bb7cc25170a1c113::" providerId="AD" clId="Web-{B279289B-7874-F75B-DAC2-F4B3A353269E}" dt="2022-03-21T23:00:18.105" v="272"/>
          <ac:picMkLst>
            <pc:docMk/>
            <pc:sldMk cId="1358823486" sldId="345"/>
            <ac:picMk id="4" creationId="{C4A4A6F7-64C4-4BD5-8552-F0C17F3D6DF0}"/>
          </ac:picMkLst>
        </pc:picChg>
        <pc:picChg chg="mod">
          <ac:chgData name="Guest User" userId="S::urn:spo:anon#bc72e6c931b442e1b83d9d7baffb28dcb7bee849e2d9a5e2bb7cc25170a1c113::" providerId="AD" clId="Web-{B279289B-7874-F75B-DAC2-F4B3A353269E}" dt="2022-03-21T23:00:33.074" v="278" actId="1076"/>
          <ac:picMkLst>
            <pc:docMk/>
            <pc:sldMk cId="1358823486" sldId="345"/>
            <ac:picMk id="5" creationId="{B893E222-B27E-4027-A138-AC20022E16B0}"/>
          </ac:picMkLst>
        </pc:picChg>
        <pc:picChg chg="mod">
          <ac:chgData name="Guest User" userId="S::urn:spo:anon#bc72e6c931b442e1b83d9d7baffb28dcb7bee849e2d9a5e2bb7cc25170a1c113::" providerId="AD" clId="Web-{B279289B-7874-F75B-DAC2-F4B3A353269E}" dt="2022-03-21T23:00:45.371" v="284" actId="1076"/>
          <ac:picMkLst>
            <pc:docMk/>
            <pc:sldMk cId="1358823486" sldId="345"/>
            <ac:picMk id="7" creationId="{890888AC-875C-4B8F-8714-75629507A956}"/>
          </ac:picMkLst>
        </pc:picChg>
        <pc:picChg chg="mod">
          <ac:chgData name="Guest User" userId="S::urn:spo:anon#bc72e6c931b442e1b83d9d7baffb28dcb7bee849e2d9a5e2bb7cc25170a1c113::" providerId="AD" clId="Web-{B279289B-7874-F75B-DAC2-F4B3A353269E}" dt="2022-03-21T23:00:24.761" v="275" actId="1076"/>
          <ac:picMkLst>
            <pc:docMk/>
            <pc:sldMk cId="1358823486" sldId="345"/>
            <ac:picMk id="8" creationId="{D1D0401C-7A77-48E3-BF13-2DF4CBF93CA6}"/>
          </ac:picMkLst>
        </pc:picChg>
        <pc:picChg chg="mod">
          <ac:chgData name="Guest User" userId="S::urn:spo:anon#bc72e6c931b442e1b83d9d7baffb28dcb7bee849e2d9a5e2bb7cc25170a1c113::" providerId="AD" clId="Web-{B279289B-7874-F75B-DAC2-F4B3A353269E}" dt="2022-03-21T23:00:37.168" v="280" actId="1076"/>
          <ac:picMkLst>
            <pc:docMk/>
            <pc:sldMk cId="1358823486" sldId="345"/>
            <ac:picMk id="9" creationId="{0000EF70-A762-4F91-9169-3F46E208EC9F}"/>
          </ac:picMkLst>
        </pc:picChg>
        <pc:picChg chg="mod">
          <ac:chgData name="Guest User" userId="S::urn:spo:anon#bc72e6c931b442e1b83d9d7baffb28dcb7bee849e2d9a5e2bb7cc25170a1c113::" providerId="AD" clId="Web-{B279289B-7874-F75B-DAC2-F4B3A353269E}" dt="2022-03-21T23:00:49.465" v="285" actId="1076"/>
          <ac:picMkLst>
            <pc:docMk/>
            <pc:sldMk cId="1358823486" sldId="345"/>
            <ac:picMk id="10" creationId="{0753C1B4-9D5A-4CB0-8EA5-F40FF6D8788B}"/>
          </ac:picMkLst>
        </pc:picChg>
        <pc:picChg chg="mod">
          <ac:chgData name="Guest User" userId="S::urn:spo:anon#bc72e6c931b442e1b83d9d7baffb28dcb7bee849e2d9a5e2bb7cc25170a1c113::" providerId="AD" clId="Web-{B279289B-7874-F75B-DAC2-F4B3A353269E}" dt="2022-03-21T23:00:33.058" v="277" actId="1076"/>
          <ac:picMkLst>
            <pc:docMk/>
            <pc:sldMk cId="1358823486" sldId="345"/>
            <ac:picMk id="11" creationId="{4E68D6DC-540E-4ECE-9F48-DDC744D9097C}"/>
          </ac:picMkLst>
        </pc:picChg>
        <pc:picChg chg="mod">
          <ac:chgData name="Guest User" userId="S::urn:spo:anon#bc72e6c931b442e1b83d9d7baffb28dcb7bee849e2d9a5e2bb7cc25170a1c113::" providerId="AD" clId="Web-{B279289B-7874-F75B-DAC2-F4B3A353269E}" dt="2022-03-21T23:00:54.215" v="287" actId="14100"/>
          <ac:picMkLst>
            <pc:docMk/>
            <pc:sldMk cId="1358823486" sldId="345"/>
            <ac:picMk id="12" creationId="{321E5063-5D85-4B97-9C6D-059BDAFA7942}"/>
          </ac:picMkLst>
        </pc:picChg>
        <pc:picChg chg="mod">
          <ac:chgData name="Guest User" userId="S::urn:spo:anon#bc72e6c931b442e1b83d9d7baffb28dcb7bee849e2d9a5e2bb7cc25170a1c113::" providerId="AD" clId="Web-{B279289B-7874-F75B-DAC2-F4B3A353269E}" dt="2022-03-21T23:00:41.730" v="283" actId="1076"/>
          <ac:picMkLst>
            <pc:docMk/>
            <pc:sldMk cId="1358823486" sldId="345"/>
            <ac:picMk id="13" creationId="{88371E29-1789-480F-9F0D-AD8B2C61382A}"/>
          </ac:picMkLst>
        </pc:picChg>
        <pc:picChg chg="mod">
          <ac:chgData name="Guest User" userId="S::urn:spo:anon#bc72e6c931b442e1b83d9d7baffb28dcb7bee849e2d9a5e2bb7cc25170a1c113::" providerId="AD" clId="Web-{B279289B-7874-F75B-DAC2-F4B3A353269E}" dt="2022-03-21T23:00:33.090" v="279" actId="1076"/>
          <ac:picMkLst>
            <pc:docMk/>
            <pc:sldMk cId="1358823486" sldId="345"/>
            <ac:picMk id="14" creationId="{E8841742-24B8-4165-9B0E-38F94EDBFE28}"/>
          </ac:picMkLst>
        </pc:picChg>
        <pc:picChg chg="add mod">
          <ac:chgData name="Guest User" userId="S::urn:spo:anon#bc72e6c931b442e1b83d9d7baffb28dcb7bee849e2d9a5e2bb7cc25170a1c113::" providerId="AD" clId="Web-{B279289B-7874-F75B-DAC2-F4B3A353269E}" dt="2022-03-21T23:00:22.589" v="274" actId="1076"/>
          <ac:picMkLst>
            <pc:docMk/>
            <pc:sldMk cId="1358823486" sldId="345"/>
            <ac:picMk id="20" creationId="{958E788D-937A-4C0E-9BB6-B877145945DD}"/>
          </ac:picMkLst>
        </pc:picChg>
      </pc:sldChg>
      <pc:sldChg chg="addSp delSp modSp">
        <pc:chgData name="Guest User" userId="S::urn:spo:anon#bc72e6c931b442e1b83d9d7baffb28dcb7bee849e2d9a5e2bb7cc25170a1c113::" providerId="AD" clId="Web-{B279289B-7874-F75B-DAC2-F4B3A353269E}" dt="2022-03-21T23:24:18.697" v="817"/>
        <pc:sldMkLst>
          <pc:docMk/>
          <pc:sldMk cId="754587697" sldId="352"/>
        </pc:sldMkLst>
        <pc:spChg chg="mod">
          <ac:chgData name="Guest User" userId="S::urn:spo:anon#bc72e6c931b442e1b83d9d7baffb28dcb7bee849e2d9a5e2bb7cc25170a1c113::" providerId="AD" clId="Web-{B279289B-7874-F75B-DAC2-F4B3A353269E}" dt="2022-03-21T23:21:23.959" v="738" actId="14100"/>
          <ac:spMkLst>
            <pc:docMk/>
            <pc:sldMk cId="754587697" sldId="352"/>
            <ac:spMk id="2" creationId="{4D5921D8-9182-46DA-BF73-3160B3589AF0}"/>
          </ac:spMkLst>
        </pc:spChg>
        <pc:spChg chg="add">
          <ac:chgData name="Guest User" userId="S::urn:spo:anon#bc72e6c931b442e1b83d9d7baffb28dcb7bee849e2d9a5e2bb7cc25170a1c113::" providerId="AD" clId="Web-{B279289B-7874-F75B-DAC2-F4B3A353269E}" dt="2022-03-21T23:24:09.135" v="815"/>
          <ac:spMkLst>
            <pc:docMk/>
            <pc:sldMk cId="754587697" sldId="352"/>
            <ac:spMk id="6" creationId="{7A9BD76F-FB1E-49C3-878D-3DEF96872E9C}"/>
          </ac:spMkLst>
        </pc:spChg>
        <pc:spChg chg="add">
          <ac:chgData name="Guest User" userId="S::urn:spo:anon#bc72e6c931b442e1b83d9d7baffb28dcb7bee849e2d9a5e2bb7cc25170a1c113::" providerId="AD" clId="Web-{B279289B-7874-F75B-DAC2-F4B3A353269E}" dt="2022-03-21T23:24:09.182" v="816"/>
          <ac:spMkLst>
            <pc:docMk/>
            <pc:sldMk cId="754587697" sldId="352"/>
            <ac:spMk id="7" creationId="{EA31C852-83D3-4FF2-B517-4CB677394908}"/>
          </ac:spMkLst>
        </pc:spChg>
        <pc:graphicFrameChg chg="mod modGraphic">
          <ac:chgData name="Guest User" userId="S::urn:spo:anon#bc72e6c931b442e1b83d9d7baffb28dcb7bee849e2d9a5e2bb7cc25170a1c113::" providerId="AD" clId="Web-{B279289B-7874-F75B-DAC2-F4B3A353269E}" dt="2022-03-21T23:24:18.697" v="817"/>
          <ac:graphicFrameMkLst>
            <pc:docMk/>
            <pc:sldMk cId="754587697" sldId="352"/>
            <ac:graphicFrameMk id="23" creationId="{F4A84191-3BFB-48AA-A343-19DE4EA3891C}"/>
          </ac:graphicFrameMkLst>
        </pc:graphicFrameChg>
        <pc:cxnChg chg="del mod">
          <ac:chgData name="Guest User" userId="S::urn:spo:anon#bc72e6c931b442e1b83d9d7baffb28dcb7bee849e2d9a5e2bb7cc25170a1c113::" providerId="AD" clId="Web-{B279289B-7874-F75B-DAC2-F4B3A353269E}" dt="2022-03-21T23:18:25.174" v="645"/>
          <ac:cxnSpMkLst>
            <pc:docMk/>
            <pc:sldMk cId="754587697" sldId="352"/>
            <ac:cxnSpMk id="25" creationId="{85355DD6-5C90-4237-B742-14BBDBC9C561}"/>
          </ac:cxnSpMkLst>
        </pc:cxnChg>
      </pc:sldChg>
      <pc:sldChg chg="addSp delSp modSp">
        <pc:chgData name="Guest User" userId="S::urn:spo:anon#bc72e6c931b442e1b83d9d7baffb28dcb7bee849e2d9a5e2bb7cc25170a1c113::" providerId="AD" clId="Web-{B279289B-7874-F75B-DAC2-F4B3A353269E}" dt="2022-03-21T23:08:23.021" v="425" actId="20577"/>
        <pc:sldMkLst>
          <pc:docMk/>
          <pc:sldMk cId="2527603155" sldId="353"/>
        </pc:sldMkLst>
        <pc:spChg chg="del">
          <ac:chgData name="Guest User" userId="S::urn:spo:anon#bc72e6c931b442e1b83d9d7baffb28dcb7bee849e2d9a5e2bb7cc25170a1c113::" providerId="AD" clId="Web-{B279289B-7874-F75B-DAC2-F4B3A353269E}" dt="2022-03-21T22:59:43.307" v="247"/>
          <ac:spMkLst>
            <pc:docMk/>
            <pc:sldMk cId="2527603155" sldId="353"/>
            <ac:spMk id="2" creationId="{05B32FC2-75C2-4E78-8341-6D763F2A6695}"/>
          </ac:spMkLst>
        </pc:spChg>
        <pc:spChg chg="mod">
          <ac:chgData name="Guest User" userId="S::urn:spo:anon#bc72e6c931b442e1b83d9d7baffb28dcb7bee849e2d9a5e2bb7cc25170a1c113::" providerId="AD" clId="Web-{B279289B-7874-F75B-DAC2-F4B3A353269E}" dt="2022-03-21T23:08:23.021" v="423" actId="20577"/>
          <ac:spMkLst>
            <pc:docMk/>
            <pc:sldMk cId="2527603155" sldId="353"/>
            <ac:spMk id="6" creationId="{381230BA-653D-44CE-9AC8-F83E1E142ED2}"/>
          </ac:spMkLst>
        </pc:spChg>
        <pc:spChg chg="mod">
          <ac:chgData name="Guest User" userId="S::urn:spo:anon#bc72e6c931b442e1b83d9d7baffb28dcb7bee849e2d9a5e2bb7cc25170a1c113::" providerId="AD" clId="Web-{B279289B-7874-F75B-DAC2-F4B3A353269E}" dt="2022-03-21T23:08:23.021" v="425" actId="20577"/>
          <ac:spMkLst>
            <pc:docMk/>
            <pc:sldMk cId="2527603155" sldId="353"/>
            <ac:spMk id="7" creationId="{5CC2109E-2E2D-46CC-B856-A39FE7E1BE02}"/>
          </ac:spMkLst>
        </pc:spChg>
        <pc:spChg chg="mod">
          <ac:chgData name="Guest User" userId="S::urn:spo:anon#bc72e6c931b442e1b83d9d7baffb28dcb7bee849e2d9a5e2bb7cc25170a1c113::" providerId="AD" clId="Web-{B279289B-7874-F75B-DAC2-F4B3A353269E}" dt="2022-03-21T23:08:23.021" v="424" actId="20577"/>
          <ac:spMkLst>
            <pc:docMk/>
            <pc:sldMk cId="2527603155" sldId="353"/>
            <ac:spMk id="8" creationId="{B1EC9CE1-2695-4B56-ABB2-82D9F7DD622C}"/>
          </ac:spMkLst>
        </pc:spChg>
        <pc:spChg chg="mod">
          <ac:chgData name="Guest User" userId="S::urn:spo:anon#bc72e6c931b442e1b83d9d7baffb28dcb7bee849e2d9a5e2bb7cc25170a1c113::" providerId="AD" clId="Web-{B279289B-7874-F75B-DAC2-F4B3A353269E}" dt="2022-03-21T23:08:08.193" v="418" actId="1076"/>
          <ac:spMkLst>
            <pc:docMk/>
            <pc:sldMk cId="2527603155" sldId="353"/>
            <ac:spMk id="9" creationId="{45C04764-F269-4F64-9737-7683A5D0C3C8}"/>
          </ac:spMkLst>
        </pc:spChg>
        <pc:spChg chg="add del mod">
          <ac:chgData name="Guest User" userId="S::urn:spo:anon#bc72e6c931b442e1b83d9d7baffb28dcb7bee849e2d9a5e2bb7cc25170a1c113::" providerId="AD" clId="Web-{B279289B-7874-F75B-DAC2-F4B3A353269E}" dt="2022-03-21T22:59:51.932" v="257"/>
          <ac:spMkLst>
            <pc:docMk/>
            <pc:sldMk cId="2527603155" sldId="353"/>
            <ac:spMk id="10" creationId="{84BB7842-CF40-4881-A455-4083C02939D1}"/>
          </ac:spMkLst>
        </pc:spChg>
        <pc:spChg chg="add del">
          <ac:chgData name="Guest User" userId="S::urn:spo:anon#bc72e6c931b442e1b83d9d7baffb28dcb7bee849e2d9a5e2bb7cc25170a1c113::" providerId="AD" clId="Web-{B279289B-7874-F75B-DAC2-F4B3A353269E}" dt="2022-03-21T22:59:47.573" v="253"/>
          <ac:spMkLst>
            <pc:docMk/>
            <pc:sldMk cId="2527603155" sldId="353"/>
            <ac:spMk id="13" creationId="{51DBB6D0-C0B0-4499-B07C-FC58D7DD0B91}"/>
          </ac:spMkLst>
        </pc:spChg>
        <pc:spChg chg="add del">
          <ac:chgData name="Guest User" userId="S::urn:spo:anon#bc72e6c931b442e1b83d9d7baffb28dcb7bee849e2d9a5e2bb7cc25170a1c113::" providerId="AD" clId="Web-{B279289B-7874-F75B-DAC2-F4B3A353269E}" dt="2022-03-21T22:59:47.573" v="252"/>
          <ac:spMkLst>
            <pc:docMk/>
            <pc:sldMk cId="2527603155" sldId="353"/>
            <ac:spMk id="14" creationId="{1D322A0D-059D-4F08-9191-63DC8E0AB807}"/>
          </ac:spMkLst>
        </pc:spChg>
        <pc:spChg chg="mod">
          <ac:chgData name="Guest User" userId="S::urn:spo:anon#bc72e6c931b442e1b83d9d7baffb28dcb7bee849e2d9a5e2bb7cc25170a1c113::" providerId="AD" clId="Web-{B279289B-7874-F75B-DAC2-F4B3A353269E}" dt="2022-03-21T23:07:47.130" v="407" actId="1076"/>
          <ac:spMkLst>
            <pc:docMk/>
            <pc:sldMk cId="2527603155" sldId="353"/>
            <ac:spMk id="15" creationId="{1F301F17-C695-479F-8C1E-0A4D7A9FF58B}"/>
          </ac:spMkLst>
        </pc:spChg>
        <pc:spChg chg="mod">
          <ac:chgData name="Guest User" userId="S::urn:spo:anon#bc72e6c931b442e1b83d9d7baffb28dcb7bee849e2d9a5e2bb7cc25170a1c113::" providerId="AD" clId="Web-{B279289B-7874-F75B-DAC2-F4B3A353269E}" dt="2022-03-21T23:07:47.145" v="408" actId="1076"/>
          <ac:spMkLst>
            <pc:docMk/>
            <pc:sldMk cId="2527603155" sldId="353"/>
            <ac:spMk id="17" creationId="{1D0F6373-7FF4-F64B-A9FB-FA5D91D110D1}"/>
          </ac:spMkLst>
        </pc:spChg>
        <pc:spChg chg="add del">
          <ac:chgData name="Guest User" userId="S::urn:spo:anon#bc72e6c931b442e1b83d9d7baffb28dcb7bee849e2d9a5e2bb7cc25170a1c113::" providerId="AD" clId="Web-{B279289B-7874-F75B-DAC2-F4B3A353269E}" dt="2022-03-21T22:59:47.573" v="251"/>
          <ac:spMkLst>
            <pc:docMk/>
            <pc:sldMk cId="2527603155" sldId="353"/>
            <ac:spMk id="20" creationId="{5E7B7FBA-348E-44F3-B562-E8A80C5A0160}"/>
          </ac:spMkLst>
        </pc:spChg>
        <pc:spChg chg="add">
          <ac:chgData name="Guest User" userId="S::urn:spo:anon#bc72e6c931b442e1b83d9d7baffb28dcb7bee849e2d9a5e2bb7cc25170a1c113::" providerId="AD" clId="Web-{B279289B-7874-F75B-DAC2-F4B3A353269E}" dt="2022-03-21T22:59:49.776" v="254"/>
          <ac:spMkLst>
            <pc:docMk/>
            <pc:sldMk cId="2527603155" sldId="353"/>
            <ac:spMk id="22" creationId="{5B0F76B3-C679-463B-BB8B-C3595E84DD74}"/>
          </ac:spMkLst>
        </pc:spChg>
        <pc:spChg chg="add">
          <ac:chgData name="Guest User" userId="S::urn:spo:anon#bc72e6c931b442e1b83d9d7baffb28dcb7bee849e2d9a5e2bb7cc25170a1c113::" providerId="AD" clId="Web-{B279289B-7874-F75B-DAC2-F4B3A353269E}" dt="2022-03-21T22:59:49.792" v="255"/>
          <ac:spMkLst>
            <pc:docMk/>
            <pc:sldMk cId="2527603155" sldId="353"/>
            <ac:spMk id="24" creationId="{EB984162-B707-4F84-850A-0F9907246486}"/>
          </ac:spMkLst>
        </pc:spChg>
        <pc:spChg chg="add">
          <ac:chgData name="Guest User" userId="S::urn:spo:anon#bc72e6c931b442e1b83d9d7baffb28dcb7bee849e2d9a5e2bb7cc25170a1c113::" providerId="AD" clId="Web-{B279289B-7874-F75B-DAC2-F4B3A353269E}" dt="2022-03-21T22:59:49.807" v="256"/>
          <ac:spMkLst>
            <pc:docMk/>
            <pc:sldMk cId="2527603155" sldId="353"/>
            <ac:spMk id="26" creationId="{9233EFE9-45FE-43E8-99CA-36D9DBF343E2}"/>
          </ac:spMkLst>
        </pc:spChg>
        <pc:cxnChg chg="del mod">
          <ac:chgData name="Guest User" userId="S::urn:spo:anon#bc72e6c931b442e1b83d9d7baffb28dcb7bee849e2d9a5e2bb7cc25170a1c113::" providerId="AD" clId="Web-{B279289B-7874-F75B-DAC2-F4B3A353269E}" dt="2022-03-21T23:06:25.316" v="382"/>
          <ac:cxnSpMkLst>
            <pc:docMk/>
            <pc:sldMk cId="2527603155" sldId="353"/>
            <ac:cxnSpMk id="11" creationId="{1855BDCF-1779-4D9F-BBAE-21A561C55758}"/>
          </ac:cxnSpMkLst>
        </pc:cxnChg>
        <pc:cxnChg chg="mod">
          <ac:chgData name="Guest User" userId="S::urn:spo:anon#bc72e6c931b442e1b83d9d7baffb28dcb7bee849e2d9a5e2bb7cc25170a1c113::" providerId="AD" clId="Web-{B279289B-7874-F75B-DAC2-F4B3A353269E}" dt="2022-03-21T23:07:47.099" v="406" actId="1076"/>
          <ac:cxnSpMkLst>
            <pc:docMk/>
            <pc:sldMk cId="2527603155" sldId="353"/>
            <ac:cxnSpMk id="12" creationId="{A94571A4-862E-41DE-A57B-B3E47291AED7}"/>
          </ac:cxnSpMkLst>
        </pc:cxnChg>
        <pc:cxnChg chg="add mod">
          <ac:chgData name="Guest User" userId="S::urn:spo:anon#bc72e6c931b442e1b83d9d7baffb28dcb7bee849e2d9a5e2bb7cc25170a1c113::" providerId="AD" clId="Web-{B279289B-7874-F75B-DAC2-F4B3A353269E}" dt="2022-03-21T23:07:47.161" v="409" actId="1076"/>
          <ac:cxnSpMkLst>
            <pc:docMk/>
            <pc:sldMk cId="2527603155" sldId="353"/>
            <ac:cxnSpMk id="27" creationId="{6EB4A5A2-26B2-4767-AD65-2BB9CEB4CBFB}"/>
          </ac:cxnSpMkLst>
        </pc:cxnChg>
        <pc:cxnChg chg="add mod">
          <ac:chgData name="Guest User" userId="S::urn:spo:anon#bc72e6c931b442e1b83d9d7baffb28dcb7bee849e2d9a5e2bb7cc25170a1c113::" providerId="AD" clId="Web-{B279289B-7874-F75B-DAC2-F4B3A353269E}" dt="2022-03-21T23:08:08.208" v="419" actId="1076"/>
          <ac:cxnSpMkLst>
            <pc:docMk/>
            <pc:sldMk cId="2527603155" sldId="353"/>
            <ac:cxnSpMk id="28" creationId="{F6FFE78A-F8D8-4DFD-8258-5C82EC421929}"/>
          </ac:cxnSpMkLst>
        </pc:cxnChg>
      </pc:sldChg>
      <pc:sldChg chg="addSp delSp modSp add del">
        <pc:chgData name="Guest User" userId="S::urn:spo:anon#bc72e6c931b442e1b83d9d7baffb28dcb7bee849e2d9a5e2bb7cc25170a1c113::" providerId="AD" clId="Web-{B279289B-7874-F75B-DAC2-F4B3A353269E}" dt="2022-03-21T23:25:38.433" v="840"/>
        <pc:sldMkLst>
          <pc:docMk/>
          <pc:sldMk cId="2060296423" sldId="355"/>
        </pc:sldMkLst>
        <pc:spChg chg="add mod">
          <ac:chgData name="Guest User" userId="S::urn:spo:anon#bc72e6c931b442e1b83d9d7baffb28dcb7bee849e2d9a5e2bb7cc25170a1c113::" providerId="AD" clId="Web-{B279289B-7874-F75B-DAC2-F4B3A353269E}" dt="2022-03-21T22:32:48.434" v="142" actId="20577"/>
          <ac:spMkLst>
            <pc:docMk/>
            <pc:sldMk cId="2060296423" sldId="355"/>
            <ac:spMk id="5" creationId="{07F91C78-3BB8-4C26-9A3D-6A00346F5C99}"/>
          </ac:spMkLst>
        </pc:spChg>
        <pc:spChg chg="del mod">
          <ac:chgData name="Guest User" userId="S::urn:spo:anon#bc72e6c931b442e1b83d9d7baffb28dcb7bee849e2d9a5e2bb7cc25170a1c113::" providerId="AD" clId="Web-{B279289B-7874-F75B-DAC2-F4B3A353269E}" dt="2022-03-21T23:25:38.433" v="840"/>
          <ac:spMkLst>
            <pc:docMk/>
            <pc:sldMk cId="2060296423" sldId="355"/>
            <ac:spMk id="7" creationId="{1129B7BA-4DD2-4F48-8014-45C471497F3B}"/>
          </ac:spMkLst>
        </pc:spChg>
        <pc:spChg chg="mod ord">
          <ac:chgData name="Guest User" userId="S::urn:spo:anon#bc72e6c931b442e1b83d9d7baffb28dcb7bee849e2d9a5e2bb7cc25170a1c113::" providerId="AD" clId="Web-{B279289B-7874-F75B-DAC2-F4B3A353269E}" dt="2022-03-21T22:25:39.250" v="38"/>
          <ac:spMkLst>
            <pc:docMk/>
            <pc:sldMk cId="2060296423" sldId="355"/>
            <ac:spMk id="16" creationId="{8A8E2FB6-A608-4B9E-A208-3AABA014F4B7}"/>
          </ac:spMkLst>
        </pc:spChg>
        <pc:spChg chg="del mod">
          <ac:chgData name="Guest User" userId="S::urn:spo:anon#bc72e6c931b442e1b83d9d7baffb28dcb7bee849e2d9a5e2bb7cc25170a1c113::" providerId="AD" clId="Web-{B279289B-7874-F75B-DAC2-F4B3A353269E}" dt="2022-03-21T23:25:36.371" v="839"/>
          <ac:spMkLst>
            <pc:docMk/>
            <pc:sldMk cId="2060296423" sldId="355"/>
            <ac:spMk id="19" creationId="{927189BB-D2EA-495F-988C-3D63C6731950}"/>
          </ac:spMkLst>
        </pc:spChg>
        <pc:spChg chg="add mod">
          <ac:chgData name="Guest User" userId="S::urn:spo:anon#bc72e6c931b442e1b83d9d7baffb28dcb7bee849e2d9a5e2bb7cc25170a1c113::" providerId="AD" clId="Web-{B279289B-7874-F75B-DAC2-F4B3A353269E}" dt="2022-03-21T22:32:48.434" v="144" actId="20577"/>
          <ac:spMkLst>
            <pc:docMk/>
            <pc:sldMk cId="2060296423" sldId="355"/>
            <ac:spMk id="24" creationId="{D2D241B6-6D7E-44C6-B5A1-5644619D5460}"/>
          </ac:spMkLst>
        </pc:spChg>
        <pc:spChg chg="add mod">
          <ac:chgData name="Guest User" userId="S::urn:spo:anon#bc72e6c931b442e1b83d9d7baffb28dcb7bee849e2d9a5e2bb7cc25170a1c113::" providerId="AD" clId="Web-{B279289B-7874-F75B-DAC2-F4B3A353269E}" dt="2022-03-21T22:32:48.450" v="146" actId="20577"/>
          <ac:spMkLst>
            <pc:docMk/>
            <pc:sldMk cId="2060296423" sldId="355"/>
            <ac:spMk id="25" creationId="{E1FCAECD-B04F-47AC-9752-88C37C92D5DD}"/>
          </ac:spMkLst>
        </pc:spChg>
        <pc:spChg chg="del">
          <ac:chgData name="Guest User" userId="S::urn:spo:anon#bc72e6c931b442e1b83d9d7baffb28dcb7bee849e2d9a5e2bb7cc25170a1c113::" providerId="AD" clId="Web-{B279289B-7874-F75B-DAC2-F4B3A353269E}" dt="2022-03-21T21:55:53.028" v="17"/>
          <ac:spMkLst>
            <pc:docMk/>
            <pc:sldMk cId="2060296423" sldId="355"/>
            <ac:spMk id="616" creationId="{00000000-0000-0000-0000-000000000000}"/>
          </ac:spMkLst>
        </pc:spChg>
        <pc:spChg chg="del">
          <ac:chgData name="Guest User" userId="S::urn:spo:anon#bc72e6c931b442e1b83d9d7baffb28dcb7bee849e2d9a5e2bb7cc25170a1c113::" providerId="AD" clId="Web-{B279289B-7874-F75B-DAC2-F4B3A353269E}" dt="2022-03-21T21:55:53.028" v="16"/>
          <ac:spMkLst>
            <pc:docMk/>
            <pc:sldMk cId="2060296423" sldId="355"/>
            <ac:spMk id="620" creationId="{00000000-0000-0000-0000-000000000000}"/>
          </ac:spMkLst>
        </pc:spChg>
        <pc:grpChg chg="del">
          <ac:chgData name="Guest User" userId="S::urn:spo:anon#bc72e6c931b442e1b83d9d7baffb28dcb7bee849e2d9a5e2bb7cc25170a1c113::" providerId="AD" clId="Web-{B279289B-7874-F75B-DAC2-F4B3A353269E}" dt="2022-03-21T21:55:56.060" v="18"/>
          <ac:grpSpMkLst>
            <pc:docMk/>
            <pc:sldMk cId="2060296423" sldId="355"/>
            <ac:grpSpMk id="9" creationId="{05E19E48-B4E9-449E-A058-92E5CEAB7640}"/>
          </ac:grpSpMkLst>
        </pc:grpChg>
        <pc:picChg chg="del">
          <ac:chgData name="Guest User" userId="S::urn:spo:anon#bc72e6c931b442e1b83d9d7baffb28dcb7bee849e2d9a5e2bb7cc25170a1c113::" providerId="AD" clId="Web-{B279289B-7874-F75B-DAC2-F4B3A353269E}" dt="2022-03-21T21:53:19.368" v="15"/>
          <ac:picMkLst>
            <pc:docMk/>
            <pc:sldMk cId="2060296423" sldId="355"/>
            <ac:picMk id="2" creationId="{076398DA-6924-4535-9B44-BDDF42024E00}"/>
          </ac:picMkLst>
        </pc:picChg>
        <pc:picChg chg="add del mod ord">
          <ac:chgData name="Guest User" userId="S::urn:spo:anon#bc72e6c931b442e1b83d9d7baffb28dcb7bee849e2d9a5e2bb7cc25170a1c113::" providerId="AD" clId="Web-{B279289B-7874-F75B-DAC2-F4B3A353269E}" dt="2022-03-21T22:25:11.718" v="30"/>
          <ac:picMkLst>
            <pc:docMk/>
            <pc:sldMk cId="2060296423" sldId="355"/>
            <ac:picMk id="3" creationId="{C7739727-0FF5-4F45-BC9C-C44A1BA08234}"/>
          </ac:picMkLst>
        </pc:picChg>
        <pc:picChg chg="add del mod ord">
          <ac:chgData name="Guest User" userId="S::urn:spo:anon#bc72e6c931b442e1b83d9d7baffb28dcb7bee849e2d9a5e2bb7cc25170a1c113::" providerId="AD" clId="Web-{B279289B-7874-F75B-DAC2-F4B3A353269E}" dt="2022-03-21T22:30:00.883" v="84"/>
          <ac:picMkLst>
            <pc:docMk/>
            <pc:sldMk cId="2060296423" sldId="355"/>
            <ac:picMk id="4" creationId="{0E335878-EC5E-404E-885F-72709982FA62}"/>
          </ac:picMkLst>
        </pc:picChg>
        <pc:picChg chg="add mod ord">
          <ac:chgData name="Guest User" userId="S::urn:spo:anon#bc72e6c931b442e1b83d9d7baffb28dcb7bee849e2d9a5e2bb7cc25170a1c113::" providerId="AD" clId="Web-{B279289B-7874-F75B-DAC2-F4B3A353269E}" dt="2022-03-21T22:32:38.856" v="137" actId="1076"/>
          <ac:picMkLst>
            <pc:docMk/>
            <pc:sldMk cId="2060296423" sldId="355"/>
            <ac:picMk id="6" creationId="{E218F9C1-6B29-4CDC-805D-1F58BA675490}"/>
          </ac:picMkLst>
        </pc:picChg>
      </pc:sldChg>
    </pc:docChg>
  </pc:docChgLst>
  <pc:docChgLst>
    <pc:chgData name="Guest User" userId="S::urn:spo:anon#c437c167f923f422528aee73b5e70e5726914197d2dec7f210a84ae49e8498a7::" providerId="AD" clId="Web-{46B59B1E-7099-BE76-F539-CA3DCFB5CEFC}"/>
    <pc:docChg chg="modSld">
      <pc:chgData name="Guest User" userId="S::urn:spo:anon#c437c167f923f422528aee73b5e70e5726914197d2dec7f210a84ae49e8498a7::" providerId="AD" clId="Web-{46B59B1E-7099-BE76-F539-CA3DCFB5CEFC}" dt="2022-04-04T20:50:08.924" v="877" actId="20577"/>
      <pc:docMkLst>
        <pc:docMk/>
      </pc:docMkLst>
      <pc:sldChg chg="addSp delSp modSp">
        <pc:chgData name="Guest User" userId="S::urn:spo:anon#c437c167f923f422528aee73b5e70e5726914197d2dec7f210a84ae49e8498a7::" providerId="AD" clId="Web-{46B59B1E-7099-BE76-F539-CA3DCFB5CEFC}" dt="2022-04-04T17:21:54.684" v="55"/>
        <pc:sldMkLst>
          <pc:docMk/>
          <pc:sldMk cId="0" sldId="264"/>
        </pc:sldMkLst>
        <pc:spChg chg="mod">
          <ac:chgData name="Guest User" userId="S::urn:spo:anon#c437c167f923f422528aee73b5e70e5726914197d2dec7f210a84ae49e8498a7::" providerId="AD" clId="Web-{46B59B1E-7099-BE76-F539-CA3DCFB5CEFC}" dt="2022-04-04T17:19:53.306" v="18" actId="1076"/>
          <ac:spMkLst>
            <pc:docMk/>
            <pc:sldMk cId="0" sldId="264"/>
            <ac:spMk id="27" creationId="{5326A9EE-D7DA-42EE-827F-1C7E490483EE}"/>
          </ac:spMkLst>
        </pc:spChg>
        <pc:spChg chg="add del mod">
          <ac:chgData name="Guest User" userId="S::urn:spo:anon#c437c167f923f422528aee73b5e70e5726914197d2dec7f210a84ae49e8498a7::" providerId="AD" clId="Web-{46B59B1E-7099-BE76-F539-CA3DCFB5CEFC}" dt="2022-04-04T17:21:54.684" v="55"/>
          <ac:spMkLst>
            <pc:docMk/>
            <pc:sldMk cId="0" sldId="264"/>
            <ac:spMk id="28" creationId="{18B58589-A987-23D5-39E7-3AE12A182C14}"/>
          </ac:spMkLst>
        </pc:spChg>
        <pc:spChg chg="mod">
          <ac:chgData name="Guest User" userId="S::urn:spo:anon#c437c167f923f422528aee73b5e70e5726914197d2dec7f210a84ae49e8498a7::" providerId="AD" clId="Web-{46B59B1E-7099-BE76-F539-CA3DCFB5CEFC}" dt="2022-04-04T17:21:49.918" v="54" actId="20577"/>
          <ac:spMkLst>
            <pc:docMk/>
            <pc:sldMk cId="0" sldId="264"/>
            <ac:spMk id="29" creationId="{CE4534C1-122C-4584-960F-B0117C9A488A}"/>
          </ac:spMkLst>
        </pc:spChg>
      </pc:sldChg>
      <pc:sldChg chg="modSp">
        <pc:chgData name="Guest User" userId="S::urn:spo:anon#c437c167f923f422528aee73b5e70e5726914197d2dec7f210a84ae49e8498a7::" providerId="AD" clId="Web-{46B59B1E-7099-BE76-F539-CA3DCFB5CEFC}" dt="2022-04-04T17:11:43.217" v="0" actId="14100"/>
        <pc:sldMkLst>
          <pc:docMk/>
          <pc:sldMk cId="3720673345" sldId="336"/>
        </pc:sldMkLst>
        <pc:spChg chg="mod">
          <ac:chgData name="Guest User" userId="S::urn:spo:anon#c437c167f923f422528aee73b5e70e5726914197d2dec7f210a84ae49e8498a7::" providerId="AD" clId="Web-{46B59B1E-7099-BE76-F539-CA3DCFB5CEFC}" dt="2022-04-04T17:11:43.217" v="0" actId="14100"/>
          <ac:spMkLst>
            <pc:docMk/>
            <pc:sldMk cId="3720673345" sldId="336"/>
            <ac:spMk id="12" creationId="{2A18C4E8-C461-494D-81E4-7EB6C08B7B32}"/>
          </ac:spMkLst>
        </pc:spChg>
      </pc:sldChg>
      <pc:sldChg chg="addSp modSp">
        <pc:chgData name="Guest User" userId="S::urn:spo:anon#c437c167f923f422528aee73b5e70e5726914197d2dec7f210a84ae49e8498a7::" providerId="AD" clId="Web-{46B59B1E-7099-BE76-F539-CA3DCFB5CEFC}" dt="2022-04-04T17:28:50.412" v="83" actId="1076"/>
        <pc:sldMkLst>
          <pc:docMk/>
          <pc:sldMk cId="1209993513" sldId="338"/>
        </pc:sldMkLst>
        <pc:spChg chg="add mod">
          <ac:chgData name="Guest User" userId="S::urn:spo:anon#c437c167f923f422528aee73b5e70e5726914197d2dec7f210a84ae49e8498a7::" providerId="AD" clId="Web-{46B59B1E-7099-BE76-F539-CA3DCFB5CEFC}" dt="2022-04-04T17:28:50.412" v="83" actId="1076"/>
          <ac:spMkLst>
            <pc:docMk/>
            <pc:sldMk cId="1209993513" sldId="338"/>
            <ac:spMk id="5" creationId="{0EC3D609-2E88-5746-8FAF-8AE853A004A1}"/>
          </ac:spMkLst>
        </pc:spChg>
        <pc:spChg chg="mod">
          <ac:chgData name="Guest User" userId="S::urn:spo:anon#c437c167f923f422528aee73b5e70e5726914197d2dec7f210a84ae49e8498a7::" providerId="AD" clId="Web-{46B59B1E-7099-BE76-F539-CA3DCFB5CEFC}" dt="2022-04-04T17:27:02.957" v="57" actId="1076"/>
          <ac:spMkLst>
            <pc:docMk/>
            <pc:sldMk cId="1209993513" sldId="338"/>
            <ac:spMk id="16" creationId="{F29BBF2D-5F15-45EC-BE2A-14ABF1E18DB5}"/>
          </ac:spMkLst>
        </pc:spChg>
        <pc:spChg chg="mod">
          <ac:chgData name="Guest User" userId="S::urn:spo:anon#c437c167f923f422528aee73b5e70e5726914197d2dec7f210a84ae49e8498a7::" providerId="AD" clId="Web-{46B59B1E-7099-BE76-F539-CA3DCFB5CEFC}" dt="2022-04-04T17:28:00.974" v="60" actId="14100"/>
          <ac:spMkLst>
            <pc:docMk/>
            <pc:sldMk cId="1209993513" sldId="338"/>
            <ac:spMk id="601" creationId="{00000000-0000-0000-0000-000000000000}"/>
          </ac:spMkLst>
        </pc:spChg>
        <pc:spChg chg="mod">
          <ac:chgData name="Guest User" userId="S::urn:spo:anon#c437c167f923f422528aee73b5e70e5726914197d2dec7f210a84ae49e8498a7::" providerId="AD" clId="Web-{46B59B1E-7099-BE76-F539-CA3DCFB5CEFC}" dt="2022-04-04T17:26:57.832" v="56" actId="14100"/>
          <ac:spMkLst>
            <pc:docMk/>
            <pc:sldMk cId="1209993513" sldId="338"/>
            <ac:spMk id="605" creationId="{00000000-0000-0000-0000-000000000000}"/>
          </ac:spMkLst>
        </pc:spChg>
        <pc:picChg chg="mod">
          <ac:chgData name="Guest User" userId="S::urn:spo:anon#c437c167f923f422528aee73b5e70e5726914197d2dec7f210a84ae49e8498a7::" providerId="AD" clId="Web-{46B59B1E-7099-BE76-F539-CA3DCFB5CEFC}" dt="2022-04-04T17:27:53.458" v="59" actId="1076"/>
          <ac:picMkLst>
            <pc:docMk/>
            <pc:sldMk cId="1209993513" sldId="338"/>
            <ac:picMk id="4" creationId="{E28D81F6-4FB1-0216-2B96-210D9B8C15D6}"/>
          </ac:picMkLst>
        </pc:picChg>
      </pc:sldChg>
      <pc:sldChg chg="modSp">
        <pc:chgData name="Guest User" userId="S::urn:spo:anon#c437c167f923f422528aee73b5e70e5726914197d2dec7f210a84ae49e8498a7::" providerId="AD" clId="Web-{46B59B1E-7099-BE76-F539-CA3DCFB5CEFC}" dt="2022-04-04T20:50:01.877" v="876" actId="20577"/>
        <pc:sldMkLst>
          <pc:docMk/>
          <pc:sldMk cId="4114424017" sldId="342"/>
        </pc:sldMkLst>
        <pc:spChg chg="mod">
          <ac:chgData name="Guest User" userId="S::urn:spo:anon#c437c167f923f422528aee73b5e70e5726914197d2dec7f210a84ae49e8498a7::" providerId="AD" clId="Web-{46B59B1E-7099-BE76-F539-CA3DCFB5CEFC}" dt="2022-04-04T18:10:04.704" v="210" actId="20577"/>
          <ac:spMkLst>
            <pc:docMk/>
            <pc:sldMk cId="4114424017" sldId="342"/>
            <ac:spMk id="6" creationId="{27A3C5F9-CE7F-4416-9B0D-9A54A7CAF05D}"/>
          </ac:spMkLst>
        </pc:spChg>
        <pc:spChg chg="mod">
          <ac:chgData name="Guest User" userId="S::urn:spo:anon#c437c167f923f422528aee73b5e70e5726914197d2dec7f210a84ae49e8498a7::" providerId="AD" clId="Web-{46B59B1E-7099-BE76-F539-CA3DCFB5CEFC}" dt="2022-04-04T20:50:01.877" v="876" actId="20577"/>
          <ac:spMkLst>
            <pc:docMk/>
            <pc:sldMk cId="4114424017" sldId="342"/>
            <ac:spMk id="7" creationId="{3A459B18-D705-4DD6-8A98-83D381B62CE4}"/>
          </ac:spMkLst>
        </pc:spChg>
      </pc:sldChg>
      <pc:sldChg chg="modSp">
        <pc:chgData name="Guest User" userId="S::urn:spo:anon#c437c167f923f422528aee73b5e70e5726914197d2dec7f210a84ae49e8498a7::" providerId="AD" clId="Web-{46B59B1E-7099-BE76-F539-CA3DCFB5CEFC}" dt="2022-04-04T20:50:08.924" v="877" actId="20577"/>
        <pc:sldMkLst>
          <pc:docMk/>
          <pc:sldMk cId="754587697" sldId="352"/>
        </pc:sldMkLst>
        <pc:spChg chg="mod">
          <ac:chgData name="Guest User" userId="S::urn:spo:anon#c437c167f923f422528aee73b5e70e5726914197d2dec7f210a84ae49e8498a7::" providerId="AD" clId="Web-{46B59B1E-7099-BE76-F539-CA3DCFB5CEFC}" dt="2022-04-04T18:10:25.454" v="216" actId="14100"/>
          <ac:spMkLst>
            <pc:docMk/>
            <pc:sldMk cId="754587697" sldId="352"/>
            <ac:spMk id="6" creationId="{7A9BD76F-FB1E-49C3-878D-3DEF96872E9C}"/>
          </ac:spMkLst>
        </pc:spChg>
        <pc:spChg chg="mod">
          <ac:chgData name="Guest User" userId="S::urn:spo:anon#c437c167f923f422528aee73b5e70e5726914197d2dec7f210a84ae49e8498a7::" providerId="AD" clId="Web-{46B59B1E-7099-BE76-F539-CA3DCFB5CEFC}" dt="2022-04-04T20:50:08.924" v="877" actId="20577"/>
          <ac:spMkLst>
            <pc:docMk/>
            <pc:sldMk cId="754587697" sldId="352"/>
            <ac:spMk id="7" creationId="{EA31C852-83D3-4FF2-B517-4CB677394908}"/>
          </ac:spMkLst>
        </pc:spChg>
      </pc:sldChg>
      <pc:sldChg chg="modSp">
        <pc:chgData name="Guest User" userId="S::urn:spo:anon#c437c167f923f422528aee73b5e70e5726914197d2dec7f210a84ae49e8498a7::" providerId="AD" clId="Web-{46B59B1E-7099-BE76-F539-CA3DCFB5CEFC}" dt="2022-04-04T19:00:41.398" v="843" actId="20577"/>
        <pc:sldMkLst>
          <pc:docMk/>
          <pc:sldMk cId="2576879601" sldId="365"/>
        </pc:sldMkLst>
        <pc:spChg chg="mod">
          <ac:chgData name="Guest User" userId="S::urn:spo:anon#c437c167f923f422528aee73b5e70e5726914197d2dec7f210a84ae49e8498a7::" providerId="AD" clId="Web-{46B59B1E-7099-BE76-F539-CA3DCFB5CEFC}" dt="2022-04-04T18:42:38.998" v="564" actId="14100"/>
          <ac:spMkLst>
            <pc:docMk/>
            <pc:sldMk cId="2576879601" sldId="365"/>
            <ac:spMk id="2" creationId="{AB52A157-2CB8-6DCB-8D3B-00713BF25DCA}"/>
          </ac:spMkLst>
        </pc:spChg>
        <pc:spChg chg="mod">
          <ac:chgData name="Guest User" userId="S::urn:spo:anon#c437c167f923f422528aee73b5e70e5726914197d2dec7f210a84ae49e8498a7::" providerId="AD" clId="Web-{46B59B1E-7099-BE76-F539-CA3DCFB5CEFC}" dt="2022-04-04T19:00:41.398" v="843" actId="20577"/>
          <ac:spMkLst>
            <pc:docMk/>
            <pc:sldMk cId="2576879601" sldId="365"/>
            <ac:spMk id="3" creationId="{346B9D98-5C00-250F-2E85-76FD3A920D22}"/>
          </ac:spMkLst>
        </pc:spChg>
        <pc:spChg chg="mod">
          <ac:chgData name="Guest User" userId="S::urn:spo:anon#c437c167f923f422528aee73b5e70e5726914197d2dec7f210a84ae49e8498a7::" providerId="AD" clId="Web-{46B59B1E-7099-BE76-F539-CA3DCFB5CEFC}" dt="2022-04-04T18:58:55.193" v="811" actId="14100"/>
          <ac:spMkLst>
            <pc:docMk/>
            <pc:sldMk cId="2576879601" sldId="365"/>
            <ac:spMk id="5" creationId="{B7651FB1-3FE6-E20B-3600-01AAC0F88061}"/>
          </ac:spMkLst>
        </pc:spChg>
      </pc:sldChg>
      <pc:sldChg chg="addSp delSp modSp">
        <pc:chgData name="Guest User" userId="S::urn:spo:anon#c437c167f923f422528aee73b5e70e5726914197d2dec7f210a84ae49e8498a7::" providerId="AD" clId="Web-{46B59B1E-7099-BE76-F539-CA3DCFB5CEFC}" dt="2022-04-04T19:06:22.859" v="872" actId="1076"/>
        <pc:sldMkLst>
          <pc:docMk/>
          <pc:sldMk cId="1695560817" sldId="366"/>
        </pc:sldMkLst>
        <pc:spChg chg="add mod">
          <ac:chgData name="Guest User" userId="S::urn:spo:anon#c437c167f923f422528aee73b5e70e5726914197d2dec7f210a84ae49e8498a7::" providerId="AD" clId="Web-{46B59B1E-7099-BE76-F539-CA3DCFB5CEFC}" dt="2022-04-04T18:09:27.937" v="202"/>
          <ac:spMkLst>
            <pc:docMk/>
            <pc:sldMk cId="1695560817" sldId="366"/>
            <ac:spMk id="4" creationId="{7178F03B-753C-A3A6-CE72-0DE92988886C}"/>
          </ac:spMkLst>
        </pc:spChg>
        <pc:spChg chg="add mod">
          <ac:chgData name="Guest User" userId="S::urn:spo:anon#c437c167f923f422528aee73b5e70e5726914197d2dec7f210a84ae49e8498a7::" providerId="AD" clId="Web-{46B59B1E-7099-BE76-F539-CA3DCFB5CEFC}" dt="2022-04-04T18:11:27.549" v="230" actId="20577"/>
          <ac:spMkLst>
            <pc:docMk/>
            <pc:sldMk cId="1695560817" sldId="366"/>
            <ac:spMk id="5" creationId="{0BD814A1-8A3A-D6C7-A428-EFF601806E48}"/>
          </ac:spMkLst>
        </pc:spChg>
        <pc:spChg chg="mod">
          <ac:chgData name="Guest User" userId="S::urn:spo:anon#c437c167f923f422528aee73b5e70e5726914197d2dec7f210a84ae49e8498a7::" providerId="AD" clId="Web-{46B59B1E-7099-BE76-F539-CA3DCFB5CEFC}" dt="2022-04-04T18:09:10.890" v="198" actId="1076"/>
          <ac:spMkLst>
            <pc:docMk/>
            <pc:sldMk cId="1695560817" sldId="366"/>
            <ac:spMk id="7" creationId="{13934D1C-6E4A-EDA6-05C5-4249C9B8C8B5}"/>
          </ac:spMkLst>
        </pc:spChg>
        <pc:spChg chg="add mod">
          <ac:chgData name="Guest User" userId="S::urn:spo:anon#c437c167f923f422528aee73b5e70e5726914197d2dec7f210a84ae49e8498a7::" providerId="AD" clId="Web-{46B59B1E-7099-BE76-F539-CA3DCFB5CEFC}" dt="2022-04-04T19:06:22.859" v="872" actId="1076"/>
          <ac:spMkLst>
            <pc:docMk/>
            <pc:sldMk cId="1695560817" sldId="366"/>
            <ac:spMk id="8" creationId="{6E60928D-F747-4E02-5F0E-A23E862AB85C}"/>
          </ac:spMkLst>
        </pc:spChg>
        <pc:spChg chg="mod">
          <ac:chgData name="Guest User" userId="S::urn:spo:anon#c437c167f923f422528aee73b5e70e5726914197d2dec7f210a84ae49e8498a7::" providerId="AD" clId="Web-{46B59B1E-7099-BE76-F539-CA3DCFB5CEFC}" dt="2022-04-04T18:09:10.296" v="168" actId="1076"/>
          <ac:spMkLst>
            <pc:docMk/>
            <pc:sldMk cId="1695560817" sldId="366"/>
            <ac:spMk id="26" creationId="{955AC05E-33FB-3C44-F3BC-31A82617FF2F}"/>
          </ac:spMkLst>
        </pc:spChg>
        <pc:spChg chg="mod">
          <ac:chgData name="Guest User" userId="S::urn:spo:anon#c437c167f923f422528aee73b5e70e5726914197d2dec7f210a84ae49e8498a7::" providerId="AD" clId="Web-{46B59B1E-7099-BE76-F539-CA3DCFB5CEFC}" dt="2022-04-04T18:09:10.312" v="169" actId="1076"/>
          <ac:spMkLst>
            <pc:docMk/>
            <pc:sldMk cId="1695560817" sldId="366"/>
            <ac:spMk id="28" creationId="{6BCD0965-B080-4C07-162C-B1793916C7AE}"/>
          </ac:spMkLst>
        </pc:spChg>
        <pc:spChg chg="mod">
          <ac:chgData name="Guest User" userId="S::urn:spo:anon#c437c167f923f422528aee73b5e70e5726914197d2dec7f210a84ae49e8498a7::" providerId="AD" clId="Web-{46B59B1E-7099-BE76-F539-CA3DCFB5CEFC}" dt="2022-04-04T18:09:10.327" v="170" actId="1076"/>
          <ac:spMkLst>
            <pc:docMk/>
            <pc:sldMk cId="1695560817" sldId="366"/>
            <ac:spMk id="34" creationId="{4DF9B8DF-A76D-75E1-F47E-E16EA41AAFC1}"/>
          </ac:spMkLst>
        </pc:spChg>
        <pc:spChg chg="mod">
          <ac:chgData name="Guest User" userId="S::urn:spo:anon#c437c167f923f422528aee73b5e70e5726914197d2dec7f210a84ae49e8498a7::" providerId="AD" clId="Web-{46B59B1E-7099-BE76-F539-CA3DCFB5CEFC}" dt="2022-04-04T18:09:10.343" v="171" actId="1076"/>
          <ac:spMkLst>
            <pc:docMk/>
            <pc:sldMk cId="1695560817" sldId="366"/>
            <ac:spMk id="36" creationId="{B54A5F69-1C30-7571-6B17-59787A961DAF}"/>
          </ac:spMkLst>
        </pc:spChg>
        <pc:spChg chg="mod">
          <ac:chgData name="Guest User" userId="S::urn:spo:anon#c437c167f923f422528aee73b5e70e5726914197d2dec7f210a84ae49e8498a7::" providerId="AD" clId="Web-{46B59B1E-7099-BE76-F539-CA3DCFB5CEFC}" dt="2022-04-04T18:35:00.285" v="504" actId="14100"/>
          <ac:spMkLst>
            <pc:docMk/>
            <pc:sldMk cId="1695560817" sldId="366"/>
            <ac:spMk id="40" creationId="{611EBE9E-2A7C-8DB0-CAE5-712C95EA2AD3}"/>
          </ac:spMkLst>
        </pc:spChg>
        <pc:spChg chg="mod">
          <ac:chgData name="Guest User" userId="S::urn:spo:anon#c437c167f923f422528aee73b5e70e5726914197d2dec7f210a84ae49e8498a7::" providerId="AD" clId="Web-{46B59B1E-7099-BE76-F539-CA3DCFB5CEFC}" dt="2022-04-04T18:35:00.300" v="505" actId="14100"/>
          <ac:spMkLst>
            <pc:docMk/>
            <pc:sldMk cId="1695560817" sldId="366"/>
            <ac:spMk id="41" creationId="{3B6580CA-499D-CC3F-919D-5AA5927A4604}"/>
          </ac:spMkLst>
        </pc:spChg>
        <pc:spChg chg="mod">
          <ac:chgData name="Guest User" userId="S::urn:spo:anon#c437c167f923f422528aee73b5e70e5726914197d2dec7f210a84ae49e8498a7::" providerId="AD" clId="Web-{46B59B1E-7099-BE76-F539-CA3DCFB5CEFC}" dt="2022-04-04T18:35:00.316" v="506" actId="14100"/>
          <ac:spMkLst>
            <pc:docMk/>
            <pc:sldMk cId="1695560817" sldId="366"/>
            <ac:spMk id="42" creationId="{1B08A347-B138-5843-98E6-3B81B9906B8E}"/>
          </ac:spMkLst>
        </pc:spChg>
        <pc:spChg chg="mod">
          <ac:chgData name="Guest User" userId="S::urn:spo:anon#c437c167f923f422528aee73b5e70e5726914197d2dec7f210a84ae49e8498a7::" providerId="AD" clId="Web-{46B59B1E-7099-BE76-F539-CA3DCFB5CEFC}" dt="2022-04-04T18:35:00.332" v="507" actId="14100"/>
          <ac:spMkLst>
            <pc:docMk/>
            <pc:sldMk cId="1695560817" sldId="366"/>
            <ac:spMk id="45" creationId="{BB66F23D-66B3-02EE-5766-5C1F76D9CAFF}"/>
          </ac:spMkLst>
        </pc:spChg>
        <pc:spChg chg="mod">
          <ac:chgData name="Guest User" userId="S::urn:spo:anon#c437c167f923f422528aee73b5e70e5726914197d2dec7f210a84ae49e8498a7::" providerId="AD" clId="Web-{46B59B1E-7099-BE76-F539-CA3DCFB5CEFC}" dt="2022-04-04T18:09:10.374" v="172" actId="1076"/>
          <ac:spMkLst>
            <pc:docMk/>
            <pc:sldMk cId="1695560817" sldId="366"/>
            <ac:spMk id="46" creationId="{1E1C1585-D404-40C5-7DD6-1A36C13365DD}"/>
          </ac:spMkLst>
        </pc:spChg>
        <pc:spChg chg="mod">
          <ac:chgData name="Guest User" userId="S::urn:spo:anon#c437c167f923f422528aee73b5e70e5726914197d2dec7f210a84ae49e8498a7::" providerId="AD" clId="Web-{46B59B1E-7099-BE76-F539-CA3DCFB5CEFC}" dt="2022-04-04T18:35:16.332" v="515" actId="1076"/>
          <ac:spMkLst>
            <pc:docMk/>
            <pc:sldMk cId="1695560817" sldId="366"/>
            <ac:spMk id="47" creationId="{635EA343-E326-C59A-DD60-9A2325E5F077}"/>
          </ac:spMkLst>
        </pc:spChg>
        <pc:spChg chg="mod">
          <ac:chgData name="Guest User" userId="S::urn:spo:anon#c437c167f923f422528aee73b5e70e5726914197d2dec7f210a84ae49e8498a7::" providerId="AD" clId="Web-{46B59B1E-7099-BE76-F539-CA3DCFB5CEFC}" dt="2022-04-04T18:35:16.348" v="516" actId="1076"/>
          <ac:spMkLst>
            <pc:docMk/>
            <pc:sldMk cId="1695560817" sldId="366"/>
            <ac:spMk id="55" creationId="{848D1D00-5AAC-E43D-57E3-DF6A3967DF99}"/>
          </ac:spMkLst>
        </pc:spChg>
        <pc:spChg chg="mod">
          <ac:chgData name="Guest User" userId="S::urn:spo:anon#c437c167f923f422528aee73b5e70e5726914197d2dec7f210a84ae49e8498a7::" providerId="AD" clId="Web-{46B59B1E-7099-BE76-F539-CA3DCFB5CEFC}" dt="2022-04-04T18:35:00.394" v="510" actId="14100"/>
          <ac:spMkLst>
            <pc:docMk/>
            <pc:sldMk cId="1695560817" sldId="366"/>
            <ac:spMk id="57" creationId="{517415E3-5292-CB76-E3BF-5A88419C6143}"/>
          </ac:spMkLst>
        </pc:spChg>
        <pc:spChg chg="add mod">
          <ac:chgData name="Guest User" userId="S::urn:spo:anon#c437c167f923f422528aee73b5e70e5726914197d2dec7f210a84ae49e8498a7::" providerId="AD" clId="Web-{46B59B1E-7099-BE76-F539-CA3DCFB5CEFC}" dt="2022-04-04T18:35:00.410" v="511" actId="14100"/>
          <ac:spMkLst>
            <pc:docMk/>
            <pc:sldMk cId="1695560817" sldId="366"/>
            <ac:spMk id="67" creationId="{ADFAC7F7-AEE5-A67D-FFCB-EBDD5EEB5CF0}"/>
          </ac:spMkLst>
        </pc:spChg>
        <pc:spChg chg="add mod">
          <ac:chgData name="Guest User" userId="S::urn:spo:anon#c437c167f923f422528aee73b5e70e5726914197d2dec7f210a84ae49e8498a7::" providerId="AD" clId="Web-{46B59B1E-7099-BE76-F539-CA3DCFB5CEFC}" dt="2022-04-04T18:35:00.441" v="512" actId="14100"/>
          <ac:spMkLst>
            <pc:docMk/>
            <pc:sldMk cId="1695560817" sldId="366"/>
            <ac:spMk id="68" creationId="{861BABA1-876C-78CE-7F83-46D5D21EA49D}"/>
          </ac:spMkLst>
        </pc:spChg>
        <pc:spChg chg="add mod">
          <ac:chgData name="Guest User" userId="S::urn:spo:anon#c437c167f923f422528aee73b5e70e5726914197d2dec7f210a84ae49e8498a7::" providerId="AD" clId="Web-{46B59B1E-7099-BE76-F539-CA3DCFB5CEFC}" dt="2022-04-04T18:35:00.504" v="513" actId="14100"/>
          <ac:spMkLst>
            <pc:docMk/>
            <pc:sldMk cId="1695560817" sldId="366"/>
            <ac:spMk id="69" creationId="{B1A4F7C5-107F-3C3D-C4CD-8E8C5421EDAC}"/>
          </ac:spMkLst>
        </pc:spChg>
        <pc:spChg chg="add mod">
          <ac:chgData name="Guest User" userId="S::urn:spo:anon#c437c167f923f422528aee73b5e70e5726914197d2dec7f210a84ae49e8498a7::" providerId="AD" clId="Web-{46B59B1E-7099-BE76-F539-CA3DCFB5CEFC}" dt="2022-04-04T18:37:27.069" v="536" actId="14100"/>
          <ac:spMkLst>
            <pc:docMk/>
            <pc:sldMk cId="1695560817" sldId="366"/>
            <ac:spMk id="71" creationId="{E709CA53-DC94-ADE2-98AA-FECD57D89F46}"/>
          </ac:spMkLst>
        </pc:spChg>
        <pc:spChg chg="add del mod">
          <ac:chgData name="Guest User" userId="S::urn:spo:anon#c437c167f923f422528aee73b5e70e5726914197d2dec7f210a84ae49e8498a7::" providerId="AD" clId="Web-{46B59B1E-7099-BE76-F539-CA3DCFB5CEFC}" dt="2022-04-04T18:35:00.238" v="501" actId="14100"/>
          <ac:spMkLst>
            <pc:docMk/>
            <pc:sldMk cId="1695560817" sldId="366"/>
            <ac:spMk id="72" creationId="{2076A5C8-D785-DF79-4D6A-C1A4C3D4A83F}"/>
          </ac:spMkLst>
        </pc:spChg>
        <pc:spChg chg="mod">
          <ac:chgData name="Guest User" userId="S::urn:spo:anon#c437c167f923f422528aee73b5e70e5726914197d2dec7f210a84ae49e8498a7::" providerId="AD" clId="Web-{46B59B1E-7099-BE76-F539-CA3DCFB5CEFC}" dt="2022-04-04T18:35:19.676" v="518" actId="1076"/>
          <ac:spMkLst>
            <pc:docMk/>
            <pc:sldMk cId="1695560817" sldId="366"/>
            <ac:spMk id="78" creationId="{85AA2B18-4964-80D8-597C-B2C0E4AC1A9F}"/>
          </ac:spMkLst>
        </pc:spChg>
        <pc:spChg chg="mod">
          <ac:chgData name="Guest User" userId="S::urn:spo:anon#c437c167f923f422528aee73b5e70e5726914197d2dec7f210a84ae49e8498a7::" providerId="AD" clId="Web-{46B59B1E-7099-BE76-F539-CA3DCFB5CEFC}" dt="2022-04-04T18:36:06.161" v="534" actId="1076"/>
          <ac:spMkLst>
            <pc:docMk/>
            <pc:sldMk cId="1695560817" sldId="366"/>
            <ac:spMk id="82" creationId="{80579DE7-72B2-533E-1105-2A45C4F95512}"/>
          </ac:spMkLst>
        </pc:spChg>
        <pc:spChg chg="mod">
          <ac:chgData name="Guest User" userId="S::urn:spo:anon#c437c167f923f422528aee73b5e70e5726914197d2dec7f210a84ae49e8498a7::" providerId="AD" clId="Web-{46B59B1E-7099-BE76-F539-CA3DCFB5CEFC}" dt="2022-04-04T18:09:10.687" v="188" actId="1076"/>
          <ac:spMkLst>
            <pc:docMk/>
            <pc:sldMk cId="1695560817" sldId="366"/>
            <ac:spMk id="144" creationId="{B58147B5-8D15-0CDB-3D97-316282865257}"/>
          </ac:spMkLst>
        </pc:spChg>
        <pc:spChg chg="mod">
          <ac:chgData name="Guest User" userId="S::urn:spo:anon#c437c167f923f422528aee73b5e70e5726914197d2dec7f210a84ae49e8498a7::" providerId="AD" clId="Web-{46B59B1E-7099-BE76-F539-CA3DCFB5CEFC}" dt="2022-04-04T18:09:10.702" v="189" actId="1076"/>
          <ac:spMkLst>
            <pc:docMk/>
            <pc:sldMk cId="1695560817" sldId="366"/>
            <ac:spMk id="152" creationId="{D045B593-F7C4-E5A1-A0EE-5FD358E7AB98}"/>
          </ac:spMkLst>
        </pc:spChg>
        <pc:spChg chg="mod">
          <ac:chgData name="Guest User" userId="S::urn:spo:anon#c437c167f923f422528aee73b5e70e5726914197d2dec7f210a84ae49e8498a7::" providerId="AD" clId="Web-{46B59B1E-7099-BE76-F539-CA3DCFB5CEFC}" dt="2022-04-04T18:09:10.734" v="190" actId="1076"/>
          <ac:spMkLst>
            <pc:docMk/>
            <pc:sldMk cId="1695560817" sldId="366"/>
            <ac:spMk id="154" creationId="{78A581DC-04CB-AB07-CF99-5807E41BC636}"/>
          </ac:spMkLst>
        </pc:spChg>
        <pc:spChg chg="mod">
          <ac:chgData name="Guest User" userId="S::urn:spo:anon#c437c167f923f422528aee73b5e70e5726914197d2dec7f210a84ae49e8498a7::" providerId="AD" clId="Web-{46B59B1E-7099-BE76-F539-CA3DCFB5CEFC}" dt="2022-04-04T18:09:10.749" v="191" actId="1076"/>
          <ac:spMkLst>
            <pc:docMk/>
            <pc:sldMk cId="1695560817" sldId="366"/>
            <ac:spMk id="160" creationId="{1B0BBF1C-E120-F159-D550-2E7E2D34401F}"/>
          </ac:spMkLst>
        </pc:spChg>
        <pc:grpChg chg="add mod">
          <ac:chgData name="Guest User" userId="S::urn:spo:anon#c437c167f923f422528aee73b5e70e5726914197d2dec7f210a84ae49e8498a7::" providerId="AD" clId="Web-{46B59B1E-7099-BE76-F539-CA3DCFB5CEFC}" dt="2022-04-04T18:09:10.968" v="201" actId="1076"/>
          <ac:grpSpMkLst>
            <pc:docMk/>
            <pc:sldMk cId="1695560817" sldId="366"/>
            <ac:grpSpMk id="3" creationId="{84A101B9-54A8-0DEF-7134-74702582A0A6}"/>
          </ac:grpSpMkLst>
        </pc:grpChg>
        <pc:picChg chg="mod">
          <ac:chgData name="Guest User" userId="S::urn:spo:anon#c437c167f923f422528aee73b5e70e5726914197d2dec7f210a84ae49e8498a7::" providerId="AD" clId="Web-{46B59B1E-7099-BE76-F539-CA3DCFB5CEFC}" dt="2022-04-04T18:09:10.390" v="173" actId="1076"/>
          <ac:picMkLst>
            <pc:docMk/>
            <pc:sldMk cId="1695560817" sldId="366"/>
            <ac:picMk id="48" creationId="{247921FD-8C4D-E554-1B1D-CACD41AF4EB2}"/>
          </ac:picMkLst>
        </pc:picChg>
        <pc:picChg chg="mod">
          <ac:chgData name="Guest User" userId="S::urn:spo:anon#c437c167f923f422528aee73b5e70e5726914197d2dec7f210a84ae49e8498a7::" providerId="AD" clId="Web-{46B59B1E-7099-BE76-F539-CA3DCFB5CEFC}" dt="2022-04-04T18:09:10.405" v="174" actId="1076"/>
          <ac:picMkLst>
            <pc:docMk/>
            <pc:sldMk cId="1695560817" sldId="366"/>
            <ac:picMk id="50" creationId="{085AC538-8759-5885-5CFF-B2873A0A6DEE}"/>
          </ac:picMkLst>
        </pc:picChg>
        <pc:picChg chg="mod">
          <ac:chgData name="Guest User" userId="S::urn:spo:anon#c437c167f923f422528aee73b5e70e5726914197d2dec7f210a84ae49e8498a7::" providerId="AD" clId="Web-{46B59B1E-7099-BE76-F539-CA3DCFB5CEFC}" dt="2022-04-04T18:09:10.655" v="187" actId="1076"/>
          <ac:picMkLst>
            <pc:docMk/>
            <pc:sldMk cId="1695560817" sldId="366"/>
            <ac:picMk id="100" creationId="{7C55F817-7127-B9AD-8941-666334782182}"/>
          </ac:picMkLst>
        </pc:picChg>
        <pc:cxnChg chg="del">
          <ac:chgData name="Guest User" userId="S::urn:spo:anon#c437c167f923f422528aee73b5e70e5726914197d2dec7f210a84ae49e8498a7::" providerId="AD" clId="Web-{46B59B1E-7099-BE76-F539-CA3DCFB5CEFC}" dt="2022-04-04T18:02:07.552" v="102"/>
          <ac:cxnSpMkLst>
            <pc:docMk/>
            <pc:sldMk cId="1695560817" sldId="366"/>
            <ac:cxnSpMk id="6" creationId="{93B44884-CA6C-5AA3-291A-DEE7CBAC1036}"/>
          </ac:cxnSpMkLst>
        </pc:cxnChg>
        <pc:cxnChg chg="mod">
          <ac:chgData name="Guest User" userId="S::urn:spo:anon#c437c167f923f422528aee73b5e70e5726914197d2dec7f210a84ae49e8498a7::" providerId="AD" clId="Web-{46B59B1E-7099-BE76-F539-CA3DCFB5CEFC}" dt="2022-04-04T18:11:01.283" v="222" actId="1076"/>
          <ac:cxnSpMkLst>
            <pc:docMk/>
            <pc:sldMk cId="1695560817" sldId="366"/>
            <ac:cxnSpMk id="52" creationId="{4B6288B0-2F92-BABF-949C-D41DF2E2967F}"/>
          </ac:cxnSpMkLst>
        </pc:cxnChg>
        <pc:cxnChg chg="mod">
          <ac:chgData name="Guest User" userId="S::urn:spo:anon#c437c167f923f422528aee73b5e70e5726914197d2dec7f210a84ae49e8498a7::" providerId="AD" clId="Web-{46B59B1E-7099-BE76-F539-CA3DCFB5CEFC}" dt="2022-04-04T18:09:10.437" v="176" actId="1076"/>
          <ac:cxnSpMkLst>
            <pc:docMk/>
            <pc:sldMk cId="1695560817" sldId="366"/>
            <ac:cxnSpMk id="54" creationId="{44C4834B-3B18-7CC0-FDEA-E47378DAF764}"/>
          </ac:cxnSpMkLst>
        </pc:cxnChg>
        <pc:cxnChg chg="mod">
          <ac:chgData name="Guest User" userId="S::urn:spo:anon#c437c167f923f422528aee73b5e70e5726914197d2dec7f210a84ae49e8498a7::" providerId="AD" clId="Web-{46B59B1E-7099-BE76-F539-CA3DCFB5CEFC}" dt="2022-04-04T18:11:01.267" v="221" actId="1076"/>
          <ac:cxnSpMkLst>
            <pc:docMk/>
            <pc:sldMk cId="1695560817" sldId="366"/>
            <ac:cxnSpMk id="56" creationId="{62555E59-04A5-FFF1-EE9E-8961465F1E1D}"/>
          </ac:cxnSpMkLst>
        </pc:cxnChg>
        <pc:cxnChg chg="mod">
          <ac:chgData name="Guest User" userId="S::urn:spo:anon#c437c167f923f422528aee73b5e70e5726914197d2dec7f210a84ae49e8498a7::" providerId="AD" clId="Web-{46B59B1E-7099-BE76-F539-CA3DCFB5CEFC}" dt="2022-04-04T18:09:10.468" v="178" actId="1076"/>
          <ac:cxnSpMkLst>
            <pc:docMk/>
            <pc:sldMk cId="1695560817" sldId="366"/>
            <ac:cxnSpMk id="58" creationId="{535ECF66-8691-DE21-C4CE-662C1B8607F9}"/>
          </ac:cxnSpMkLst>
        </pc:cxnChg>
        <pc:cxnChg chg="mod">
          <ac:chgData name="Guest User" userId="S::urn:spo:anon#c437c167f923f422528aee73b5e70e5726914197d2dec7f210a84ae49e8498a7::" providerId="AD" clId="Web-{46B59B1E-7099-BE76-F539-CA3DCFB5CEFC}" dt="2022-04-04T18:09:10.484" v="179" actId="1076"/>
          <ac:cxnSpMkLst>
            <pc:docMk/>
            <pc:sldMk cId="1695560817" sldId="366"/>
            <ac:cxnSpMk id="60" creationId="{02BE5020-33F7-66E4-4A1C-71874FD6410E}"/>
          </ac:cxnSpMkLst>
        </pc:cxnChg>
        <pc:cxnChg chg="mod">
          <ac:chgData name="Guest User" userId="S::urn:spo:anon#c437c167f923f422528aee73b5e70e5726914197d2dec7f210a84ae49e8498a7::" providerId="AD" clId="Web-{46B59B1E-7099-BE76-F539-CA3DCFB5CEFC}" dt="2022-04-04T18:09:10.499" v="180" actId="1076"/>
          <ac:cxnSpMkLst>
            <pc:docMk/>
            <pc:sldMk cId="1695560817" sldId="366"/>
            <ac:cxnSpMk id="62" creationId="{63E5A2FA-D102-2F1F-0789-DF98497CD653}"/>
          </ac:cxnSpMkLst>
        </pc:cxnChg>
        <pc:cxnChg chg="del">
          <ac:chgData name="Guest User" userId="S::urn:spo:anon#c437c167f923f422528aee73b5e70e5726914197d2dec7f210a84ae49e8498a7::" providerId="AD" clId="Web-{46B59B1E-7099-BE76-F539-CA3DCFB5CEFC}" dt="2022-04-04T18:02:07.552" v="101"/>
          <ac:cxnSpMkLst>
            <pc:docMk/>
            <pc:sldMk cId="1695560817" sldId="366"/>
            <ac:cxnSpMk id="64" creationId="{6F5954C0-39F3-16CC-1C37-0EDB244C7946}"/>
          </ac:cxnSpMkLst>
        </pc:cxnChg>
        <pc:cxnChg chg="del">
          <ac:chgData name="Guest User" userId="S::urn:spo:anon#c437c167f923f422528aee73b5e70e5726914197d2dec7f210a84ae49e8498a7::" providerId="AD" clId="Web-{46B59B1E-7099-BE76-F539-CA3DCFB5CEFC}" dt="2022-04-04T18:02:07.552" v="100"/>
          <ac:cxnSpMkLst>
            <pc:docMk/>
            <pc:sldMk cId="1695560817" sldId="366"/>
            <ac:cxnSpMk id="66" creationId="{96C67065-8CD6-E1D8-2668-060B4C39DAC4}"/>
          </ac:cxnSpMkLst>
        </pc:cxnChg>
        <pc:cxnChg chg="mod">
          <ac:chgData name="Guest User" userId="S::urn:spo:anon#c437c167f923f422528aee73b5e70e5726914197d2dec7f210a84ae49e8498a7::" providerId="AD" clId="Web-{46B59B1E-7099-BE76-F539-CA3DCFB5CEFC}" dt="2022-04-04T18:10:35.032" v="219" actId="1076"/>
          <ac:cxnSpMkLst>
            <pc:docMk/>
            <pc:sldMk cId="1695560817" sldId="366"/>
            <ac:cxnSpMk id="70" creationId="{36AB945C-B067-EFEB-F8C0-06799B81FEEF}"/>
          </ac:cxnSpMkLst>
        </pc:cxnChg>
        <pc:cxnChg chg="mod">
          <ac:chgData name="Guest User" userId="S::urn:spo:anon#c437c167f923f422528aee73b5e70e5726914197d2dec7f210a84ae49e8498a7::" providerId="AD" clId="Web-{46B59B1E-7099-BE76-F539-CA3DCFB5CEFC}" dt="2022-04-04T18:09:10.609" v="185" actId="1076"/>
          <ac:cxnSpMkLst>
            <pc:docMk/>
            <pc:sldMk cId="1695560817" sldId="366"/>
            <ac:cxnSpMk id="92" creationId="{95332B53-DA5E-B171-E911-5630D8D71783}"/>
          </ac:cxnSpMkLst>
        </pc:cxnChg>
        <pc:cxnChg chg="mod">
          <ac:chgData name="Guest User" userId="S::urn:spo:anon#c437c167f923f422528aee73b5e70e5726914197d2dec7f210a84ae49e8498a7::" providerId="AD" clId="Web-{46B59B1E-7099-BE76-F539-CA3DCFB5CEFC}" dt="2022-04-04T18:09:10.624" v="186" actId="1076"/>
          <ac:cxnSpMkLst>
            <pc:docMk/>
            <pc:sldMk cId="1695560817" sldId="366"/>
            <ac:cxnSpMk id="94" creationId="{60E77512-710D-3C80-18A9-A2DDB839C5F2}"/>
          </ac:cxnSpMkLst>
        </pc:cxnChg>
        <pc:cxnChg chg="del">
          <ac:chgData name="Guest User" userId="S::urn:spo:anon#c437c167f923f422528aee73b5e70e5726914197d2dec7f210a84ae49e8498a7::" providerId="AD" clId="Web-{46B59B1E-7099-BE76-F539-CA3DCFB5CEFC}" dt="2022-04-04T18:02:19.834" v="103"/>
          <ac:cxnSpMkLst>
            <pc:docMk/>
            <pc:sldMk cId="1695560817" sldId="366"/>
            <ac:cxnSpMk id="96" creationId="{370D1839-E491-D94C-A901-6D494DA2FE09}"/>
          </ac:cxnSpMkLst>
        </pc:cxnChg>
        <pc:cxnChg chg="del">
          <ac:chgData name="Guest User" userId="S::urn:spo:anon#c437c167f923f422528aee73b5e70e5726914197d2dec7f210a84ae49e8498a7::" providerId="AD" clId="Web-{46B59B1E-7099-BE76-F539-CA3DCFB5CEFC}" dt="2022-04-04T18:02:38.584" v="106"/>
          <ac:cxnSpMkLst>
            <pc:docMk/>
            <pc:sldMk cId="1695560817" sldId="366"/>
            <ac:cxnSpMk id="98" creationId="{85C2030F-99FB-114D-1D61-89942ADE6DD2}"/>
          </ac:cxnSpMkLst>
        </pc:cxnChg>
        <pc:cxnChg chg="del">
          <ac:chgData name="Guest User" userId="S::urn:spo:anon#c437c167f923f422528aee73b5e70e5726914197d2dec7f210a84ae49e8498a7::" providerId="AD" clId="Web-{46B59B1E-7099-BE76-F539-CA3DCFB5CEFC}" dt="2022-04-04T18:02:07.552" v="99"/>
          <ac:cxnSpMkLst>
            <pc:docMk/>
            <pc:sldMk cId="1695560817" sldId="366"/>
            <ac:cxnSpMk id="146" creationId="{4D364F69-3564-41A7-3EFD-B7D27DFC2072}"/>
          </ac:cxnSpMkLst>
        </pc:cxnChg>
        <pc:cxnChg chg="del">
          <ac:chgData name="Guest User" userId="S::urn:spo:anon#c437c167f923f422528aee73b5e70e5726914197d2dec7f210a84ae49e8498a7::" providerId="AD" clId="Web-{46B59B1E-7099-BE76-F539-CA3DCFB5CEFC}" dt="2022-04-04T18:02:07.552" v="98"/>
          <ac:cxnSpMkLst>
            <pc:docMk/>
            <pc:sldMk cId="1695560817" sldId="366"/>
            <ac:cxnSpMk id="148" creationId="{B3DF6322-9A6F-5678-45E8-CA5C01B8B47E}"/>
          </ac:cxnSpMkLst>
        </pc:cxnChg>
        <pc:cxnChg chg="del">
          <ac:chgData name="Guest User" userId="S::urn:spo:anon#c437c167f923f422528aee73b5e70e5726914197d2dec7f210a84ae49e8498a7::" providerId="AD" clId="Web-{46B59B1E-7099-BE76-F539-CA3DCFB5CEFC}" dt="2022-04-04T18:02:07.552" v="97"/>
          <ac:cxnSpMkLst>
            <pc:docMk/>
            <pc:sldMk cId="1695560817" sldId="366"/>
            <ac:cxnSpMk id="150" creationId="{D49C1234-00B4-FA66-7F6F-4296EED6C78B}"/>
          </ac:cxnSpMkLst>
        </pc:cxnChg>
        <pc:cxnChg chg="del">
          <ac:chgData name="Guest User" userId="S::urn:spo:anon#c437c167f923f422528aee73b5e70e5726914197d2dec7f210a84ae49e8498a7::" providerId="AD" clId="Web-{46B59B1E-7099-BE76-F539-CA3DCFB5CEFC}" dt="2022-04-04T18:02:07.552" v="96"/>
          <ac:cxnSpMkLst>
            <pc:docMk/>
            <pc:sldMk cId="1695560817" sldId="366"/>
            <ac:cxnSpMk id="156" creationId="{CAA265DC-3C96-67B2-F5B5-32638EBD5DCB}"/>
          </ac:cxnSpMkLst>
        </pc:cxnChg>
        <pc:cxnChg chg="del">
          <ac:chgData name="Guest User" userId="S::urn:spo:anon#c437c167f923f422528aee73b5e70e5726914197d2dec7f210a84ae49e8498a7::" providerId="AD" clId="Web-{46B59B1E-7099-BE76-F539-CA3DCFB5CEFC}" dt="2022-04-04T18:02:07.552" v="95"/>
          <ac:cxnSpMkLst>
            <pc:docMk/>
            <pc:sldMk cId="1695560817" sldId="366"/>
            <ac:cxnSpMk id="158" creationId="{296D08FB-F752-2463-4CD2-5BD82CD678B1}"/>
          </ac:cxnSpMkLst>
        </pc:cxnChg>
        <pc:cxnChg chg="del">
          <ac:chgData name="Guest User" userId="S::urn:spo:anon#c437c167f923f422528aee73b5e70e5726914197d2dec7f210a84ae49e8498a7::" providerId="AD" clId="Web-{46B59B1E-7099-BE76-F539-CA3DCFB5CEFC}" dt="2022-04-04T18:02:07.552" v="94"/>
          <ac:cxnSpMkLst>
            <pc:docMk/>
            <pc:sldMk cId="1695560817" sldId="366"/>
            <ac:cxnSpMk id="162" creationId="{349F29BE-D19B-F111-BDED-443D0EEE482C}"/>
          </ac:cxnSpMkLst>
        </pc:cxnChg>
        <pc:cxnChg chg="mod">
          <ac:chgData name="Guest User" userId="S::urn:spo:anon#c437c167f923f422528aee73b5e70e5726914197d2dec7f210a84ae49e8498a7::" providerId="AD" clId="Web-{46B59B1E-7099-BE76-F539-CA3DCFB5CEFC}" dt="2022-04-04T18:10:35.032" v="218" actId="1076"/>
          <ac:cxnSpMkLst>
            <pc:docMk/>
            <pc:sldMk cId="1695560817" sldId="366"/>
            <ac:cxnSpMk id="163" creationId="{239D5AB9-9EAB-07FA-6DAA-29766725F05B}"/>
          </ac:cxnSpMkLst>
        </pc:cxnChg>
      </pc:sldChg>
      <pc:sldChg chg="addSp delSp modSp">
        <pc:chgData name="Guest User" userId="S::urn:spo:anon#c437c167f923f422528aee73b5e70e5726914197d2dec7f210a84ae49e8498a7::" providerId="AD" clId="Web-{46B59B1E-7099-BE76-F539-CA3DCFB5CEFC}" dt="2022-04-04T18:58:44.958" v="810" actId="20577"/>
        <pc:sldMkLst>
          <pc:docMk/>
          <pc:sldMk cId="3762238417" sldId="367"/>
        </pc:sldMkLst>
        <pc:spChg chg="mod">
          <ac:chgData name="Guest User" userId="S::urn:spo:anon#c437c167f923f422528aee73b5e70e5726914197d2dec7f210a84ae49e8498a7::" providerId="AD" clId="Web-{46B59B1E-7099-BE76-F539-CA3DCFB5CEFC}" dt="2022-04-04T18:57:22.159" v="795" actId="14100"/>
          <ac:spMkLst>
            <pc:docMk/>
            <pc:sldMk cId="3762238417" sldId="367"/>
            <ac:spMk id="2" creationId="{AB52A157-2CB8-6DCB-8D3B-00713BF25DCA}"/>
          </ac:spMkLst>
        </pc:spChg>
        <pc:spChg chg="mod">
          <ac:chgData name="Guest User" userId="S::urn:spo:anon#c437c167f923f422528aee73b5e70e5726914197d2dec7f210a84ae49e8498a7::" providerId="AD" clId="Web-{46B59B1E-7099-BE76-F539-CA3DCFB5CEFC}" dt="2022-04-04T18:58:39.396" v="809" actId="20577"/>
          <ac:spMkLst>
            <pc:docMk/>
            <pc:sldMk cId="3762238417" sldId="367"/>
            <ac:spMk id="3" creationId="{346B9D98-5C00-250F-2E85-76FD3A920D22}"/>
          </ac:spMkLst>
        </pc:spChg>
        <pc:spChg chg="mod">
          <ac:chgData name="Guest User" userId="S::urn:spo:anon#c437c167f923f422528aee73b5e70e5726914197d2dec7f210a84ae49e8498a7::" providerId="AD" clId="Web-{46B59B1E-7099-BE76-F539-CA3DCFB5CEFC}" dt="2022-04-04T18:58:44.958" v="810" actId="20577"/>
          <ac:spMkLst>
            <pc:docMk/>
            <pc:sldMk cId="3762238417" sldId="367"/>
            <ac:spMk id="5" creationId="{36D64229-262E-4A6E-9C18-00F422DCB439}"/>
          </ac:spMkLst>
        </pc:spChg>
        <pc:spChg chg="del">
          <ac:chgData name="Guest User" userId="S::urn:spo:anon#c437c167f923f422528aee73b5e70e5726914197d2dec7f210a84ae49e8498a7::" providerId="AD" clId="Web-{46B59B1E-7099-BE76-F539-CA3DCFB5CEFC}" dt="2022-04-04T18:44:10.766" v="568"/>
          <ac:spMkLst>
            <pc:docMk/>
            <pc:sldMk cId="3762238417" sldId="367"/>
            <ac:spMk id="9" creationId="{A559BC09-4387-488E-85BC-CBE75B1CE17C}"/>
          </ac:spMkLst>
        </pc:spChg>
        <pc:spChg chg="add mod">
          <ac:chgData name="Guest User" userId="S::urn:spo:anon#c437c167f923f422528aee73b5e70e5726914197d2dec7f210a84ae49e8498a7::" providerId="AD" clId="Web-{46B59B1E-7099-BE76-F539-CA3DCFB5CEFC}" dt="2022-04-04T18:58:29.755" v="807" actId="1076"/>
          <ac:spMkLst>
            <pc:docMk/>
            <pc:sldMk cId="3762238417" sldId="367"/>
            <ac:spMk id="11" creationId="{CBD3480E-29E4-CF16-7FAC-4FDE84110F7D}"/>
          </ac:spMkLst>
        </pc:spChg>
      </pc:sldChg>
      <pc:sldChg chg="addSp modSp">
        <pc:chgData name="Guest User" userId="S::urn:spo:anon#c437c167f923f422528aee73b5e70e5726914197d2dec7f210a84ae49e8498a7::" providerId="AD" clId="Web-{46B59B1E-7099-BE76-F539-CA3DCFB5CEFC}" dt="2022-04-04T19:05:35.905" v="871"/>
        <pc:sldMkLst>
          <pc:docMk/>
          <pc:sldMk cId="3514561185" sldId="374"/>
        </pc:sldMkLst>
        <pc:spChg chg="add mod">
          <ac:chgData name="Guest User" userId="S::urn:spo:anon#c437c167f923f422528aee73b5e70e5726914197d2dec7f210a84ae49e8498a7::" providerId="AD" clId="Web-{46B59B1E-7099-BE76-F539-CA3DCFB5CEFC}" dt="2022-04-04T19:05:32.171" v="869" actId="1076"/>
          <ac:spMkLst>
            <pc:docMk/>
            <pc:sldMk cId="3514561185" sldId="374"/>
            <ac:spMk id="2" creationId="{71601D73-6075-4594-3641-75266AC8AC50}"/>
          </ac:spMkLst>
        </pc:spChg>
        <pc:spChg chg="mod">
          <ac:chgData name="Guest User" userId="S::urn:spo:anon#c437c167f923f422528aee73b5e70e5726914197d2dec7f210a84ae49e8498a7::" providerId="AD" clId="Web-{46B59B1E-7099-BE76-F539-CA3DCFB5CEFC}" dt="2022-04-04T19:05:32.217" v="870" actId="14100"/>
          <ac:spMkLst>
            <pc:docMk/>
            <pc:sldMk cId="3514561185" sldId="374"/>
            <ac:spMk id="11" creationId="{A9B97C9C-0C93-045F-4501-F39E80FF554F}"/>
          </ac:spMkLst>
        </pc:spChg>
        <pc:spChg chg="mod">
          <ac:chgData name="Guest User" userId="S::urn:spo:anon#c437c167f923f422528aee73b5e70e5726914197d2dec7f210a84ae49e8498a7::" providerId="AD" clId="Web-{46B59B1E-7099-BE76-F539-CA3DCFB5CEFC}" dt="2022-04-04T19:05:35.905" v="871"/>
          <ac:spMkLst>
            <pc:docMk/>
            <pc:sldMk cId="3514561185" sldId="374"/>
            <ac:spMk id="331" creationId="{00000000-0000-0000-0000-000000000000}"/>
          </ac:spMkLst>
        </pc:spChg>
        <pc:spChg chg="mod">
          <ac:chgData name="Guest User" userId="S::urn:spo:anon#c437c167f923f422528aee73b5e70e5726914197d2dec7f210a84ae49e8498a7::" providerId="AD" clId="Web-{46B59B1E-7099-BE76-F539-CA3DCFB5CEFC}" dt="2022-04-04T18:28:51.214" v="469" actId="14100"/>
          <ac:spMkLst>
            <pc:docMk/>
            <pc:sldMk cId="3514561185" sldId="374"/>
            <ac:spMk id="333" creationId="{00000000-0000-0000-0000-000000000000}"/>
          </ac:spMkLst>
        </pc:spChg>
      </pc:sldChg>
      <pc:sldChg chg="modSp">
        <pc:chgData name="Guest User" userId="S::urn:spo:anon#c437c167f923f422528aee73b5e70e5726914197d2dec7f210a84ae49e8498a7::" providerId="AD" clId="Web-{46B59B1E-7099-BE76-F539-CA3DCFB5CEFC}" dt="2022-04-04T17:47:32.251" v="93" actId="20577"/>
        <pc:sldMkLst>
          <pc:docMk/>
          <pc:sldMk cId="604654217" sldId="375"/>
        </pc:sldMkLst>
        <pc:spChg chg="mod">
          <ac:chgData name="Guest User" userId="S::urn:spo:anon#c437c167f923f422528aee73b5e70e5726914197d2dec7f210a84ae49e8498a7::" providerId="AD" clId="Web-{46B59B1E-7099-BE76-F539-CA3DCFB5CEFC}" dt="2022-04-04T17:47:19.625" v="85" actId="20577"/>
          <ac:spMkLst>
            <pc:docMk/>
            <pc:sldMk cId="604654217" sldId="375"/>
            <ac:spMk id="7" creationId="{8D8EC8C6-E4D1-4DBB-983D-FE47EF3371A4}"/>
          </ac:spMkLst>
        </pc:spChg>
        <pc:spChg chg="mod">
          <ac:chgData name="Guest User" userId="S::urn:spo:anon#c437c167f923f422528aee73b5e70e5726914197d2dec7f210a84ae49e8498a7::" providerId="AD" clId="Web-{46B59B1E-7099-BE76-F539-CA3DCFB5CEFC}" dt="2022-04-04T17:47:32.251" v="93" actId="20577"/>
          <ac:spMkLst>
            <pc:docMk/>
            <pc:sldMk cId="604654217" sldId="375"/>
            <ac:spMk id="8" creationId="{0C428FE0-CEA6-4B06-818A-B15A33773397}"/>
          </ac:spMkLst>
        </pc:spChg>
      </pc:sldChg>
    </pc:docChg>
  </pc:docChgLst>
  <pc:docChgLst>
    <pc:chgData name="Guest User" userId="S::urn:spo:anon#bc72e6c931b442e1b83d9d7baffb28dcb7bee849e2d9a5e2bb7cc25170a1c113::" providerId="AD" clId="Web-{6A609E6D-3116-3E16-F414-426718992CAD}"/>
    <pc:docChg chg="modSld">
      <pc:chgData name="Guest User" userId="S::urn:spo:anon#bc72e6c931b442e1b83d9d7baffb28dcb7bee849e2d9a5e2bb7cc25170a1c113::" providerId="AD" clId="Web-{6A609E6D-3116-3E16-F414-426718992CAD}" dt="2022-03-21T23:40:35.274" v="207"/>
      <pc:docMkLst>
        <pc:docMk/>
      </pc:docMkLst>
      <pc:sldChg chg="addSp modSp">
        <pc:chgData name="Guest User" userId="S::urn:spo:anon#bc72e6c931b442e1b83d9d7baffb28dcb7bee849e2d9a5e2bb7cc25170a1c113::" providerId="AD" clId="Web-{6A609E6D-3116-3E16-F414-426718992CAD}" dt="2022-03-21T23:31:36.198" v="121" actId="1076"/>
        <pc:sldMkLst>
          <pc:docMk/>
          <pc:sldMk cId="0" sldId="257"/>
        </pc:sldMkLst>
        <pc:spChg chg="mod">
          <ac:chgData name="Guest User" userId="S::urn:spo:anon#bc72e6c931b442e1b83d9d7baffb28dcb7bee849e2d9a5e2bb7cc25170a1c113::" providerId="AD" clId="Web-{6A609E6D-3116-3E16-F414-426718992CAD}" dt="2022-03-21T23:29:34.316" v="85" actId="14100"/>
          <ac:spMkLst>
            <pc:docMk/>
            <pc:sldMk cId="0" sldId="257"/>
            <ac:spMk id="3" creationId="{39609F45-5196-405D-A25B-0B3CF8FD192A}"/>
          </ac:spMkLst>
        </pc:spChg>
        <pc:spChg chg="mod">
          <ac:chgData name="Guest User" userId="S::urn:spo:anon#bc72e6c931b442e1b83d9d7baffb28dcb7bee849e2d9a5e2bb7cc25170a1c113::" providerId="AD" clId="Web-{6A609E6D-3116-3E16-F414-426718992CAD}" dt="2022-03-21T23:29:02.893" v="79" actId="14100"/>
          <ac:spMkLst>
            <pc:docMk/>
            <pc:sldMk cId="0" sldId="257"/>
            <ac:spMk id="4" creationId="{8570B07F-C2EE-4D23-B889-B458FC8A4A4A}"/>
          </ac:spMkLst>
        </pc:spChg>
        <pc:spChg chg="mod">
          <ac:chgData name="Guest User" userId="S::urn:spo:anon#bc72e6c931b442e1b83d9d7baffb28dcb7bee849e2d9a5e2bb7cc25170a1c113::" providerId="AD" clId="Web-{6A609E6D-3116-3E16-F414-426718992CAD}" dt="2022-03-21T23:29:11.534" v="81" actId="1076"/>
          <ac:spMkLst>
            <pc:docMk/>
            <pc:sldMk cId="0" sldId="257"/>
            <ac:spMk id="8" creationId="{658FBB6F-FDD7-4B3F-BBC3-FB5A47C4D7BD}"/>
          </ac:spMkLst>
        </pc:spChg>
        <pc:spChg chg="mod">
          <ac:chgData name="Guest User" userId="S::urn:spo:anon#bc72e6c931b442e1b83d9d7baffb28dcb7bee849e2d9a5e2bb7cc25170a1c113::" providerId="AD" clId="Web-{6A609E6D-3116-3E16-F414-426718992CAD}" dt="2022-03-21T23:28:23.672" v="65" actId="1076"/>
          <ac:spMkLst>
            <pc:docMk/>
            <pc:sldMk cId="0" sldId="257"/>
            <ac:spMk id="44" creationId="{28E8AA2B-7E30-48CF-86E4-5464130C7279}"/>
          </ac:spMkLst>
        </pc:spChg>
        <pc:spChg chg="mod">
          <ac:chgData name="Guest User" userId="S::urn:spo:anon#bc72e6c931b442e1b83d9d7baffb28dcb7bee849e2d9a5e2bb7cc25170a1c113::" providerId="AD" clId="Web-{6A609E6D-3116-3E16-F414-426718992CAD}" dt="2022-03-21T23:30:05.005" v="92" actId="1076"/>
          <ac:spMkLst>
            <pc:docMk/>
            <pc:sldMk cId="0" sldId="257"/>
            <ac:spMk id="47" creationId="{C5E20432-F495-4AE8-8931-143A4C1D3844}"/>
          </ac:spMkLst>
        </pc:spChg>
        <pc:spChg chg="mod">
          <ac:chgData name="Guest User" userId="S::urn:spo:anon#bc72e6c931b442e1b83d9d7baffb28dcb7bee849e2d9a5e2bb7cc25170a1c113::" providerId="AD" clId="Web-{6A609E6D-3116-3E16-F414-426718992CAD}" dt="2022-03-21T23:28:36.704" v="72" actId="14100"/>
          <ac:spMkLst>
            <pc:docMk/>
            <pc:sldMk cId="0" sldId="257"/>
            <ac:spMk id="50" creationId="{7EADC094-A032-4A82-86F5-C217CDFD7303}"/>
          </ac:spMkLst>
        </pc:spChg>
        <pc:spChg chg="mod">
          <ac:chgData name="Guest User" userId="S::urn:spo:anon#bc72e6c931b442e1b83d9d7baffb28dcb7bee849e2d9a5e2bb7cc25170a1c113::" providerId="AD" clId="Web-{6A609E6D-3116-3E16-F414-426718992CAD}" dt="2022-03-21T23:31:19.400" v="113" actId="1076"/>
          <ac:spMkLst>
            <pc:docMk/>
            <pc:sldMk cId="0" sldId="257"/>
            <ac:spMk id="52" creationId="{6C9D2FE4-3EA2-442C-939B-BC72E4710CD2}"/>
          </ac:spMkLst>
        </pc:spChg>
        <pc:spChg chg="mod">
          <ac:chgData name="Guest User" userId="S::urn:spo:anon#bc72e6c931b442e1b83d9d7baffb28dcb7bee849e2d9a5e2bb7cc25170a1c113::" providerId="AD" clId="Web-{6A609E6D-3116-3E16-F414-426718992CAD}" dt="2022-03-21T23:28:02.514" v="20" actId="1076"/>
          <ac:spMkLst>
            <pc:docMk/>
            <pc:sldMk cId="0" sldId="257"/>
            <ac:spMk id="196" creationId="{00000000-0000-0000-0000-000000000000}"/>
          </ac:spMkLst>
        </pc:spChg>
        <pc:spChg chg="mod">
          <ac:chgData name="Guest User" userId="S::urn:spo:anon#bc72e6c931b442e1b83d9d7baffb28dcb7bee849e2d9a5e2bb7cc25170a1c113::" providerId="AD" clId="Web-{6A609E6D-3116-3E16-F414-426718992CAD}" dt="2022-03-21T23:30:09.818" v="94" actId="1076"/>
          <ac:spMkLst>
            <pc:docMk/>
            <pc:sldMk cId="0" sldId="257"/>
            <ac:spMk id="198" creationId="{00000000-0000-0000-0000-000000000000}"/>
          </ac:spMkLst>
        </pc:spChg>
        <pc:spChg chg="mod">
          <ac:chgData name="Guest User" userId="S::urn:spo:anon#bc72e6c931b442e1b83d9d7baffb28dcb7bee849e2d9a5e2bb7cc25170a1c113::" providerId="AD" clId="Web-{6A609E6D-3116-3E16-F414-426718992CAD}" dt="2022-03-21T23:28:23.500" v="58" actId="1076"/>
          <ac:spMkLst>
            <pc:docMk/>
            <pc:sldMk cId="0" sldId="257"/>
            <ac:spMk id="212" creationId="{00000000-0000-0000-0000-000000000000}"/>
          </ac:spMkLst>
        </pc:spChg>
        <pc:spChg chg="mod">
          <ac:chgData name="Guest User" userId="S::urn:spo:anon#bc72e6c931b442e1b83d9d7baffb28dcb7bee849e2d9a5e2bb7cc25170a1c113::" providerId="AD" clId="Web-{6A609E6D-3116-3E16-F414-426718992CAD}" dt="2022-03-21T23:29:56.505" v="89" actId="1076"/>
          <ac:spMkLst>
            <pc:docMk/>
            <pc:sldMk cId="0" sldId="257"/>
            <ac:spMk id="213" creationId="{00000000-0000-0000-0000-000000000000}"/>
          </ac:spMkLst>
        </pc:spChg>
        <pc:spChg chg="mod">
          <ac:chgData name="Guest User" userId="S::urn:spo:anon#bc72e6c931b442e1b83d9d7baffb28dcb7bee849e2d9a5e2bb7cc25170a1c113::" providerId="AD" clId="Web-{6A609E6D-3116-3E16-F414-426718992CAD}" dt="2022-03-21T23:28:23.547" v="60" actId="1076"/>
          <ac:spMkLst>
            <pc:docMk/>
            <pc:sldMk cId="0" sldId="257"/>
            <ac:spMk id="214" creationId="{00000000-0000-0000-0000-000000000000}"/>
          </ac:spMkLst>
        </pc:spChg>
        <pc:spChg chg="mod">
          <ac:chgData name="Guest User" userId="S::urn:spo:anon#bc72e6c931b442e1b83d9d7baffb28dcb7bee849e2d9a5e2bb7cc25170a1c113::" providerId="AD" clId="Web-{6A609E6D-3116-3E16-F414-426718992CAD}" dt="2022-03-21T23:30:53.070" v="103" actId="1076"/>
          <ac:spMkLst>
            <pc:docMk/>
            <pc:sldMk cId="0" sldId="257"/>
            <ac:spMk id="218" creationId="{00000000-0000-0000-0000-000000000000}"/>
          </ac:spMkLst>
        </pc:spChg>
        <pc:spChg chg="mod">
          <ac:chgData name="Guest User" userId="S::urn:spo:anon#bc72e6c931b442e1b83d9d7baffb28dcb7bee849e2d9a5e2bb7cc25170a1c113::" providerId="AD" clId="Web-{6A609E6D-3116-3E16-F414-426718992CAD}" dt="2022-03-21T23:30:57.836" v="105" actId="1076"/>
          <ac:spMkLst>
            <pc:docMk/>
            <pc:sldMk cId="0" sldId="257"/>
            <ac:spMk id="219" creationId="{00000000-0000-0000-0000-000000000000}"/>
          </ac:spMkLst>
        </pc:spChg>
        <pc:spChg chg="mod">
          <ac:chgData name="Guest User" userId="S::urn:spo:anon#bc72e6c931b442e1b83d9d7baffb28dcb7bee849e2d9a5e2bb7cc25170a1c113::" providerId="AD" clId="Web-{6A609E6D-3116-3E16-F414-426718992CAD}" dt="2022-03-21T23:30:55.649" v="104" actId="1076"/>
          <ac:spMkLst>
            <pc:docMk/>
            <pc:sldMk cId="0" sldId="257"/>
            <ac:spMk id="220" creationId="{00000000-0000-0000-0000-000000000000}"/>
          </ac:spMkLst>
        </pc:spChg>
        <pc:spChg chg="mod">
          <ac:chgData name="Guest User" userId="S::urn:spo:anon#bc72e6c931b442e1b83d9d7baffb28dcb7bee849e2d9a5e2bb7cc25170a1c113::" providerId="AD" clId="Web-{6A609E6D-3116-3E16-F414-426718992CAD}" dt="2022-03-21T23:28:23.609" v="62" actId="1076"/>
          <ac:spMkLst>
            <pc:docMk/>
            <pc:sldMk cId="0" sldId="257"/>
            <ac:spMk id="221" creationId="{00000000-0000-0000-0000-000000000000}"/>
          </ac:spMkLst>
        </pc:spChg>
        <pc:spChg chg="mod">
          <ac:chgData name="Guest User" userId="S::urn:spo:anon#bc72e6c931b442e1b83d9d7baffb28dcb7bee849e2d9a5e2bb7cc25170a1c113::" providerId="AD" clId="Web-{6A609E6D-3116-3E16-F414-426718992CAD}" dt="2022-03-21T23:28:23.625" v="63" actId="1076"/>
          <ac:spMkLst>
            <pc:docMk/>
            <pc:sldMk cId="0" sldId="257"/>
            <ac:spMk id="222" creationId="{00000000-0000-0000-0000-000000000000}"/>
          </ac:spMkLst>
        </pc:spChg>
        <pc:spChg chg="mod">
          <ac:chgData name="Guest User" userId="S::urn:spo:anon#bc72e6c931b442e1b83d9d7baffb28dcb7bee849e2d9a5e2bb7cc25170a1c113::" providerId="AD" clId="Web-{6A609E6D-3116-3E16-F414-426718992CAD}" dt="2022-03-21T23:29:53.161" v="87" actId="1076"/>
          <ac:spMkLst>
            <pc:docMk/>
            <pc:sldMk cId="0" sldId="257"/>
            <ac:spMk id="224" creationId="{00000000-0000-0000-0000-000000000000}"/>
          </ac:spMkLst>
        </pc:spChg>
        <pc:spChg chg="mod">
          <ac:chgData name="Guest User" userId="S::urn:spo:anon#bc72e6c931b442e1b83d9d7baffb28dcb7bee849e2d9a5e2bb7cc25170a1c113::" providerId="AD" clId="Web-{6A609E6D-3116-3E16-F414-426718992CAD}" dt="2022-03-21T23:31:19.369" v="112" actId="1076"/>
          <ac:spMkLst>
            <pc:docMk/>
            <pc:sldMk cId="0" sldId="257"/>
            <ac:spMk id="225" creationId="{00000000-0000-0000-0000-000000000000}"/>
          </ac:spMkLst>
        </pc:spChg>
        <pc:spChg chg="mod">
          <ac:chgData name="Guest User" userId="S::urn:spo:anon#bc72e6c931b442e1b83d9d7baffb28dcb7bee849e2d9a5e2bb7cc25170a1c113::" providerId="AD" clId="Web-{6A609E6D-3116-3E16-F414-426718992CAD}" dt="2022-03-21T23:31:19.353" v="111" actId="1076"/>
          <ac:spMkLst>
            <pc:docMk/>
            <pc:sldMk cId="0" sldId="257"/>
            <ac:spMk id="226" creationId="{00000000-0000-0000-0000-000000000000}"/>
          </ac:spMkLst>
        </pc:spChg>
        <pc:spChg chg="mod">
          <ac:chgData name="Guest User" userId="S::urn:spo:anon#bc72e6c931b442e1b83d9d7baffb28dcb7bee849e2d9a5e2bb7cc25170a1c113::" providerId="AD" clId="Web-{6A609E6D-3116-3E16-F414-426718992CAD}" dt="2022-03-21T23:27:49.857" v="18" actId="14100"/>
          <ac:spMkLst>
            <pc:docMk/>
            <pc:sldMk cId="0" sldId="257"/>
            <ac:spMk id="229" creationId="{00000000-0000-0000-0000-000000000000}"/>
          </ac:spMkLst>
        </pc:spChg>
        <pc:grpChg chg="add mod">
          <ac:chgData name="Guest User" userId="S::urn:spo:anon#bc72e6c931b442e1b83d9d7baffb28dcb7bee849e2d9a5e2bb7cc25170a1c113::" providerId="AD" clId="Web-{6A609E6D-3116-3E16-F414-426718992CAD}" dt="2022-03-21T23:29:08.627" v="80" actId="1076"/>
          <ac:grpSpMkLst>
            <pc:docMk/>
            <pc:sldMk cId="0" sldId="257"/>
            <ac:grpSpMk id="2" creationId="{DEEECA5A-E03F-4135-992C-2C488710BE1C}"/>
          </ac:grpSpMkLst>
        </pc:grpChg>
        <pc:grpChg chg="mod">
          <ac:chgData name="Guest User" userId="S::urn:spo:anon#bc72e6c931b442e1b83d9d7baffb28dcb7bee849e2d9a5e2bb7cc25170a1c113::" providerId="AD" clId="Web-{6A609E6D-3116-3E16-F414-426718992CAD}" dt="2022-03-21T23:30:04.958" v="90" actId="1076"/>
          <ac:grpSpMkLst>
            <pc:docMk/>
            <pc:sldMk cId="0" sldId="257"/>
            <ac:grpSpMk id="215" creationId="{00000000-0000-0000-0000-000000000000}"/>
          </ac:grpSpMkLst>
        </pc:grpChg>
        <pc:grpChg chg="mod">
          <ac:chgData name="Guest User" userId="S::urn:spo:anon#bc72e6c931b442e1b83d9d7baffb28dcb7bee849e2d9a5e2bb7cc25170a1c113::" providerId="AD" clId="Web-{6A609E6D-3116-3E16-F414-426718992CAD}" dt="2022-03-21T23:30:04.990" v="91" actId="1076"/>
          <ac:grpSpMkLst>
            <pc:docMk/>
            <pc:sldMk cId="0" sldId="257"/>
            <ac:grpSpMk id="228" creationId="{00000000-0000-0000-0000-000000000000}"/>
          </ac:grpSpMkLst>
        </pc:grpChg>
        <pc:picChg chg="mod">
          <ac:chgData name="Guest User" userId="S::urn:spo:anon#bc72e6c931b442e1b83d9d7baffb28dcb7bee849e2d9a5e2bb7cc25170a1c113::" providerId="AD" clId="Web-{6A609E6D-3116-3E16-F414-426718992CAD}" dt="2022-03-21T23:28:23.687" v="66" actId="1076"/>
          <ac:picMkLst>
            <pc:docMk/>
            <pc:sldMk cId="0" sldId="257"/>
            <ac:picMk id="6" creationId="{7948A3F3-9796-46CE-9F61-00A80F8DEF69}"/>
          </ac:picMkLst>
        </pc:picChg>
        <pc:picChg chg="mod">
          <ac:chgData name="Guest User" userId="S::urn:spo:anon#bc72e6c931b442e1b83d9d7baffb28dcb7bee849e2d9a5e2bb7cc25170a1c113::" providerId="AD" clId="Web-{6A609E6D-3116-3E16-F414-426718992CAD}" dt="2022-03-21T23:31:19.306" v="109" actId="1076"/>
          <ac:picMkLst>
            <pc:docMk/>
            <pc:sldMk cId="0" sldId="257"/>
            <ac:picMk id="7" creationId="{95A77363-E608-4059-A435-11A522FD102A}"/>
          </ac:picMkLst>
        </pc:picChg>
        <pc:picChg chg="mod">
          <ac:chgData name="Guest User" userId="S::urn:spo:anon#bc72e6c931b442e1b83d9d7baffb28dcb7bee849e2d9a5e2bb7cc25170a1c113::" providerId="AD" clId="Web-{6A609E6D-3116-3E16-F414-426718992CAD}" dt="2022-03-21T23:28:23.328" v="52" actId="1076"/>
          <ac:picMkLst>
            <pc:docMk/>
            <pc:sldMk cId="0" sldId="257"/>
            <ac:picMk id="200" creationId="{00000000-0000-0000-0000-000000000000}"/>
          </ac:picMkLst>
        </pc:picChg>
        <pc:picChg chg="mod">
          <ac:chgData name="Guest User" userId="S::urn:spo:anon#bc72e6c931b442e1b83d9d7baffb28dcb7bee849e2d9a5e2bb7cc25170a1c113::" providerId="AD" clId="Web-{6A609E6D-3116-3E16-F414-426718992CAD}" dt="2022-03-21T23:28:23.375" v="53" actId="1076"/>
          <ac:picMkLst>
            <pc:docMk/>
            <pc:sldMk cId="0" sldId="257"/>
            <ac:picMk id="201" creationId="{00000000-0000-0000-0000-000000000000}"/>
          </ac:picMkLst>
        </pc:picChg>
        <pc:picChg chg="mod">
          <ac:chgData name="Guest User" userId="S::urn:spo:anon#bc72e6c931b442e1b83d9d7baffb28dcb7bee849e2d9a5e2bb7cc25170a1c113::" providerId="AD" clId="Web-{6A609E6D-3116-3E16-F414-426718992CAD}" dt="2022-03-21T23:29:56.489" v="88" actId="1076"/>
          <ac:picMkLst>
            <pc:docMk/>
            <pc:sldMk cId="0" sldId="257"/>
            <ac:picMk id="202" creationId="{00000000-0000-0000-0000-000000000000}"/>
          </ac:picMkLst>
        </pc:picChg>
        <pc:picChg chg="mod">
          <ac:chgData name="Guest User" userId="S::urn:spo:anon#bc72e6c931b442e1b83d9d7baffb28dcb7bee849e2d9a5e2bb7cc25170a1c113::" providerId="AD" clId="Web-{6A609E6D-3116-3E16-F414-426718992CAD}" dt="2022-03-21T23:28:23.422" v="55" actId="1076"/>
          <ac:picMkLst>
            <pc:docMk/>
            <pc:sldMk cId="0" sldId="257"/>
            <ac:picMk id="204" creationId="{00000000-0000-0000-0000-000000000000}"/>
          </ac:picMkLst>
        </pc:picChg>
        <pc:picChg chg="mod">
          <ac:chgData name="Guest User" userId="S::urn:spo:anon#bc72e6c931b442e1b83d9d7baffb28dcb7bee849e2d9a5e2bb7cc25170a1c113::" providerId="AD" clId="Web-{6A609E6D-3116-3E16-F414-426718992CAD}" dt="2022-03-21T23:28:23.453" v="56" actId="1076"/>
          <ac:picMkLst>
            <pc:docMk/>
            <pc:sldMk cId="0" sldId="257"/>
            <ac:picMk id="205" creationId="{00000000-0000-0000-0000-000000000000}"/>
          </ac:picMkLst>
        </pc:picChg>
        <pc:picChg chg="mod">
          <ac:chgData name="Guest User" userId="S::urn:spo:anon#bc72e6c931b442e1b83d9d7baffb28dcb7bee849e2d9a5e2bb7cc25170a1c113::" providerId="AD" clId="Web-{6A609E6D-3116-3E16-F414-426718992CAD}" dt="2022-03-21T23:29:53.145" v="86" actId="1076"/>
          <ac:picMkLst>
            <pc:docMk/>
            <pc:sldMk cId="0" sldId="257"/>
            <ac:picMk id="206" creationId="{00000000-0000-0000-0000-000000000000}"/>
          </ac:picMkLst>
        </pc:picChg>
        <pc:picChg chg="mod">
          <ac:chgData name="Guest User" userId="S::urn:spo:anon#bc72e6c931b442e1b83d9d7baffb28dcb7bee849e2d9a5e2bb7cc25170a1c113::" providerId="AD" clId="Web-{6A609E6D-3116-3E16-F414-426718992CAD}" dt="2022-03-21T23:28:02.546" v="21" actId="1076"/>
          <ac:picMkLst>
            <pc:docMk/>
            <pc:sldMk cId="0" sldId="257"/>
            <ac:picMk id="207" creationId="{00000000-0000-0000-0000-000000000000}"/>
          </ac:picMkLst>
        </pc:picChg>
        <pc:picChg chg="mod">
          <ac:chgData name="Guest User" userId="S::urn:spo:anon#bc72e6c931b442e1b83d9d7baffb28dcb7bee849e2d9a5e2bb7cc25170a1c113::" providerId="AD" clId="Web-{6A609E6D-3116-3E16-F414-426718992CAD}" dt="2022-03-21T23:28:02.561" v="22" actId="1076"/>
          <ac:picMkLst>
            <pc:docMk/>
            <pc:sldMk cId="0" sldId="257"/>
            <ac:picMk id="208" creationId="{00000000-0000-0000-0000-000000000000}"/>
          </ac:picMkLst>
        </pc:picChg>
        <pc:picChg chg="mod">
          <ac:chgData name="Guest User" userId="S::urn:spo:anon#bc72e6c931b442e1b83d9d7baffb28dcb7bee849e2d9a5e2bb7cc25170a1c113::" providerId="AD" clId="Web-{6A609E6D-3116-3E16-F414-426718992CAD}" dt="2022-03-21T23:28:02.593" v="23" actId="1076"/>
          <ac:picMkLst>
            <pc:docMk/>
            <pc:sldMk cId="0" sldId="257"/>
            <ac:picMk id="209" creationId="{00000000-0000-0000-0000-000000000000}"/>
          </ac:picMkLst>
        </pc:picChg>
        <pc:picChg chg="mod">
          <ac:chgData name="Guest User" userId="S::urn:spo:anon#bc72e6c931b442e1b83d9d7baffb28dcb7bee849e2d9a5e2bb7cc25170a1c113::" providerId="AD" clId="Web-{6A609E6D-3116-3E16-F414-426718992CAD}" dt="2022-03-21T23:31:36.198" v="121" actId="1076"/>
          <ac:picMkLst>
            <pc:docMk/>
            <pc:sldMk cId="0" sldId="257"/>
            <ac:picMk id="210" creationId="{00000000-0000-0000-0000-000000000000}"/>
          </ac:picMkLst>
        </pc:picChg>
        <pc:picChg chg="mod">
          <ac:chgData name="Guest User" userId="S::urn:spo:anon#bc72e6c931b442e1b83d9d7baffb28dcb7bee849e2d9a5e2bb7cc25170a1c113::" providerId="AD" clId="Web-{6A609E6D-3116-3E16-F414-426718992CAD}" dt="2022-03-21T23:31:19.322" v="110" actId="1076"/>
          <ac:picMkLst>
            <pc:docMk/>
            <pc:sldMk cId="0" sldId="257"/>
            <ac:picMk id="211" creationId="{00000000-0000-0000-0000-000000000000}"/>
          </ac:picMkLst>
        </pc:picChg>
        <pc:cxnChg chg="mod">
          <ac:chgData name="Guest User" userId="S::urn:spo:anon#bc72e6c931b442e1b83d9d7baffb28dcb7bee849e2d9a5e2bb7cc25170a1c113::" providerId="AD" clId="Web-{6A609E6D-3116-3E16-F414-426718992CAD}" dt="2022-03-21T23:31:30.541" v="120" actId="1076"/>
          <ac:cxnSpMkLst>
            <pc:docMk/>
            <pc:sldMk cId="0" sldId="257"/>
            <ac:cxnSpMk id="227" creationId="{00000000-0000-0000-0000-000000000000}"/>
          </ac:cxnSpMkLst>
        </pc:cxnChg>
      </pc:sldChg>
      <pc:sldChg chg="delSp modSp">
        <pc:chgData name="Guest User" userId="S::urn:spo:anon#bc72e6c931b442e1b83d9d7baffb28dcb7bee849e2d9a5e2bb7cc25170a1c113::" providerId="AD" clId="Web-{6A609E6D-3116-3E16-F414-426718992CAD}" dt="2022-03-21T23:35:40.477" v="171" actId="1076"/>
        <pc:sldMkLst>
          <pc:docMk/>
          <pc:sldMk cId="0" sldId="262"/>
        </pc:sldMkLst>
        <pc:spChg chg="mod">
          <ac:chgData name="Guest User" userId="S::urn:spo:anon#bc72e6c931b442e1b83d9d7baffb28dcb7bee849e2d9a5e2bb7cc25170a1c113::" providerId="AD" clId="Web-{6A609E6D-3116-3E16-F414-426718992CAD}" dt="2022-03-21T23:34:29.676" v="159" actId="14100"/>
          <ac:spMkLst>
            <pc:docMk/>
            <pc:sldMk cId="0" sldId="262"/>
            <ac:spMk id="2" creationId="{16F0995F-6B60-4E73-B4E1-435614CD0A2C}"/>
          </ac:spMkLst>
        </pc:spChg>
        <pc:spChg chg="mod">
          <ac:chgData name="Guest User" userId="S::urn:spo:anon#bc72e6c931b442e1b83d9d7baffb28dcb7bee849e2d9a5e2bb7cc25170a1c113::" providerId="AD" clId="Web-{6A609E6D-3116-3E16-F414-426718992CAD}" dt="2022-03-21T23:34:24.426" v="158" actId="1076"/>
          <ac:spMkLst>
            <pc:docMk/>
            <pc:sldMk cId="0" sldId="262"/>
            <ac:spMk id="4" creationId="{6DEBA634-77BD-47BC-BE35-9E8586A9663B}"/>
          </ac:spMkLst>
        </pc:spChg>
        <pc:spChg chg="mod">
          <ac:chgData name="Guest User" userId="S::urn:spo:anon#bc72e6c931b442e1b83d9d7baffb28dcb7bee849e2d9a5e2bb7cc25170a1c113::" providerId="AD" clId="Web-{6A609E6D-3116-3E16-F414-426718992CAD}" dt="2022-03-21T23:34:38.599" v="161" actId="14100"/>
          <ac:spMkLst>
            <pc:docMk/>
            <pc:sldMk cId="0" sldId="262"/>
            <ac:spMk id="343" creationId="{00000000-0000-0000-0000-000000000000}"/>
          </ac:spMkLst>
        </pc:spChg>
        <pc:spChg chg="del">
          <ac:chgData name="Guest User" userId="S::urn:spo:anon#bc72e6c931b442e1b83d9d7baffb28dcb7bee849e2d9a5e2bb7cc25170a1c113::" providerId="AD" clId="Web-{6A609E6D-3116-3E16-F414-426718992CAD}" dt="2022-03-21T23:33:06.781" v="130"/>
          <ac:spMkLst>
            <pc:docMk/>
            <pc:sldMk cId="0" sldId="262"/>
            <ac:spMk id="345" creationId="{00000000-0000-0000-0000-000000000000}"/>
          </ac:spMkLst>
        </pc:spChg>
        <pc:spChg chg="del">
          <ac:chgData name="Guest User" userId="S::urn:spo:anon#bc72e6c931b442e1b83d9d7baffb28dcb7bee849e2d9a5e2bb7cc25170a1c113::" providerId="AD" clId="Web-{6A609E6D-3116-3E16-F414-426718992CAD}" dt="2022-03-21T23:33:06.781" v="129"/>
          <ac:spMkLst>
            <pc:docMk/>
            <pc:sldMk cId="0" sldId="262"/>
            <ac:spMk id="346" creationId="{00000000-0000-0000-0000-000000000000}"/>
          </ac:spMkLst>
        </pc:spChg>
        <pc:spChg chg="del">
          <ac:chgData name="Guest User" userId="S::urn:spo:anon#bc72e6c931b442e1b83d9d7baffb28dcb7bee849e2d9a5e2bb7cc25170a1c113::" providerId="AD" clId="Web-{6A609E6D-3116-3E16-F414-426718992CAD}" dt="2022-03-21T23:32:59.375" v="127"/>
          <ac:spMkLst>
            <pc:docMk/>
            <pc:sldMk cId="0" sldId="262"/>
            <ac:spMk id="347" creationId="{00000000-0000-0000-0000-000000000000}"/>
          </ac:spMkLst>
        </pc:spChg>
        <pc:spChg chg="mod">
          <ac:chgData name="Guest User" userId="S::urn:spo:anon#bc72e6c931b442e1b83d9d7baffb28dcb7bee849e2d9a5e2bb7cc25170a1c113::" providerId="AD" clId="Web-{6A609E6D-3116-3E16-F414-426718992CAD}" dt="2022-03-21T23:35:20.679" v="169" actId="1076"/>
          <ac:spMkLst>
            <pc:docMk/>
            <pc:sldMk cId="0" sldId="262"/>
            <ac:spMk id="371" creationId="{00000000-0000-0000-0000-000000000000}"/>
          </ac:spMkLst>
        </pc:spChg>
        <pc:spChg chg="mod">
          <ac:chgData name="Guest User" userId="S::urn:spo:anon#bc72e6c931b442e1b83d9d7baffb28dcb7bee849e2d9a5e2bb7cc25170a1c113::" providerId="AD" clId="Web-{6A609E6D-3116-3E16-F414-426718992CAD}" dt="2022-03-21T23:34:58.459" v="163" actId="1076"/>
          <ac:spMkLst>
            <pc:docMk/>
            <pc:sldMk cId="0" sldId="262"/>
            <ac:spMk id="375" creationId="{00000000-0000-0000-0000-000000000000}"/>
          </ac:spMkLst>
        </pc:spChg>
        <pc:spChg chg="mod">
          <ac:chgData name="Guest User" userId="S::urn:spo:anon#bc72e6c931b442e1b83d9d7baffb28dcb7bee849e2d9a5e2bb7cc25170a1c113::" providerId="AD" clId="Web-{6A609E6D-3116-3E16-F414-426718992CAD}" dt="2022-03-21T23:35:20.648" v="168" actId="1076"/>
          <ac:spMkLst>
            <pc:docMk/>
            <pc:sldMk cId="0" sldId="262"/>
            <ac:spMk id="404" creationId="{00000000-0000-0000-0000-000000000000}"/>
          </ac:spMkLst>
        </pc:spChg>
        <pc:spChg chg="mod">
          <ac:chgData name="Guest User" userId="S::urn:spo:anon#bc72e6c931b442e1b83d9d7baffb28dcb7bee849e2d9a5e2bb7cc25170a1c113::" providerId="AD" clId="Web-{6A609E6D-3116-3E16-F414-426718992CAD}" dt="2022-03-21T23:34:55.084" v="162" actId="1076"/>
          <ac:spMkLst>
            <pc:docMk/>
            <pc:sldMk cId="0" sldId="262"/>
            <ac:spMk id="406" creationId="{00000000-0000-0000-0000-000000000000}"/>
          </ac:spMkLst>
        </pc:spChg>
        <pc:spChg chg="mod">
          <ac:chgData name="Guest User" userId="S::urn:spo:anon#bc72e6c931b442e1b83d9d7baffb28dcb7bee849e2d9a5e2bb7cc25170a1c113::" providerId="AD" clId="Web-{6A609E6D-3116-3E16-F414-426718992CAD}" dt="2022-03-21T23:33:48.596" v="146" actId="1076"/>
          <ac:spMkLst>
            <pc:docMk/>
            <pc:sldMk cId="0" sldId="262"/>
            <ac:spMk id="430" creationId="{00000000-0000-0000-0000-000000000000}"/>
          </ac:spMkLst>
        </pc:spChg>
        <pc:spChg chg="mod">
          <ac:chgData name="Guest User" userId="S::urn:spo:anon#bc72e6c931b442e1b83d9d7baffb28dcb7bee849e2d9a5e2bb7cc25170a1c113::" providerId="AD" clId="Web-{6A609E6D-3116-3E16-F414-426718992CAD}" dt="2022-03-21T23:33:39.877" v="143" actId="1076"/>
          <ac:spMkLst>
            <pc:docMk/>
            <pc:sldMk cId="0" sldId="262"/>
            <ac:spMk id="431" creationId="{00000000-0000-0000-0000-000000000000}"/>
          </ac:spMkLst>
        </pc:spChg>
        <pc:spChg chg="mod">
          <ac:chgData name="Guest User" userId="S::urn:spo:anon#bc72e6c931b442e1b83d9d7baffb28dcb7bee849e2d9a5e2bb7cc25170a1c113::" providerId="AD" clId="Web-{6A609E6D-3116-3E16-F414-426718992CAD}" dt="2022-03-21T23:34:14.754" v="155" actId="1076"/>
          <ac:spMkLst>
            <pc:docMk/>
            <pc:sldMk cId="0" sldId="262"/>
            <ac:spMk id="436" creationId="{00000000-0000-0000-0000-000000000000}"/>
          </ac:spMkLst>
        </pc:spChg>
        <pc:spChg chg="mod">
          <ac:chgData name="Guest User" userId="S::urn:spo:anon#bc72e6c931b442e1b83d9d7baffb28dcb7bee849e2d9a5e2bb7cc25170a1c113::" providerId="AD" clId="Web-{6A609E6D-3116-3E16-F414-426718992CAD}" dt="2022-03-21T23:34:31.895" v="160" actId="1076"/>
          <ac:spMkLst>
            <pc:docMk/>
            <pc:sldMk cId="0" sldId="262"/>
            <ac:spMk id="441" creationId="{00000000-0000-0000-0000-000000000000}"/>
          </ac:spMkLst>
        </pc:spChg>
        <pc:spChg chg="mod">
          <ac:chgData name="Guest User" userId="S::urn:spo:anon#bc72e6c931b442e1b83d9d7baffb28dcb7bee849e2d9a5e2bb7cc25170a1c113::" providerId="AD" clId="Web-{6A609E6D-3116-3E16-F414-426718992CAD}" dt="2022-03-21T23:32:42.983" v="125" actId="1076"/>
          <ac:spMkLst>
            <pc:docMk/>
            <pc:sldMk cId="0" sldId="262"/>
            <ac:spMk id="444" creationId="{00000000-0000-0000-0000-000000000000}"/>
          </ac:spMkLst>
        </pc:spChg>
        <pc:spChg chg="mod">
          <ac:chgData name="Guest User" userId="S::urn:spo:anon#bc72e6c931b442e1b83d9d7baffb28dcb7bee849e2d9a5e2bb7cc25170a1c113::" providerId="AD" clId="Web-{6A609E6D-3116-3E16-F414-426718992CAD}" dt="2022-03-21T23:32:40.014" v="124" actId="1076"/>
          <ac:spMkLst>
            <pc:docMk/>
            <pc:sldMk cId="0" sldId="262"/>
            <ac:spMk id="445" creationId="{00000000-0000-0000-0000-000000000000}"/>
          </ac:spMkLst>
        </pc:spChg>
        <pc:spChg chg="mod">
          <ac:chgData name="Guest User" userId="S::urn:spo:anon#bc72e6c931b442e1b83d9d7baffb28dcb7bee849e2d9a5e2bb7cc25170a1c113::" providerId="AD" clId="Web-{6A609E6D-3116-3E16-F414-426718992CAD}" dt="2022-03-21T23:33:58.081" v="149" actId="1076"/>
          <ac:spMkLst>
            <pc:docMk/>
            <pc:sldMk cId="0" sldId="262"/>
            <ac:spMk id="446" creationId="{00000000-0000-0000-0000-000000000000}"/>
          </ac:spMkLst>
        </pc:spChg>
        <pc:spChg chg="mod">
          <ac:chgData name="Guest User" userId="S::urn:spo:anon#bc72e6c931b442e1b83d9d7baffb28dcb7bee849e2d9a5e2bb7cc25170a1c113::" providerId="AD" clId="Web-{6A609E6D-3116-3E16-F414-426718992CAD}" dt="2022-03-21T23:33:39.845" v="142" actId="1076"/>
          <ac:spMkLst>
            <pc:docMk/>
            <pc:sldMk cId="0" sldId="262"/>
            <ac:spMk id="447" creationId="{00000000-0000-0000-0000-000000000000}"/>
          </ac:spMkLst>
        </pc:spChg>
        <pc:spChg chg="mod">
          <ac:chgData name="Guest User" userId="S::urn:spo:anon#bc72e6c931b442e1b83d9d7baffb28dcb7bee849e2d9a5e2bb7cc25170a1c113::" providerId="AD" clId="Web-{6A609E6D-3116-3E16-F414-426718992CAD}" dt="2022-03-21T23:33:01.578" v="128" actId="1076"/>
          <ac:spMkLst>
            <pc:docMk/>
            <pc:sldMk cId="0" sldId="262"/>
            <ac:spMk id="453" creationId="{00000000-0000-0000-0000-000000000000}"/>
          </ac:spMkLst>
        </pc:spChg>
        <pc:spChg chg="mod">
          <ac:chgData name="Guest User" userId="S::urn:spo:anon#bc72e6c931b442e1b83d9d7baffb28dcb7bee849e2d9a5e2bb7cc25170a1c113::" providerId="AD" clId="Web-{6A609E6D-3116-3E16-F414-426718992CAD}" dt="2022-03-21T23:35:40.477" v="171" actId="1076"/>
          <ac:spMkLst>
            <pc:docMk/>
            <pc:sldMk cId="0" sldId="262"/>
            <ac:spMk id="454" creationId="{00000000-0000-0000-0000-000000000000}"/>
          </ac:spMkLst>
        </pc:spChg>
        <pc:spChg chg="mod">
          <ac:chgData name="Guest User" userId="S::urn:spo:anon#bc72e6c931b442e1b83d9d7baffb28dcb7bee849e2d9a5e2bb7cc25170a1c113::" providerId="AD" clId="Web-{6A609E6D-3116-3E16-F414-426718992CAD}" dt="2022-03-21T23:35:38.227" v="170" actId="1076"/>
          <ac:spMkLst>
            <pc:docMk/>
            <pc:sldMk cId="0" sldId="262"/>
            <ac:spMk id="455" creationId="{00000000-0000-0000-0000-000000000000}"/>
          </ac:spMkLst>
        </pc:spChg>
        <pc:grpChg chg="mod">
          <ac:chgData name="Guest User" userId="S::urn:spo:anon#bc72e6c931b442e1b83d9d7baffb28dcb7bee849e2d9a5e2bb7cc25170a1c113::" providerId="AD" clId="Web-{6A609E6D-3116-3E16-F414-426718992CAD}" dt="2022-03-21T23:32:20.169" v="122" actId="1076"/>
          <ac:grpSpMkLst>
            <pc:docMk/>
            <pc:sldMk cId="0" sldId="262"/>
            <ac:grpSpMk id="448" creationId="{00000000-0000-0000-0000-000000000000}"/>
          </ac:grpSpMkLst>
        </pc:grpChg>
      </pc:sldChg>
      <pc:sldChg chg="modSp">
        <pc:chgData name="Guest User" userId="S::urn:spo:anon#bc72e6c931b442e1b83d9d7baffb28dcb7bee849e2d9a5e2bb7cc25170a1c113::" providerId="AD" clId="Web-{6A609E6D-3116-3E16-F414-426718992CAD}" dt="2022-03-21T23:36:56.872" v="176" actId="1076"/>
        <pc:sldMkLst>
          <pc:docMk/>
          <pc:sldMk cId="0" sldId="269"/>
        </pc:sldMkLst>
        <pc:spChg chg="mod">
          <ac:chgData name="Guest User" userId="S::urn:spo:anon#bc72e6c931b442e1b83d9d7baffb28dcb7bee849e2d9a5e2bb7cc25170a1c113::" providerId="AD" clId="Web-{6A609E6D-3116-3E16-F414-426718992CAD}" dt="2022-03-21T23:36:56.872" v="176" actId="1076"/>
          <ac:spMkLst>
            <pc:docMk/>
            <pc:sldMk cId="0" sldId="269"/>
            <ac:spMk id="16" creationId="{F29BBF2D-5F15-45EC-BE2A-14ABF1E18DB5}"/>
          </ac:spMkLst>
        </pc:spChg>
      </pc:sldChg>
      <pc:sldChg chg="modSp">
        <pc:chgData name="Guest User" userId="S::urn:spo:anon#bc72e6c931b442e1b83d9d7baffb28dcb7bee849e2d9a5e2bb7cc25170a1c113::" providerId="AD" clId="Web-{6A609E6D-3116-3E16-F414-426718992CAD}" dt="2022-03-21T23:40:35.274" v="207"/>
        <pc:sldMkLst>
          <pc:docMk/>
          <pc:sldMk cId="1295029711" sldId="333"/>
        </pc:sldMkLst>
        <pc:graphicFrameChg chg="modGraphic">
          <ac:chgData name="Guest User" userId="S::urn:spo:anon#bc72e6c931b442e1b83d9d7baffb28dcb7bee849e2d9a5e2bb7cc25170a1c113::" providerId="AD" clId="Web-{6A609E6D-3116-3E16-F414-426718992CAD}" dt="2022-03-21T23:40:35.274" v="207"/>
          <ac:graphicFrameMkLst>
            <pc:docMk/>
            <pc:sldMk cId="1295029711" sldId="333"/>
            <ac:graphicFrameMk id="694" creationId="{00000000-0000-0000-0000-000000000000}"/>
          </ac:graphicFrameMkLst>
        </pc:graphicFrameChg>
      </pc:sldChg>
      <pc:sldChg chg="modSp">
        <pc:chgData name="Guest User" userId="S::urn:spo:anon#bc72e6c931b442e1b83d9d7baffb28dcb7bee849e2d9a5e2bb7cc25170a1c113::" providerId="AD" clId="Web-{6A609E6D-3116-3E16-F414-426718992CAD}" dt="2022-03-21T23:40:27.227" v="206"/>
        <pc:sldMkLst>
          <pc:docMk/>
          <pc:sldMk cId="130301299" sldId="334"/>
        </pc:sldMkLst>
        <pc:graphicFrameChg chg="modGraphic">
          <ac:chgData name="Guest User" userId="S::urn:spo:anon#bc72e6c931b442e1b83d9d7baffb28dcb7bee849e2d9a5e2bb7cc25170a1c113::" providerId="AD" clId="Web-{6A609E6D-3116-3E16-F414-426718992CAD}" dt="2022-03-21T23:40:27.227" v="206"/>
          <ac:graphicFrameMkLst>
            <pc:docMk/>
            <pc:sldMk cId="130301299" sldId="334"/>
            <ac:graphicFrameMk id="694" creationId="{00000000-0000-0000-0000-000000000000}"/>
          </ac:graphicFrameMkLst>
        </pc:graphicFrameChg>
      </pc:sldChg>
      <pc:sldChg chg="modSp">
        <pc:chgData name="Guest User" userId="S::urn:spo:anon#bc72e6c931b442e1b83d9d7baffb28dcb7bee849e2d9a5e2bb7cc25170a1c113::" providerId="AD" clId="Web-{6A609E6D-3116-3E16-F414-426718992CAD}" dt="2022-03-21T23:36:40.246" v="175" actId="1076"/>
        <pc:sldMkLst>
          <pc:docMk/>
          <pc:sldMk cId="1209993513" sldId="338"/>
        </pc:sldMkLst>
        <pc:spChg chg="mod">
          <ac:chgData name="Guest User" userId="S::urn:spo:anon#bc72e6c931b442e1b83d9d7baffb28dcb7bee849e2d9a5e2bb7cc25170a1c113::" providerId="AD" clId="Web-{6A609E6D-3116-3E16-F414-426718992CAD}" dt="2022-03-21T23:36:26.354" v="173" actId="14100"/>
          <ac:spMkLst>
            <pc:docMk/>
            <pc:sldMk cId="1209993513" sldId="338"/>
            <ac:spMk id="10" creationId="{389A6555-68BD-49FE-A450-63908B6BC5AF}"/>
          </ac:spMkLst>
        </pc:spChg>
        <pc:spChg chg="mod">
          <ac:chgData name="Guest User" userId="S::urn:spo:anon#bc72e6c931b442e1b83d9d7baffb28dcb7bee849e2d9a5e2bb7cc25170a1c113::" providerId="AD" clId="Web-{6A609E6D-3116-3E16-F414-426718992CAD}" dt="2022-03-21T23:36:40.246" v="175" actId="1076"/>
          <ac:spMkLst>
            <pc:docMk/>
            <pc:sldMk cId="1209993513" sldId="338"/>
            <ac:spMk id="16" creationId="{F29BBF2D-5F15-45EC-BE2A-14ABF1E18DB5}"/>
          </ac:spMkLst>
        </pc:spChg>
        <pc:spChg chg="mod">
          <ac:chgData name="Guest User" userId="S::urn:spo:anon#bc72e6c931b442e1b83d9d7baffb28dcb7bee849e2d9a5e2bb7cc25170a1c113::" providerId="AD" clId="Web-{6A609E6D-3116-3E16-F414-426718992CAD}" dt="2022-03-21T23:36:40.230" v="174" actId="1076"/>
          <ac:spMkLst>
            <pc:docMk/>
            <pc:sldMk cId="1209993513" sldId="338"/>
            <ac:spMk id="605" creationId="{00000000-0000-0000-0000-000000000000}"/>
          </ac:spMkLst>
        </pc:spChg>
      </pc:sldChg>
      <pc:sldChg chg="modSp">
        <pc:chgData name="Guest User" userId="S::urn:spo:anon#bc72e6c931b442e1b83d9d7baffb28dcb7bee849e2d9a5e2bb7cc25170a1c113::" providerId="AD" clId="Web-{6A609E6D-3116-3E16-F414-426718992CAD}" dt="2022-03-21T23:37:08.107" v="178" actId="1076"/>
        <pc:sldMkLst>
          <pc:docMk/>
          <pc:sldMk cId="1639760722" sldId="344"/>
        </pc:sldMkLst>
        <pc:spChg chg="mod">
          <ac:chgData name="Guest User" userId="S::urn:spo:anon#bc72e6c931b442e1b83d9d7baffb28dcb7bee849e2d9a5e2bb7cc25170a1c113::" providerId="AD" clId="Web-{6A609E6D-3116-3E16-F414-426718992CAD}" dt="2022-03-21T23:37:08.107" v="178" actId="1076"/>
          <ac:spMkLst>
            <pc:docMk/>
            <pc:sldMk cId="1639760722" sldId="344"/>
            <ac:spMk id="16" creationId="{F29BBF2D-5F15-45EC-BE2A-14ABF1E18DB5}"/>
          </ac:spMkLst>
        </pc:spChg>
      </pc:sldChg>
      <pc:sldChg chg="modSp">
        <pc:chgData name="Guest User" userId="S::urn:spo:anon#bc72e6c931b442e1b83d9d7baffb28dcb7bee849e2d9a5e2bb7cc25170a1c113::" providerId="AD" clId="Web-{6A609E6D-3116-3E16-F414-426718992CAD}" dt="2022-03-21T23:38:46.190" v="196"/>
        <pc:sldMkLst>
          <pc:docMk/>
          <pc:sldMk cId="2963563579" sldId="348"/>
        </pc:sldMkLst>
        <pc:picChg chg="mod">
          <ac:chgData name="Guest User" userId="S::urn:spo:anon#bc72e6c931b442e1b83d9d7baffb28dcb7bee849e2d9a5e2bb7cc25170a1c113::" providerId="AD" clId="Web-{6A609E6D-3116-3E16-F414-426718992CAD}" dt="2022-03-21T23:38:46.127" v="195"/>
          <ac:picMkLst>
            <pc:docMk/>
            <pc:sldMk cId="2963563579" sldId="348"/>
            <ac:picMk id="5" creationId="{0EC0F891-55BF-4D55-8E8B-B53DA8C4E767}"/>
          </ac:picMkLst>
        </pc:picChg>
        <pc:picChg chg="mod">
          <ac:chgData name="Guest User" userId="S::urn:spo:anon#bc72e6c931b442e1b83d9d7baffb28dcb7bee849e2d9a5e2bb7cc25170a1c113::" providerId="AD" clId="Web-{6A609E6D-3116-3E16-F414-426718992CAD}" dt="2022-03-21T23:38:46.190" v="196"/>
          <ac:picMkLst>
            <pc:docMk/>
            <pc:sldMk cId="2963563579" sldId="348"/>
            <ac:picMk id="6" creationId="{EDE8B35B-47B6-4765-BFAE-21B063BC34CB}"/>
          </ac:picMkLst>
        </pc:picChg>
      </pc:sldChg>
      <pc:sldChg chg="modSp">
        <pc:chgData name="Guest User" userId="S::urn:spo:anon#bc72e6c931b442e1b83d9d7baffb28dcb7bee849e2d9a5e2bb7cc25170a1c113::" providerId="AD" clId="Web-{6A609E6D-3116-3E16-F414-426718992CAD}" dt="2022-03-21T23:37:49.843" v="187" actId="1076"/>
        <pc:sldMkLst>
          <pc:docMk/>
          <pc:sldMk cId="4017139295" sldId="356"/>
        </pc:sldMkLst>
        <pc:spChg chg="mod">
          <ac:chgData name="Guest User" userId="S::urn:spo:anon#bc72e6c931b442e1b83d9d7baffb28dcb7bee849e2d9a5e2bb7cc25170a1c113::" providerId="AD" clId="Web-{6A609E6D-3116-3E16-F414-426718992CAD}" dt="2022-03-21T23:37:49.843" v="187" actId="1076"/>
          <ac:spMkLst>
            <pc:docMk/>
            <pc:sldMk cId="4017139295" sldId="356"/>
            <ac:spMk id="16" creationId="{F29BBF2D-5F15-45EC-BE2A-14ABF1E18DB5}"/>
          </ac:spMkLst>
        </pc:spChg>
      </pc:sldChg>
      <pc:sldChg chg="modSp">
        <pc:chgData name="Guest User" userId="S::urn:spo:anon#bc72e6c931b442e1b83d9d7baffb28dcb7bee849e2d9a5e2bb7cc25170a1c113::" providerId="AD" clId="Web-{6A609E6D-3116-3E16-F414-426718992CAD}" dt="2022-03-21T23:38:22.282" v="192" actId="1076"/>
        <pc:sldMkLst>
          <pc:docMk/>
          <pc:sldMk cId="73800528" sldId="357"/>
        </pc:sldMkLst>
        <pc:spChg chg="mod">
          <ac:chgData name="Guest User" userId="S::urn:spo:anon#bc72e6c931b442e1b83d9d7baffb28dcb7bee849e2d9a5e2bb7cc25170a1c113::" providerId="AD" clId="Web-{6A609E6D-3116-3E16-F414-426718992CAD}" dt="2022-03-21T23:38:22.282" v="192" actId="1076"/>
          <ac:spMkLst>
            <pc:docMk/>
            <pc:sldMk cId="73800528" sldId="357"/>
            <ac:spMk id="16" creationId="{F29BBF2D-5F15-45EC-BE2A-14ABF1E18DB5}"/>
          </ac:spMkLst>
        </pc:spChg>
      </pc:sldChg>
      <pc:sldChg chg="modSp">
        <pc:chgData name="Guest User" userId="S::urn:spo:anon#bc72e6c931b442e1b83d9d7baffb28dcb7bee849e2d9a5e2bb7cc25170a1c113::" providerId="AD" clId="Web-{6A609E6D-3116-3E16-F414-426718992CAD}" dt="2022-03-21T23:39:02.410" v="200"/>
        <pc:sldMkLst>
          <pc:docMk/>
          <pc:sldMk cId="2689461321" sldId="358"/>
        </pc:sldMkLst>
        <pc:picChg chg="mod">
          <ac:chgData name="Guest User" userId="S::urn:spo:anon#bc72e6c931b442e1b83d9d7baffb28dcb7bee849e2d9a5e2bb7cc25170a1c113::" providerId="AD" clId="Web-{6A609E6D-3116-3E16-F414-426718992CAD}" dt="2022-03-21T23:39:02.253" v="199"/>
          <ac:picMkLst>
            <pc:docMk/>
            <pc:sldMk cId="2689461321" sldId="358"/>
            <ac:picMk id="5" creationId="{0EC0F891-55BF-4D55-8E8B-B53DA8C4E767}"/>
          </ac:picMkLst>
        </pc:picChg>
        <pc:picChg chg="mod">
          <ac:chgData name="Guest User" userId="S::urn:spo:anon#bc72e6c931b442e1b83d9d7baffb28dcb7bee849e2d9a5e2bb7cc25170a1c113::" providerId="AD" clId="Web-{6A609E6D-3116-3E16-F414-426718992CAD}" dt="2022-03-21T23:39:02.410" v="200"/>
          <ac:picMkLst>
            <pc:docMk/>
            <pc:sldMk cId="2689461321" sldId="358"/>
            <ac:picMk id="6" creationId="{EDE8B35B-47B6-4765-BFAE-21B063BC34CB}"/>
          </ac:picMkLst>
        </pc:picChg>
      </pc:sldChg>
      <pc:sldChg chg="modSp">
        <pc:chgData name="Guest User" userId="S::urn:spo:anon#bc72e6c931b442e1b83d9d7baffb28dcb7bee849e2d9a5e2bb7cc25170a1c113::" providerId="AD" clId="Web-{6A609E6D-3116-3E16-F414-426718992CAD}" dt="2022-03-21T23:39:23.239" v="204"/>
        <pc:sldMkLst>
          <pc:docMk/>
          <pc:sldMk cId="3173610986" sldId="359"/>
        </pc:sldMkLst>
        <pc:picChg chg="mod">
          <ac:chgData name="Guest User" userId="S::urn:spo:anon#bc72e6c931b442e1b83d9d7baffb28dcb7bee849e2d9a5e2bb7cc25170a1c113::" providerId="AD" clId="Web-{6A609E6D-3116-3E16-F414-426718992CAD}" dt="2022-03-21T23:39:23.176" v="203"/>
          <ac:picMkLst>
            <pc:docMk/>
            <pc:sldMk cId="3173610986" sldId="359"/>
            <ac:picMk id="5" creationId="{0EC0F891-55BF-4D55-8E8B-B53DA8C4E767}"/>
          </ac:picMkLst>
        </pc:picChg>
        <pc:picChg chg="mod">
          <ac:chgData name="Guest User" userId="S::urn:spo:anon#bc72e6c931b442e1b83d9d7baffb28dcb7bee849e2d9a5e2bb7cc25170a1c113::" providerId="AD" clId="Web-{6A609E6D-3116-3E16-F414-426718992CAD}" dt="2022-03-21T23:39:23.239" v="204"/>
          <ac:picMkLst>
            <pc:docMk/>
            <pc:sldMk cId="3173610986" sldId="359"/>
            <ac:picMk id="6" creationId="{EDE8B35B-47B6-4765-BFAE-21B063BC34CB}"/>
          </ac:picMkLst>
        </pc:picChg>
      </pc:sldChg>
    </pc:docChg>
  </pc:docChgLst>
  <pc:docChgLst>
    <pc:chgData name="Guest User" userId="S::urn:spo:anon#c437c167f923f422528aee73b5e70e5726914197d2dec7f210a84ae49e8498a7::" providerId="AD" clId="Web-{7DE86EE7-F10F-40AE-DB63-712D965BE480}"/>
    <pc:docChg chg="modSld">
      <pc:chgData name="Guest User" userId="S::urn:spo:anon#c437c167f923f422528aee73b5e70e5726914197d2dec7f210a84ae49e8498a7::" providerId="AD" clId="Web-{7DE86EE7-F10F-40AE-DB63-712D965BE480}" dt="2022-04-04T01:36:32.173" v="546" actId="20577"/>
      <pc:docMkLst>
        <pc:docMk/>
      </pc:docMkLst>
      <pc:sldChg chg="modSp">
        <pc:chgData name="Guest User" userId="S::urn:spo:anon#c437c167f923f422528aee73b5e70e5726914197d2dec7f210a84ae49e8498a7::" providerId="AD" clId="Web-{7DE86EE7-F10F-40AE-DB63-712D965BE480}" dt="2022-04-03T23:20:17.813" v="6" actId="20577"/>
        <pc:sldMkLst>
          <pc:docMk/>
          <pc:sldMk cId="0" sldId="259"/>
        </pc:sldMkLst>
        <pc:spChg chg="mod">
          <ac:chgData name="Guest User" userId="S::urn:spo:anon#c437c167f923f422528aee73b5e70e5726914197d2dec7f210a84ae49e8498a7::" providerId="AD" clId="Web-{7DE86EE7-F10F-40AE-DB63-712D965BE480}" dt="2022-04-03T23:20:17.813" v="6" actId="20577"/>
          <ac:spMkLst>
            <pc:docMk/>
            <pc:sldMk cId="0" sldId="259"/>
            <ac:spMk id="2" creationId="{332FAA88-0C1A-23EC-244B-BB586AB16ADA}"/>
          </ac:spMkLst>
        </pc:spChg>
        <pc:spChg chg="mod">
          <ac:chgData name="Guest User" userId="S::urn:spo:anon#c437c167f923f422528aee73b5e70e5726914197d2dec7f210a84ae49e8498a7::" providerId="AD" clId="Web-{7DE86EE7-F10F-40AE-DB63-712D965BE480}" dt="2022-04-03T23:19:20.139" v="0" actId="14100"/>
          <ac:spMkLst>
            <pc:docMk/>
            <pc:sldMk cId="0" sldId="259"/>
            <ac:spMk id="312" creationId="{00000000-0000-0000-0000-000000000000}"/>
          </ac:spMkLst>
        </pc:spChg>
      </pc:sldChg>
      <pc:sldChg chg="modSp">
        <pc:chgData name="Guest User" userId="S::urn:spo:anon#c437c167f923f422528aee73b5e70e5726914197d2dec7f210a84ae49e8498a7::" providerId="AD" clId="Web-{7DE86EE7-F10F-40AE-DB63-712D965BE480}" dt="2022-04-03T23:32:10.238" v="74" actId="20577"/>
        <pc:sldMkLst>
          <pc:docMk/>
          <pc:sldMk cId="0" sldId="264"/>
        </pc:sldMkLst>
        <pc:spChg chg="mod">
          <ac:chgData name="Guest User" userId="S::urn:spo:anon#c437c167f923f422528aee73b5e70e5726914197d2dec7f210a84ae49e8498a7::" providerId="AD" clId="Web-{7DE86EE7-F10F-40AE-DB63-712D965BE480}" dt="2022-04-03T23:32:10.238" v="74" actId="20577"/>
          <ac:spMkLst>
            <pc:docMk/>
            <pc:sldMk cId="0" sldId="264"/>
            <ac:spMk id="4" creationId="{2A7D3A66-4741-5C35-EDF0-07C9E0489A88}"/>
          </ac:spMkLst>
        </pc:spChg>
        <pc:spChg chg="mod">
          <ac:chgData name="Guest User" userId="S::urn:spo:anon#c437c167f923f422528aee73b5e70e5726914197d2dec7f210a84ae49e8498a7::" providerId="AD" clId="Web-{7DE86EE7-F10F-40AE-DB63-712D965BE480}" dt="2022-04-03T23:32:00.363" v="72" actId="20577"/>
          <ac:spMkLst>
            <pc:docMk/>
            <pc:sldMk cId="0" sldId="264"/>
            <ac:spMk id="26" creationId="{63D5B65A-793E-4E79-B52C-834340BABD85}"/>
          </ac:spMkLst>
        </pc:spChg>
        <pc:spChg chg="mod">
          <ac:chgData name="Guest User" userId="S::urn:spo:anon#c437c167f923f422528aee73b5e70e5726914197d2dec7f210a84ae49e8498a7::" providerId="AD" clId="Web-{7DE86EE7-F10F-40AE-DB63-712D965BE480}" dt="2022-04-03T23:31:28.066" v="54" actId="20577"/>
          <ac:spMkLst>
            <pc:docMk/>
            <pc:sldMk cId="0" sldId="264"/>
            <ac:spMk id="30" creationId="{100AEE39-1F64-4466-ACEE-5B01ED088536}"/>
          </ac:spMkLst>
        </pc:spChg>
      </pc:sldChg>
      <pc:sldChg chg="addSp modSp">
        <pc:chgData name="Guest User" userId="S::urn:spo:anon#c437c167f923f422528aee73b5e70e5726914197d2dec7f210a84ae49e8498a7::" providerId="AD" clId="Web-{7DE86EE7-F10F-40AE-DB63-712D965BE480}" dt="2022-04-03T23:27:18.275" v="21" actId="14100"/>
        <pc:sldMkLst>
          <pc:docMk/>
          <pc:sldMk cId="2486721525" sldId="341"/>
        </pc:sldMkLst>
        <pc:spChg chg="add mod">
          <ac:chgData name="Guest User" userId="S::urn:spo:anon#c437c167f923f422528aee73b5e70e5726914197d2dec7f210a84ae49e8498a7::" providerId="AD" clId="Web-{7DE86EE7-F10F-40AE-DB63-712D965BE480}" dt="2022-04-03T23:27:18.275" v="21" actId="14100"/>
          <ac:spMkLst>
            <pc:docMk/>
            <pc:sldMk cId="2486721525" sldId="341"/>
            <ac:spMk id="101" creationId="{C490854A-3705-D3C2-CB0B-CA528B8E7892}"/>
          </ac:spMkLst>
        </pc:spChg>
        <pc:spChg chg="mod">
          <ac:chgData name="Guest User" userId="S::urn:spo:anon#c437c167f923f422528aee73b5e70e5726914197d2dec7f210a84ae49e8498a7::" providerId="AD" clId="Web-{7DE86EE7-F10F-40AE-DB63-712D965BE480}" dt="2022-04-03T23:25:11.444" v="8" actId="1076"/>
          <ac:spMkLst>
            <pc:docMk/>
            <pc:sldMk cId="2486721525" sldId="341"/>
            <ac:spMk id="116" creationId="{473E579E-3692-41BD-8D3D-A49F032BB7D1}"/>
          </ac:spMkLst>
        </pc:spChg>
      </pc:sldChg>
      <pc:sldChg chg="modSp">
        <pc:chgData name="Guest User" userId="S::urn:spo:anon#c437c167f923f422528aee73b5e70e5726914197d2dec7f210a84ae49e8498a7::" providerId="AD" clId="Web-{7DE86EE7-F10F-40AE-DB63-712D965BE480}" dt="2022-04-03T23:33:53.444" v="75" actId="1076"/>
        <pc:sldMkLst>
          <pc:docMk/>
          <pc:sldMk cId="4114424017" sldId="342"/>
        </pc:sldMkLst>
        <pc:spChg chg="mod">
          <ac:chgData name="Guest User" userId="S::urn:spo:anon#c437c167f923f422528aee73b5e70e5726914197d2dec7f210a84ae49e8498a7::" providerId="AD" clId="Web-{7DE86EE7-F10F-40AE-DB63-712D965BE480}" dt="2022-04-03T23:33:53.444" v="75" actId="1076"/>
          <ac:spMkLst>
            <pc:docMk/>
            <pc:sldMk cId="4114424017" sldId="342"/>
            <ac:spMk id="11" creationId="{32873532-4DAB-46C2-9B1C-F38B26BCDC39}"/>
          </ac:spMkLst>
        </pc:spChg>
      </pc:sldChg>
      <pc:sldChg chg="delSp modSp">
        <pc:chgData name="Guest User" userId="S::urn:spo:anon#c437c167f923f422528aee73b5e70e5726914197d2dec7f210a84ae49e8498a7::" providerId="AD" clId="Web-{7DE86EE7-F10F-40AE-DB63-712D965BE480}" dt="2022-04-04T00:50:05.052" v="477"/>
        <pc:sldMkLst>
          <pc:docMk/>
          <pc:sldMk cId="2576879601" sldId="365"/>
        </pc:sldMkLst>
        <pc:spChg chg="mod">
          <ac:chgData name="Guest User" userId="S::urn:spo:anon#c437c167f923f422528aee73b5e70e5726914197d2dec7f210a84ae49e8498a7::" providerId="AD" clId="Web-{7DE86EE7-F10F-40AE-DB63-712D965BE480}" dt="2022-04-04T00:49:43.989" v="476" actId="20577"/>
          <ac:spMkLst>
            <pc:docMk/>
            <pc:sldMk cId="2576879601" sldId="365"/>
            <ac:spMk id="3" creationId="{346B9D98-5C00-250F-2E85-76FD3A920D22}"/>
          </ac:spMkLst>
        </pc:spChg>
        <pc:spChg chg="mod">
          <ac:chgData name="Guest User" userId="S::urn:spo:anon#c437c167f923f422528aee73b5e70e5726914197d2dec7f210a84ae49e8498a7::" providerId="AD" clId="Web-{7DE86EE7-F10F-40AE-DB63-712D965BE480}" dt="2022-04-04T00:50:05.052" v="477"/>
          <ac:spMkLst>
            <pc:docMk/>
            <pc:sldMk cId="2576879601" sldId="365"/>
            <ac:spMk id="5" creationId="{B7651FB1-3FE6-E20B-3600-01AAC0F88061}"/>
          </ac:spMkLst>
        </pc:spChg>
        <pc:spChg chg="mod">
          <ac:chgData name="Guest User" userId="S::urn:spo:anon#c437c167f923f422528aee73b5e70e5726914197d2dec7f210a84ae49e8498a7::" providerId="AD" clId="Web-{7DE86EE7-F10F-40AE-DB63-712D965BE480}" dt="2022-04-04T00:45:27.977" v="473" actId="20577"/>
          <ac:spMkLst>
            <pc:docMk/>
            <pc:sldMk cId="2576879601" sldId="365"/>
            <ac:spMk id="6" creationId="{74F8F5B6-6C79-278D-D3C6-E2F59AC9C58B}"/>
          </ac:spMkLst>
        </pc:spChg>
        <pc:spChg chg="del">
          <ac:chgData name="Guest User" userId="S::urn:spo:anon#c437c167f923f422528aee73b5e70e5726914197d2dec7f210a84ae49e8498a7::" providerId="AD" clId="Web-{7DE86EE7-F10F-40AE-DB63-712D965BE480}" dt="2022-04-04T00:45:20.305" v="471"/>
          <ac:spMkLst>
            <pc:docMk/>
            <pc:sldMk cId="2576879601" sldId="365"/>
            <ac:spMk id="8" creationId="{BAE03099-60F2-2556-8330-F7C06AE829D3}"/>
          </ac:spMkLst>
        </pc:spChg>
      </pc:sldChg>
      <pc:sldChg chg="addSp delSp modSp">
        <pc:chgData name="Guest User" userId="S::urn:spo:anon#c437c167f923f422528aee73b5e70e5726914197d2dec7f210a84ae49e8498a7::" providerId="AD" clId="Web-{7DE86EE7-F10F-40AE-DB63-712D965BE480}" dt="2022-04-04T00:39:46.281" v="467" actId="20577"/>
        <pc:sldMkLst>
          <pc:docMk/>
          <pc:sldMk cId="1695560817" sldId="366"/>
        </pc:sldMkLst>
        <pc:spChg chg="mod">
          <ac:chgData name="Guest User" userId="S::urn:spo:anon#c437c167f923f422528aee73b5e70e5726914197d2dec7f210a84ae49e8498a7::" providerId="AD" clId="Web-{7DE86EE7-F10F-40AE-DB63-712D965BE480}" dt="2022-04-04T00:39:46.281" v="467" actId="20577"/>
          <ac:spMkLst>
            <pc:docMk/>
            <pc:sldMk cId="1695560817" sldId="366"/>
            <ac:spMk id="3" creationId="{F1048966-CD25-3754-6E9D-DB4371B1B8BB}"/>
          </ac:spMkLst>
        </pc:spChg>
        <pc:spChg chg="add del mod">
          <ac:chgData name="Guest User" userId="S::urn:spo:anon#c437c167f923f422528aee73b5e70e5726914197d2dec7f210a84ae49e8498a7::" providerId="AD" clId="Web-{7DE86EE7-F10F-40AE-DB63-712D965BE480}" dt="2022-04-04T00:29:57.140" v="368"/>
          <ac:spMkLst>
            <pc:docMk/>
            <pc:sldMk cId="1695560817" sldId="366"/>
            <ac:spMk id="4" creationId="{F3B9DF74-A248-A562-3ECA-9E42FBCDE99D}"/>
          </ac:spMkLst>
        </pc:spChg>
        <pc:spChg chg="add mod">
          <ac:chgData name="Guest User" userId="S::urn:spo:anon#c437c167f923f422528aee73b5e70e5726914197d2dec7f210a84ae49e8498a7::" providerId="AD" clId="Web-{7DE86EE7-F10F-40AE-DB63-712D965BE480}" dt="2022-04-04T00:33:50.021" v="406" actId="1076"/>
          <ac:spMkLst>
            <pc:docMk/>
            <pc:sldMk cId="1695560817" sldId="366"/>
            <ac:spMk id="5" creationId="{0A512D6F-DF46-9968-F0BB-A3D859B3FC70}"/>
          </ac:spMkLst>
        </pc:spChg>
        <pc:spChg chg="add mod">
          <ac:chgData name="Guest User" userId="S::urn:spo:anon#c437c167f923f422528aee73b5e70e5726914197d2dec7f210a84ae49e8498a7::" providerId="AD" clId="Web-{7DE86EE7-F10F-40AE-DB63-712D965BE480}" dt="2022-04-04T00:33:50.006" v="405" actId="1076"/>
          <ac:spMkLst>
            <pc:docMk/>
            <pc:sldMk cId="1695560817" sldId="366"/>
            <ac:spMk id="7" creationId="{13934D1C-6E4A-EDA6-05C5-4249C9B8C8B5}"/>
          </ac:spMkLst>
        </pc:spChg>
        <pc:spChg chg="mod">
          <ac:chgData name="Guest User" userId="S::urn:spo:anon#c437c167f923f422528aee73b5e70e5726914197d2dec7f210a84ae49e8498a7::" providerId="AD" clId="Web-{7DE86EE7-F10F-40AE-DB63-712D965BE480}" dt="2022-04-04T00:19:30.076" v="318" actId="1076"/>
          <ac:spMkLst>
            <pc:docMk/>
            <pc:sldMk cId="1695560817" sldId="366"/>
            <ac:spMk id="36" creationId="{B54A5F69-1C30-7571-6B17-59787A961DAF}"/>
          </ac:spMkLst>
        </pc:spChg>
        <pc:spChg chg="add mod">
          <ac:chgData name="Guest User" userId="S::urn:spo:anon#c437c167f923f422528aee73b5e70e5726914197d2dec7f210a84ae49e8498a7::" providerId="AD" clId="Web-{7DE86EE7-F10F-40AE-DB63-712D965BE480}" dt="2022-04-04T00:18:23.731" v="296" actId="14100"/>
          <ac:spMkLst>
            <pc:docMk/>
            <pc:sldMk cId="1695560817" sldId="366"/>
            <ac:spMk id="40" creationId="{611EBE9E-2A7C-8DB0-CAE5-712C95EA2AD3}"/>
          </ac:spMkLst>
        </pc:spChg>
        <pc:spChg chg="add mod">
          <ac:chgData name="Guest User" userId="S::urn:spo:anon#c437c167f923f422528aee73b5e70e5726914197d2dec7f210a84ae49e8498a7::" providerId="AD" clId="Web-{7DE86EE7-F10F-40AE-DB63-712D965BE480}" dt="2022-04-04T00:18:17.543" v="295" actId="14100"/>
          <ac:spMkLst>
            <pc:docMk/>
            <pc:sldMk cId="1695560817" sldId="366"/>
            <ac:spMk id="41" creationId="{3B6580CA-499D-CC3F-919D-5AA5927A4604}"/>
          </ac:spMkLst>
        </pc:spChg>
        <pc:spChg chg="add mod">
          <ac:chgData name="Guest User" userId="S::urn:spo:anon#c437c167f923f422528aee73b5e70e5726914197d2dec7f210a84ae49e8498a7::" providerId="AD" clId="Web-{7DE86EE7-F10F-40AE-DB63-712D965BE480}" dt="2022-04-04T00:11:32.689" v="254" actId="20577"/>
          <ac:spMkLst>
            <pc:docMk/>
            <pc:sldMk cId="1695560817" sldId="366"/>
            <ac:spMk id="42" creationId="{1B08A347-B138-5843-98E6-3B81B9906B8E}"/>
          </ac:spMkLst>
        </pc:spChg>
        <pc:spChg chg="add mod">
          <ac:chgData name="Guest User" userId="S::urn:spo:anon#c437c167f923f422528aee73b5e70e5726914197d2dec7f210a84ae49e8498a7::" providerId="AD" clId="Web-{7DE86EE7-F10F-40AE-DB63-712D965BE480}" dt="2022-04-04T00:33:32.614" v="400" actId="1076"/>
          <ac:spMkLst>
            <pc:docMk/>
            <pc:sldMk cId="1695560817" sldId="366"/>
            <ac:spMk id="43" creationId="{FFB81ECA-772E-68F4-8228-B55348D36206}"/>
          </ac:spMkLst>
        </pc:spChg>
        <pc:spChg chg="add del mod">
          <ac:chgData name="Guest User" userId="S::urn:spo:anon#c437c167f923f422528aee73b5e70e5726914197d2dec7f210a84ae49e8498a7::" providerId="AD" clId="Web-{7DE86EE7-F10F-40AE-DB63-712D965BE480}" dt="2022-04-04T00:14:34.287" v="273"/>
          <ac:spMkLst>
            <pc:docMk/>
            <pc:sldMk cId="1695560817" sldId="366"/>
            <ac:spMk id="44" creationId="{639691B6-B92F-CCB1-2D0E-82FA7ED8B6A8}"/>
          </ac:spMkLst>
        </pc:spChg>
        <pc:spChg chg="add mod">
          <ac:chgData name="Guest User" userId="S::urn:spo:anon#c437c167f923f422528aee73b5e70e5726914197d2dec7f210a84ae49e8498a7::" providerId="AD" clId="Web-{7DE86EE7-F10F-40AE-DB63-712D965BE480}" dt="2022-04-04T00:15:02.038" v="279" actId="20577"/>
          <ac:spMkLst>
            <pc:docMk/>
            <pc:sldMk cId="1695560817" sldId="366"/>
            <ac:spMk id="45" creationId="{BB66F23D-66B3-02EE-5766-5C1F76D9CAFF}"/>
          </ac:spMkLst>
        </pc:spChg>
        <pc:spChg chg="mod">
          <ac:chgData name="Guest User" userId="S::urn:spo:anon#c437c167f923f422528aee73b5e70e5726914197d2dec7f210a84ae49e8498a7::" providerId="AD" clId="Web-{7DE86EE7-F10F-40AE-DB63-712D965BE480}" dt="2022-04-04T00:20:19.562" v="323" actId="1076"/>
          <ac:spMkLst>
            <pc:docMk/>
            <pc:sldMk cId="1695560817" sldId="366"/>
            <ac:spMk id="46" creationId="{1E1C1585-D404-40C5-7DD6-1A36C13365DD}"/>
          </ac:spMkLst>
        </pc:spChg>
        <pc:spChg chg="add mod">
          <ac:chgData name="Guest User" userId="S::urn:spo:anon#c437c167f923f422528aee73b5e70e5726914197d2dec7f210a84ae49e8498a7::" providerId="AD" clId="Web-{7DE86EE7-F10F-40AE-DB63-712D965BE480}" dt="2022-04-04T00:33:07.364" v="396" actId="1076"/>
          <ac:spMkLst>
            <pc:docMk/>
            <pc:sldMk cId="1695560817" sldId="366"/>
            <ac:spMk id="47" creationId="{635EA343-E326-C59A-DD60-9A2325E5F077}"/>
          </ac:spMkLst>
        </pc:spChg>
        <pc:spChg chg="add del mod">
          <ac:chgData name="Guest User" userId="S::urn:spo:anon#c437c167f923f422528aee73b5e70e5726914197d2dec7f210a84ae49e8498a7::" providerId="AD" clId="Web-{7DE86EE7-F10F-40AE-DB63-712D965BE480}" dt="2022-04-04T00:25:33.477" v="334"/>
          <ac:spMkLst>
            <pc:docMk/>
            <pc:sldMk cId="1695560817" sldId="366"/>
            <ac:spMk id="49" creationId="{4F7CD110-2E96-73F9-15EC-09D380024846}"/>
          </ac:spMkLst>
        </pc:spChg>
        <pc:spChg chg="add del">
          <ac:chgData name="Guest User" userId="S::urn:spo:anon#c437c167f923f422528aee73b5e70e5726914197d2dec7f210a84ae49e8498a7::" providerId="AD" clId="Web-{7DE86EE7-F10F-40AE-DB63-712D965BE480}" dt="2022-04-04T00:28:04.059" v="356"/>
          <ac:spMkLst>
            <pc:docMk/>
            <pc:sldMk cId="1695560817" sldId="366"/>
            <ac:spMk id="51" creationId="{F2574BA2-3BC3-B0DC-AEB4-23481F30DEBC}"/>
          </ac:spMkLst>
        </pc:spChg>
        <pc:spChg chg="add del">
          <ac:chgData name="Guest User" userId="S::urn:spo:anon#c437c167f923f422528aee73b5e70e5726914197d2dec7f210a84ae49e8498a7::" providerId="AD" clId="Web-{7DE86EE7-F10F-40AE-DB63-712D965BE480}" dt="2022-04-04T00:34:28.538" v="408"/>
          <ac:spMkLst>
            <pc:docMk/>
            <pc:sldMk cId="1695560817" sldId="366"/>
            <ac:spMk id="53" creationId="{0D6E3B92-8F74-C4E3-DD2C-99ECB7C89DD9}"/>
          </ac:spMkLst>
        </pc:spChg>
        <pc:spChg chg="add mod">
          <ac:chgData name="Guest User" userId="S::urn:spo:anon#c437c167f923f422528aee73b5e70e5726914197d2dec7f210a84ae49e8498a7::" providerId="AD" clId="Web-{7DE86EE7-F10F-40AE-DB63-712D965BE480}" dt="2022-04-04T00:35:10.148" v="427" actId="20577"/>
          <ac:spMkLst>
            <pc:docMk/>
            <pc:sldMk cId="1695560817" sldId="366"/>
            <ac:spMk id="55" creationId="{848D1D00-5AAC-E43D-57E3-DF6A3967DF99}"/>
          </ac:spMkLst>
        </pc:spChg>
        <pc:spChg chg="add mod">
          <ac:chgData name="Guest User" userId="S::urn:spo:anon#c437c167f923f422528aee73b5e70e5726914197d2dec7f210a84ae49e8498a7::" providerId="AD" clId="Web-{7DE86EE7-F10F-40AE-DB63-712D965BE480}" dt="2022-04-04T00:38:27.060" v="463" actId="20577"/>
          <ac:spMkLst>
            <pc:docMk/>
            <pc:sldMk cId="1695560817" sldId="366"/>
            <ac:spMk id="57" creationId="{517415E3-5292-CB76-E3BF-5A88419C6143}"/>
          </ac:spMkLst>
        </pc:spChg>
        <pc:spChg chg="mod">
          <ac:chgData name="Guest User" userId="S::urn:spo:anon#c437c167f923f422528aee73b5e70e5726914197d2dec7f210a84ae49e8498a7::" providerId="AD" clId="Web-{7DE86EE7-F10F-40AE-DB63-712D965BE480}" dt="2022-04-04T00:08:29.778" v="220" actId="1076"/>
          <ac:spMkLst>
            <pc:docMk/>
            <pc:sldMk cId="1695560817" sldId="366"/>
            <ac:spMk id="72" creationId="{2076A5C8-D785-DF79-4D6A-C1A4C3D4A83F}"/>
          </ac:spMkLst>
        </pc:spChg>
        <pc:spChg chg="mod">
          <ac:chgData name="Guest User" userId="S::urn:spo:anon#c437c167f923f422528aee73b5e70e5726914197d2dec7f210a84ae49e8498a7::" providerId="AD" clId="Web-{7DE86EE7-F10F-40AE-DB63-712D965BE480}" dt="2022-04-04T00:36:08.337" v="434" actId="14100"/>
          <ac:spMkLst>
            <pc:docMk/>
            <pc:sldMk cId="1695560817" sldId="366"/>
            <ac:spMk id="78" creationId="{85AA2B18-4964-80D8-597C-B2C0E4AC1A9F}"/>
          </ac:spMkLst>
        </pc:spChg>
        <pc:spChg chg="mod">
          <ac:chgData name="Guest User" userId="S::urn:spo:anon#c437c167f923f422528aee73b5e70e5726914197d2dec7f210a84ae49e8498a7::" providerId="AD" clId="Web-{7DE86EE7-F10F-40AE-DB63-712D965BE480}" dt="2022-04-04T00:32:59.614" v="395" actId="1076"/>
          <ac:spMkLst>
            <pc:docMk/>
            <pc:sldMk cId="1695560817" sldId="366"/>
            <ac:spMk id="82" creationId="{80579DE7-72B2-533E-1105-2A45C4F95512}"/>
          </ac:spMkLst>
        </pc:spChg>
        <pc:picChg chg="mod">
          <ac:chgData name="Guest User" userId="S::urn:spo:anon#c437c167f923f422528aee73b5e70e5726914197d2dec7f210a84ae49e8498a7::" providerId="AD" clId="Web-{7DE86EE7-F10F-40AE-DB63-712D965BE480}" dt="2022-04-04T00:20:19.578" v="324" actId="1076"/>
          <ac:picMkLst>
            <pc:docMk/>
            <pc:sldMk cId="1695560817" sldId="366"/>
            <ac:picMk id="48" creationId="{247921FD-8C4D-E554-1B1D-CACD41AF4EB2}"/>
          </ac:picMkLst>
        </pc:picChg>
        <pc:picChg chg="mod">
          <ac:chgData name="Guest User" userId="S::urn:spo:anon#c437c167f923f422528aee73b5e70e5726914197d2dec7f210a84ae49e8498a7::" providerId="AD" clId="Web-{7DE86EE7-F10F-40AE-DB63-712D965BE480}" dt="2022-04-04T00:19:30.092" v="320" actId="1076"/>
          <ac:picMkLst>
            <pc:docMk/>
            <pc:sldMk cId="1695560817" sldId="366"/>
            <ac:picMk id="100" creationId="{7C55F817-7127-B9AD-8941-666334782182}"/>
          </ac:picMkLst>
        </pc:picChg>
        <pc:cxnChg chg="mod">
          <ac:chgData name="Guest User" userId="S::urn:spo:anon#c437c167f923f422528aee73b5e70e5726914197d2dec7f210a84ae49e8498a7::" providerId="AD" clId="Web-{7DE86EE7-F10F-40AE-DB63-712D965BE480}" dt="2022-04-04T00:19:41.342" v="322" actId="1076"/>
          <ac:cxnSpMkLst>
            <pc:docMk/>
            <pc:sldMk cId="1695560817" sldId="366"/>
            <ac:cxnSpMk id="70" creationId="{36AB945C-B067-EFEB-F8C0-06799B81FEEF}"/>
          </ac:cxnSpMkLst>
        </pc:cxnChg>
        <pc:cxnChg chg="mod">
          <ac:chgData name="Guest User" userId="S::urn:spo:anon#c437c167f923f422528aee73b5e70e5726914197d2dec7f210a84ae49e8498a7::" providerId="AD" clId="Web-{7DE86EE7-F10F-40AE-DB63-712D965BE480}" dt="2022-04-04T00:25:43.274" v="335" actId="1076"/>
          <ac:cxnSpMkLst>
            <pc:docMk/>
            <pc:sldMk cId="1695560817" sldId="366"/>
            <ac:cxnSpMk id="163" creationId="{239D5AB9-9EAB-07FA-6DAA-29766725F05B}"/>
          </ac:cxnSpMkLst>
        </pc:cxnChg>
      </pc:sldChg>
      <pc:sldChg chg="addSp modSp">
        <pc:chgData name="Guest User" userId="S::urn:spo:anon#c437c167f923f422528aee73b5e70e5726914197d2dec7f210a84ae49e8498a7::" providerId="AD" clId="Web-{7DE86EE7-F10F-40AE-DB63-712D965BE480}" dt="2022-04-04T00:03:41.223" v="197" actId="1076"/>
        <pc:sldMkLst>
          <pc:docMk/>
          <pc:sldMk cId="3514561185" sldId="374"/>
        </pc:sldMkLst>
        <pc:spChg chg="mod">
          <ac:chgData name="Guest User" userId="S::urn:spo:anon#c437c167f923f422528aee73b5e70e5726914197d2dec7f210a84ae49e8498a7::" providerId="AD" clId="Web-{7DE86EE7-F10F-40AE-DB63-712D965BE480}" dt="2022-04-04T00:03:41.223" v="197" actId="1076"/>
          <ac:spMkLst>
            <pc:docMk/>
            <pc:sldMk cId="3514561185" sldId="374"/>
            <ac:spMk id="2" creationId="{06BE3DF2-FF5A-32FB-904D-F3B56CDAAEDC}"/>
          </ac:spMkLst>
        </pc:spChg>
        <pc:spChg chg="mod">
          <ac:chgData name="Guest User" userId="S::urn:spo:anon#c437c167f923f422528aee73b5e70e5726914197d2dec7f210a84ae49e8498a7::" providerId="AD" clId="Web-{7DE86EE7-F10F-40AE-DB63-712D965BE480}" dt="2022-04-03T23:34:39.086" v="76" actId="1076"/>
          <ac:spMkLst>
            <pc:docMk/>
            <pc:sldMk cId="3514561185" sldId="374"/>
            <ac:spMk id="11" creationId="{A9B97C9C-0C93-045F-4501-F39E80FF554F}"/>
          </ac:spMkLst>
        </pc:spChg>
        <pc:spChg chg="mod">
          <ac:chgData name="Guest User" userId="S::urn:spo:anon#c437c167f923f422528aee73b5e70e5726914197d2dec7f210a84ae49e8498a7::" providerId="AD" clId="Web-{7DE86EE7-F10F-40AE-DB63-712D965BE480}" dt="2022-04-04T00:02:15.908" v="188" actId="20577"/>
          <ac:spMkLst>
            <pc:docMk/>
            <pc:sldMk cId="3514561185" sldId="374"/>
            <ac:spMk id="331" creationId="{00000000-0000-0000-0000-000000000000}"/>
          </ac:spMkLst>
        </pc:spChg>
        <pc:picChg chg="add mod">
          <ac:chgData name="Guest User" userId="S::urn:spo:anon#c437c167f923f422528aee73b5e70e5726914197d2dec7f210a84ae49e8498a7::" providerId="AD" clId="Web-{7DE86EE7-F10F-40AE-DB63-712D965BE480}" dt="2022-04-04T00:03:33.254" v="196" actId="1076"/>
          <ac:picMkLst>
            <pc:docMk/>
            <pc:sldMk cId="3514561185" sldId="374"/>
            <ac:picMk id="5" creationId="{9166FA4B-85C9-5893-22DC-EC6CE43E7204}"/>
          </ac:picMkLst>
        </pc:picChg>
      </pc:sldChg>
      <pc:sldChg chg="addSp modSp">
        <pc:chgData name="Guest User" userId="S::urn:spo:anon#c437c167f923f422528aee73b5e70e5726914197d2dec7f210a84ae49e8498a7::" providerId="AD" clId="Web-{7DE86EE7-F10F-40AE-DB63-712D965BE480}" dt="2022-04-04T01:36:32.173" v="546" actId="20577"/>
        <pc:sldMkLst>
          <pc:docMk/>
          <pc:sldMk cId="604654217" sldId="375"/>
        </pc:sldMkLst>
        <pc:spChg chg="mod">
          <ac:chgData name="Guest User" userId="S::urn:spo:anon#c437c167f923f422528aee73b5e70e5726914197d2dec7f210a84ae49e8498a7::" providerId="AD" clId="Web-{7DE86EE7-F10F-40AE-DB63-712D965BE480}" dt="2022-04-04T01:36:32.173" v="546" actId="20577"/>
          <ac:spMkLst>
            <pc:docMk/>
            <pc:sldMk cId="604654217" sldId="375"/>
            <ac:spMk id="2" creationId="{AB52A157-2CB8-6DCB-8D3B-00713BF25DCA}"/>
          </ac:spMkLst>
        </pc:spChg>
        <pc:spChg chg="mod">
          <ac:chgData name="Guest User" userId="S::urn:spo:anon#c437c167f923f422528aee73b5e70e5726914197d2dec7f210a84ae49e8498a7::" providerId="AD" clId="Web-{7DE86EE7-F10F-40AE-DB63-712D965BE480}" dt="2022-04-04T01:35:46.218" v="544" actId="20577"/>
          <ac:spMkLst>
            <pc:docMk/>
            <pc:sldMk cId="604654217" sldId="375"/>
            <ac:spMk id="3" creationId="{346B9D98-5C00-250F-2E85-76FD3A920D22}"/>
          </ac:spMkLst>
        </pc:spChg>
        <pc:spChg chg="mod">
          <ac:chgData name="Guest User" userId="S::urn:spo:anon#c437c167f923f422528aee73b5e70e5726914197d2dec7f210a84ae49e8498a7::" providerId="AD" clId="Web-{7DE86EE7-F10F-40AE-DB63-712D965BE480}" dt="2022-04-04T01:24:59.042" v="483" actId="1076"/>
          <ac:spMkLst>
            <pc:docMk/>
            <pc:sldMk cId="604654217" sldId="375"/>
            <ac:spMk id="9" creationId="{A559BC09-4387-488E-85BC-CBE75B1CE17C}"/>
          </ac:spMkLst>
        </pc:spChg>
        <pc:picChg chg="add mod">
          <ac:chgData name="Guest User" userId="S::urn:spo:anon#c437c167f923f422528aee73b5e70e5726914197d2dec7f210a84ae49e8498a7::" providerId="AD" clId="Web-{7DE86EE7-F10F-40AE-DB63-712D965BE480}" dt="2022-04-04T01:23:48.352" v="482" actId="1076"/>
          <ac:picMkLst>
            <pc:docMk/>
            <pc:sldMk cId="604654217" sldId="375"/>
            <ac:picMk id="10" creationId="{D00B0523-674C-CC99-F2A4-607C8B5BBE87}"/>
          </ac:picMkLst>
        </pc:picChg>
        <pc:cxnChg chg="add mod">
          <ac:chgData name="Guest User" userId="S::urn:spo:anon#c437c167f923f422528aee73b5e70e5726914197d2dec7f210a84ae49e8498a7::" providerId="AD" clId="Web-{7DE86EE7-F10F-40AE-DB63-712D965BE480}" dt="2022-04-04T01:32:54.057" v="523" actId="1076"/>
          <ac:cxnSpMkLst>
            <pc:docMk/>
            <pc:sldMk cId="604654217" sldId="375"/>
            <ac:cxnSpMk id="11" creationId="{80DA06C6-E09C-08BC-D6FB-BC20D8957044}"/>
          </ac:cxnSpMkLst>
        </pc:cxnChg>
        <pc:cxnChg chg="add mod">
          <ac:chgData name="Guest User" userId="S::urn:spo:anon#c437c167f923f422528aee73b5e70e5726914197d2dec7f210a84ae49e8498a7::" providerId="AD" clId="Web-{7DE86EE7-F10F-40AE-DB63-712D965BE480}" dt="2022-04-04T01:33:07.932" v="526" actId="1076"/>
          <ac:cxnSpMkLst>
            <pc:docMk/>
            <pc:sldMk cId="604654217" sldId="375"/>
            <ac:cxnSpMk id="12" creationId="{77793D15-5876-2206-449B-4B1F41AFE012}"/>
          </ac:cxnSpMkLst>
        </pc:cxnChg>
        <pc:cxnChg chg="add mod">
          <ac:chgData name="Guest User" userId="S::urn:spo:anon#c437c167f923f422528aee73b5e70e5726914197d2dec7f210a84ae49e8498a7::" providerId="AD" clId="Web-{7DE86EE7-F10F-40AE-DB63-712D965BE480}" dt="2022-04-04T01:33:27.542" v="529" actId="1076"/>
          <ac:cxnSpMkLst>
            <pc:docMk/>
            <pc:sldMk cId="604654217" sldId="375"/>
            <ac:cxnSpMk id="13" creationId="{70D6C415-5AB0-50A0-6B7B-F91A78ED3D34}"/>
          </ac:cxnSpMkLst>
        </pc:cxnChg>
      </pc:sldChg>
    </pc:docChg>
  </pc:docChgLst>
  <pc:docChgLst>
    <pc:chgData name="Tami Corson" userId="17b03132-2f21-4edf-a2df-f25c30f43233" providerId="ADAL" clId="{6792B936-5997-41FF-9132-74CFA4A2F780}"/>
    <pc:docChg chg="undo redo custSel delSld modSld sldOrd">
      <pc:chgData name="Tami Corson" userId="17b03132-2f21-4edf-a2df-f25c30f43233" providerId="ADAL" clId="{6792B936-5997-41FF-9132-74CFA4A2F780}" dt="2022-03-24T19:24:09.878" v="4246" actId="33524"/>
      <pc:docMkLst>
        <pc:docMk/>
      </pc:docMkLst>
      <pc:sldChg chg="addSp delSp modSp mod">
        <pc:chgData name="Tami Corson" userId="17b03132-2f21-4edf-a2df-f25c30f43233" providerId="ADAL" clId="{6792B936-5997-41FF-9132-74CFA4A2F780}" dt="2022-03-21T19:19:48.331" v="243" actId="207"/>
        <pc:sldMkLst>
          <pc:docMk/>
          <pc:sldMk cId="0" sldId="257"/>
        </pc:sldMkLst>
        <pc:spChg chg="mod">
          <ac:chgData name="Tami Corson" userId="17b03132-2f21-4edf-a2df-f25c30f43233" providerId="ADAL" clId="{6792B936-5997-41FF-9132-74CFA4A2F780}" dt="2022-03-21T12:50:00.782" v="3" actId="207"/>
          <ac:spMkLst>
            <pc:docMk/>
            <pc:sldMk cId="0" sldId="257"/>
            <ac:spMk id="3" creationId="{39609F45-5196-405D-A25B-0B3CF8FD192A}"/>
          </ac:spMkLst>
        </pc:spChg>
        <pc:spChg chg="add mod">
          <ac:chgData name="Tami Corson" userId="17b03132-2f21-4edf-a2df-f25c30f43233" providerId="ADAL" clId="{6792B936-5997-41FF-9132-74CFA4A2F780}" dt="2022-03-21T19:19:48.331" v="243" actId="207"/>
          <ac:spMkLst>
            <pc:docMk/>
            <pc:sldMk cId="0" sldId="257"/>
            <ac:spMk id="8" creationId="{658FBB6F-FDD7-4B3F-BBC3-FB5A47C4D7BD}"/>
          </ac:spMkLst>
        </pc:spChg>
        <pc:spChg chg="del mod">
          <ac:chgData name="Tami Corson" userId="17b03132-2f21-4edf-a2df-f25c30f43233" providerId="ADAL" clId="{6792B936-5997-41FF-9132-74CFA4A2F780}" dt="2022-03-21T19:18:50.168" v="181" actId="478"/>
          <ac:spMkLst>
            <pc:docMk/>
            <pc:sldMk cId="0" sldId="257"/>
            <ac:spMk id="46" creationId="{4AA3E2F6-ED8E-4380-9FE0-BE167076C7B9}"/>
          </ac:spMkLst>
        </pc:spChg>
        <pc:spChg chg="mod">
          <ac:chgData name="Tami Corson" userId="17b03132-2f21-4edf-a2df-f25c30f43233" providerId="ADAL" clId="{6792B936-5997-41FF-9132-74CFA4A2F780}" dt="2022-03-21T12:50:11.811" v="4" actId="207"/>
          <ac:spMkLst>
            <pc:docMk/>
            <pc:sldMk cId="0" sldId="257"/>
            <ac:spMk id="47" creationId="{C5E20432-F495-4AE8-8931-143A4C1D3844}"/>
          </ac:spMkLst>
        </pc:spChg>
        <pc:spChg chg="add mod">
          <ac:chgData name="Tami Corson" userId="17b03132-2f21-4edf-a2df-f25c30f43233" providerId="ADAL" clId="{6792B936-5997-41FF-9132-74CFA4A2F780}" dt="2022-03-21T19:18:41.924" v="180" actId="1076"/>
          <ac:spMkLst>
            <pc:docMk/>
            <pc:sldMk cId="0" sldId="257"/>
            <ac:spMk id="52" creationId="{6C9D2FE4-3EA2-442C-939B-BC72E4710CD2}"/>
          </ac:spMkLst>
        </pc:spChg>
        <pc:spChg chg="mod">
          <ac:chgData name="Tami Corson" userId="17b03132-2f21-4edf-a2df-f25c30f43233" providerId="ADAL" clId="{6792B936-5997-41FF-9132-74CFA4A2F780}" dt="2022-03-21T12:47:55.272" v="1" actId="1076"/>
          <ac:spMkLst>
            <pc:docMk/>
            <pc:sldMk cId="0" sldId="257"/>
            <ac:spMk id="198" creationId="{00000000-0000-0000-0000-000000000000}"/>
          </ac:spMkLst>
        </pc:spChg>
        <pc:picChg chg="add mod modCrop">
          <ac:chgData name="Tami Corson" userId="17b03132-2f21-4edf-a2df-f25c30f43233" providerId="ADAL" clId="{6792B936-5997-41FF-9132-74CFA4A2F780}" dt="2022-03-21T19:17:33.698" v="150" actId="14100"/>
          <ac:picMkLst>
            <pc:docMk/>
            <pc:sldMk cId="0" sldId="257"/>
            <ac:picMk id="7" creationId="{95A77363-E608-4059-A435-11A522FD102A}"/>
          </ac:picMkLst>
        </pc:picChg>
      </pc:sldChg>
      <pc:sldChg chg="modSp mod">
        <pc:chgData name="Tami Corson" userId="17b03132-2f21-4edf-a2df-f25c30f43233" providerId="ADAL" clId="{6792B936-5997-41FF-9132-74CFA4A2F780}" dt="2022-03-21T12:52:33.694" v="10" actId="20577"/>
        <pc:sldMkLst>
          <pc:docMk/>
          <pc:sldMk cId="0" sldId="261"/>
        </pc:sldMkLst>
        <pc:spChg chg="mod">
          <ac:chgData name="Tami Corson" userId="17b03132-2f21-4edf-a2df-f25c30f43233" providerId="ADAL" clId="{6792B936-5997-41FF-9132-74CFA4A2F780}" dt="2022-03-21T12:52:33.694" v="10" actId="20577"/>
          <ac:spMkLst>
            <pc:docMk/>
            <pc:sldMk cId="0" sldId="261"/>
            <ac:spMk id="337" creationId="{00000000-0000-0000-0000-000000000000}"/>
          </ac:spMkLst>
        </pc:spChg>
      </pc:sldChg>
      <pc:sldChg chg="modSp mod">
        <pc:chgData name="Tami Corson" userId="17b03132-2f21-4edf-a2df-f25c30f43233" providerId="ADAL" clId="{6792B936-5997-41FF-9132-74CFA4A2F780}" dt="2022-03-22T15:22:56.576" v="2736" actId="207"/>
        <pc:sldMkLst>
          <pc:docMk/>
          <pc:sldMk cId="0" sldId="262"/>
        </pc:sldMkLst>
        <pc:spChg chg="mod">
          <ac:chgData name="Tami Corson" userId="17b03132-2f21-4edf-a2df-f25c30f43233" providerId="ADAL" clId="{6792B936-5997-41FF-9132-74CFA4A2F780}" dt="2022-03-22T15:22:56.576" v="2736" actId="207"/>
          <ac:spMkLst>
            <pc:docMk/>
            <pc:sldMk cId="0" sldId="262"/>
            <ac:spMk id="438" creationId="{00000000-0000-0000-0000-000000000000}"/>
          </ac:spMkLst>
        </pc:spChg>
      </pc:sldChg>
      <pc:sldChg chg="modSp mod">
        <pc:chgData name="Tami Corson" userId="17b03132-2f21-4edf-a2df-f25c30f43233" providerId="ADAL" clId="{6792B936-5997-41FF-9132-74CFA4A2F780}" dt="2022-03-24T18:06:01.922" v="4242" actId="6549"/>
        <pc:sldMkLst>
          <pc:docMk/>
          <pc:sldMk cId="0" sldId="264"/>
        </pc:sldMkLst>
        <pc:spChg chg="mod">
          <ac:chgData name="Tami Corson" userId="17b03132-2f21-4edf-a2df-f25c30f43233" providerId="ADAL" clId="{6792B936-5997-41FF-9132-74CFA4A2F780}" dt="2022-03-21T19:21:22.523" v="244" actId="207"/>
          <ac:spMkLst>
            <pc:docMk/>
            <pc:sldMk cId="0" sldId="264"/>
            <ac:spMk id="29" creationId="{CE4534C1-122C-4584-960F-B0117C9A488A}"/>
          </ac:spMkLst>
        </pc:spChg>
        <pc:spChg chg="mod">
          <ac:chgData name="Tami Corson" userId="17b03132-2f21-4edf-a2df-f25c30f43233" providerId="ADAL" clId="{6792B936-5997-41FF-9132-74CFA4A2F780}" dt="2022-03-24T18:06:01.922" v="4242" actId="6549"/>
          <ac:spMkLst>
            <pc:docMk/>
            <pc:sldMk cId="0" sldId="264"/>
            <ac:spMk id="472" creationId="{00000000-0000-0000-0000-000000000000}"/>
          </ac:spMkLst>
        </pc:spChg>
      </pc:sldChg>
      <pc:sldChg chg="delSp modSp mod">
        <pc:chgData name="Tami Corson" userId="17b03132-2f21-4edf-a2df-f25c30f43233" providerId="ADAL" clId="{6792B936-5997-41FF-9132-74CFA4A2F780}" dt="2022-03-22T15:37:28.150" v="3392" actId="1076"/>
        <pc:sldMkLst>
          <pc:docMk/>
          <pc:sldMk cId="0" sldId="269"/>
        </pc:sldMkLst>
        <pc:spChg chg="del">
          <ac:chgData name="Tami Corson" userId="17b03132-2f21-4edf-a2df-f25c30f43233" providerId="ADAL" clId="{6792B936-5997-41FF-9132-74CFA4A2F780}" dt="2022-03-21T23:37:16.456" v="1292" actId="478"/>
          <ac:spMkLst>
            <pc:docMk/>
            <pc:sldMk cId="0" sldId="269"/>
            <ac:spMk id="13" creationId="{81906317-FB50-4C44-83DD-8262AE251781}"/>
          </ac:spMkLst>
        </pc:spChg>
        <pc:spChg chg="del">
          <ac:chgData name="Tami Corson" userId="17b03132-2f21-4edf-a2df-f25c30f43233" providerId="ADAL" clId="{6792B936-5997-41FF-9132-74CFA4A2F780}" dt="2022-03-22T15:28:23.770" v="2756" actId="478"/>
          <ac:spMkLst>
            <pc:docMk/>
            <pc:sldMk cId="0" sldId="269"/>
            <ac:spMk id="16" creationId="{F29BBF2D-5F15-45EC-BE2A-14ABF1E18DB5}"/>
          </ac:spMkLst>
        </pc:spChg>
        <pc:spChg chg="mod">
          <ac:chgData name="Tami Corson" userId="17b03132-2f21-4edf-a2df-f25c30f43233" providerId="ADAL" clId="{6792B936-5997-41FF-9132-74CFA4A2F780}" dt="2022-03-22T15:32:01.321" v="3343" actId="20577"/>
          <ac:spMkLst>
            <pc:docMk/>
            <pc:sldMk cId="0" sldId="269"/>
            <ac:spMk id="605" creationId="{00000000-0000-0000-0000-000000000000}"/>
          </ac:spMkLst>
        </pc:spChg>
        <pc:spChg chg="mod">
          <ac:chgData name="Tami Corson" userId="17b03132-2f21-4edf-a2df-f25c30f43233" providerId="ADAL" clId="{6792B936-5997-41FF-9132-74CFA4A2F780}" dt="2022-03-22T15:36:42.028" v="3389" actId="14100"/>
          <ac:spMkLst>
            <pc:docMk/>
            <pc:sldMk cId="0" sldId="269"/>
            <ac:spMk id="609" creationId="{00000000-0000-0000-0000-000000000000}"/>
          </ac:spMkLst>
        </pc:spChg>
        <pc:picChg chg="mod">
          <ac:chgData name="Tami Corson" userId="17b03132-2f21-4edf-a2df-f25c30f43233" providerId="ADAL" clId="{6792B936-5997-41FF-9132-74CFA4A2F780}" dt="2022-03-22T15:28:56.031" v="2761" actId="1076"/>
          <ac:picMkLst>
            <pc:docMk/>
            <pc:sldMk cId="0" sldId="269"/>
            <ac:picMk id="4" creationId="{A3DE1E23-4D91-4A14-B3F7-C67C5D0DD7A5}"/>
          </ac:picMkLst>
        </pc:picChg>
        <pc:picChg chg="mod">
          <ac:chgData name="Tami Corson" userId="17b03132-2f21-4edf-a2df-f25c30f43233" providerId="ADAL" clId="{6792B936-5997-41FF-9132-74CFA4A2F780}" dt="2022-03-22T15:37:21.564" v="3391" actId="12788"/>
          <ac:picMkLst>
            <pc:docMk/>
            <pc:sldMk cId="0" sldId="269"/>
            <ac:picMk id="5" creationId="{9E943CF7-D578-4861-B11C-4ED484043137}"/>
          </ac:picMkLst>
        </pc:picChg>
        <pc:picChg chg="mod">
          <ac:chgData name="Tami Corson" userId="17b03132-2f21-4edf-a2df-f25c30f43233" providerId="ADAL" clId="{6792B936-5997-41FF-9132-74CFA4A2F780}" dt="2022-03-22T15:37:28.150" v="3392" actId="1076"/>
          <ac:picMkLst>
            <pc:docMk/>
            <pc:sldMk cId="0" sldId="269"/>
            <ac:picMk id="6" creationId="{7320460E-7625-44AD-8A44-09D8797A39CC}"/>
          </ac:picMkLst>
        </pc:picChg>
      </pc:sldChg>
      <pc:sldChg chg="addSp delSp modSp mod">
        <pc:chgData name="Tami Corson" userId="17b03132-2f21-4edf-a2df-f25c30f43233" providerId="ADAL" clId="{6792B936-5997-41FF-9132-74CFA4A2F780}" dt="2022-03-24T18:08:24.190" v="4243" actId="22"/>
        <pc:sldMkLst>
          <pc:docMk/>
          <pc:sldMk cId="0" sldId="275"/>
        </pc:sldMkLst>
        <pc:spChg chg="del">
          <ac:chgData name="Tami Corson" userId="17b03132-2f21-4edf-a2df-f25c30f43233" providerId="ADAL" clId="{6792B936-5997-41FF-9132-74CFA4A2F780}" dt="2022-03-22T15:39:11.071" v="3411" actId="478"/>
          <ac:spMkLst>
            <pc:docMk/>
            <pc:sldMk cId="0" sldId="275"/>
            <ac:spMk id="5" creationId="{86737F5C-5575-427C-908C-240C97E11A51}"/>
          </ac:spMkLst>
        </pc:spChg>
        <pc:spChg chg="del mod">
          <ac:chgData name="Tami Corson" userId="17b03132-2f21-4edf-a2df-f25c30f43233" providerId="ADAL" clId="{6792B936-5997-41FF-9132-74CFA4A2F780}" dt="2022-03-21T19:48:06.009" v="546" actId="478"/>
          <ac:spMkLst>
            <pc:docMk/>
            <pc:sldMk cId="0" sldId="275"/>
            <ac:spMk id="9" creationId="{62209AC9-A92B-46EE-BFDE-FF26E2745235}"/>
          </ac:spMkLst>
        </pc:spChg>
        <pc:spChg chg="add">
          <ac:chgData name="Tami Corson" userId="17b03132-2f21-4edf-a2df-f25c30f43233" providerId="ADAL" clId="{6792B936-5997-41FF-9132-74CFA4A2F780}" dt="2022-03-24T18:08:24.190" v="4243" actId="22"/>
          <ac:spMkLst>
            <pc:docMk/>
            <pc:sldMk cId="0" sldId="275"/>
            <ac:spMk id="9" creationId="{89461D6D-F79F-4EDF-961F-0584EC3D92D7}"/>
          </ac:spMkLst>
        </pc:spChg>
        <pc:spChg chg="mod">
          <ac:chgData name="Tami Corson" userId="17b03132-2f21-4edf-a2df-f25c30f43233" providerId="ADAL" clId="{6792B936-5997-41FF-9132-74CFA4A2F780}" dt="2022-03-21T19:48:09.052" v="548" actId="20577"/>
          <ac:spMkLst>
            <pc:docMk/>
            <pc:sldMk cId="0" sldId="275"/>
            <ac:spMk id="692" creationId="{00000000-0000-0000-0000-000000000000}"/>
          </ac:spMkLst>
        </pc:spChg>
        <pc:graphicFrameChg chg="mod modGraphic">
          <ac:chgData name="Tami Corson" userId="17b03132-2f21-4edf-a2df-f25c30f43233" providerId="ADAL" clId="{6792B936-5997-41FF-9132-74CFA4A2F780}" dt="2022-03-22T15:40:09.316" v="3412" actId="3626"/>
          <ac:graphicFrameMkLst>
            <pc:docMk/>
            <pc:sldMk cId="0" sldId="275"/>
            <ac:graphicFrameMk id="694" creationId="{00000000-0000-0000-0000-000000000000}"/>
          </ac:graphicFrameMkLst>
        </pc:graphicFrameChg>
      </pc:sldChg>
      <pc:sldChg chg="addSp delSp modSp mod">
        <pc:chgData name="Tami Corson" userId="17b03132-2f21-4edf-a2df-f25c30f43233" providerId="ADAL" clId="{6792B936-5997-41FF-9132-74CFA4A2F780}" dt="2022-03-24T18:08:40.709" v="4245" actId="22"/>
        <pc:sldMkLst>
          <pc:docMk/>
          <pc:sldMk cId="0" sldId="280"/>
        </pc:sldMkLst>
        <pc:spChg chg="add mod">
          <ac:chgData name="Tami Corson" userId="17b03132-2f21-4edf-a2df-f25c30f43233" providerId="ADAL" clId="{6792B936-5997-41FF-9132-74CFA4A2F780}" dt="2022-03-21T19:59:49.548" v="693" actId="20577"/>
          <ac:spMkLst>
            <pc:docMk/>
            <pc:sldMk cId="0" sldId="280"/>
            <ac:spMk id="2" creationId="{54A056D4-C1E2-49A0-BC07-61F24B2B511D}"/>
          </ac:spMkLst>
        </pc:spChg>
        <pc:spChg chg="add del mod">
          <ac:chgData name="Tami Corson" userId="17b03132-2f21-4edf-a2df-f25c30f43233" providerId="ADAL" clId="{6792B936-5997-41FF-9132-74CFA4A2F780}" dt="2022-03-22T16:41:45.995" v="4105" actId="478"/>
          <ac:spMkLst>
            <pc:docMk/>
            <pc:sldMk cId="0" sldId="280"/>
            <ac:spMk id="6" creationId="{6A68D443-75E1-4EF8-BC52-690836319788}"/>
          </ac:spMkLst>
        </pc:spChg>
        <pc:spChg chg="add del">
          <ac:chgData name="Tami Corson" userId="17b03132-2f21-4edf-a2df-f25c30f43233" providerId="ADAL" clId="{6792B936-5997-41FF-9132-74CFA4A2F780}" dt="2022-03-24T18:08:40.709" v="4245" actId="22"/>
          <ac:spMkLst>
            <pc:docMk/>
            <pc:sldMk cId="0" sldId="280"/>
            <ac:spMk id="11" creationId="{9BAC9687-F00E-4C31-803F-A5E9A29E57C6}"/>
          </ac:spMkLst>
        </pc:spChg>
        <pc:spChg chg="mod ord">
          <ac:chgData name="Tami Corson" userId="17b03132-2f21-4edf-a2df-f25c30f43233" providerId="ADAL" clId="{6792B936-5997-41FF-9132-74CFA4A2F780}" dt="2022-03-22T17:48:19.769" v="4238" actId="1076"/>
          <ac:spMkLst>
            <pc:docMk/>
            <pc:sldMk cId="0" sldId="280"/>
            <ac:spMk id="863" creationId="{00000000-0000-0000-0000-000000000000}"/>
          </ac:spMkLst>
        </pc:spChg>
        <pc:spChg chg="mod">
          <ac:chgData name="Tami Corson" userId="17b03132-2f21-4edf-a2df-f25c30f43233" providerId="ADAL" clId="{6792B936-5997-41FF-9132-74CFA4A2F780}" dt="2022-03-22T17:48:08.582" v="4235" actId="1076"/>
          <ac:spMkLst>
            <pc:docMk/>
            <pc:sldMk cId="0" sldId="280"/>
            <ac:spMk id="865" creationId="{00000000-0000-0000-0000-000000000000}"/>
          </ac:spMkLst>
        </pc:spChg>
        <pc:graphicFrameChg chg="modGraphic">
          <ac:chgData name="Tami Corson" userId="17b03132-2f21-4edf-a2df-f25c30f43233" providerId="ADAL" clId="{6792B936-5997-41FF-9132-74CFA4A2F780}" dt="2022-03-22T17:47:00.493" v="4225" actId="6549"/>
          <ac:graphicFrameMkLst>
            <pc:docMk/>
            <pc:sldMk cId="0" sldId="280"/>
            <ac:graphicFrameMk id="858" creationId="{00000000-0000-0000-0000-000000000000}"/>
          </ac:graphicFrameMkLst>
        </pc:graphicFrameChg>
        <pc:picChg chg="add del mod">
          <ac:chgData name="Tami Corson" userId="17b03132-2f21-4edf-a2df-f25c30f43233" providerId="ADAL" clId="{6792B936-5997-41FF-9132-74CFA4A2F780}" dt="2022-03-22T17:47:30.105" v="4226" actId="478"/>
          <ac:picMkLst>
            <pc:docMk/>
            <pc:sldMk cId="0" sldId="280"/>
            <ac:picMk id="3" creationId="{F35E6470-6E57-46D1-A1E3-E4A3A519E983}"/>
          </ac:picMkLst>
        </pc:picChg>
        <pc:picChg chg="add mod">
          <ac:chgData name="Tami Corson" userId="17b03132-2f21-4edf-a2df-f25c30f43233" providerId="ADAL" clId="{6792B936-5997-41FF-9132-74CFA4A2F780}" dt="2022-03-22T17:48:00.486" v="4231" actId="14100"/>
          <ac:picMkLst>
            <pc:docMk/>
            <pc:sldMk cId="0" sldId="280"/>
            <ac:picMk id="4" creationId="{CD1668F7-949E-4C30-A027-3AAFA2D68AA5}"/>
          </ac:picMkLst>
        </pc:picChg>
        <pc:picChg chg="del">
          <ac:chgData name="Tami Corson" userId="17b03132-2f21-4edf-a2df-f25c30f43233" providerId="ADAL" clId="{6792B936-5997-41FF-9132-74CFA4A2F780}" dt="2022-03-21T19:57:30.208" v="579" actId="478"/>
          <ac:picMkLst>
            <pc:docMk/>
            <pc:sldMk cId="0" sldId="280"/>
            <ac:picMk id="4" creationId="{D8980697-1456-4E44-A5C1-4E8BA3F73404}"/>
          </ac:picMkLst>
        </pc:picChg>
        <pc:picChg chg="add del mod">
          <ac:chgData name="Tami Corson" userId="17b03132-2f21-4edf-a2df-f25c30f43233" providerId="ADAL" clId="{6792B936-5997-41FF-9132-74CFA4A2F780}" dt="2022-03-22T14:25:36.136" v="1802" actId="478"/>
          <ac:picMkLst>
            <pc:docMk/>
            <pc:sldMk cId="0" sldId="280"/>
            <ac:picMk id="5" creationId="{1682F6BE-407C-4914-A552-918A32E41956}"/>
          </ac:picMkLst>
        </pc:picChg>
        <pc:cxnChg chg="mod ord">
          <ac:chgData name="Tami Corson" userId="17b03132-2f21-4edf-a2df-f25c30f43233" providerId="ADAL" clId="{6792B936-5997-41FF-9132-74CFA4A2F780}" dt="2022-03-22T17:48:29.863" v="4241" actId="14100"/>
          <ac:cxnSpMkLst>
            <pc:docMk/>
            <pc:sldMk cId="0" sldId="280"/>
            <ac:cxnSpMk id="864" creationId="{00000000-0000-0000-0000-000000000000}"/>
          </ac:cxnSpMkLst>
        </pc:cxnChg>
      </pc:sldChg>
      <pc:sldChg chg="modSp mod ord">
        <pc:chgData name="Tami Corson" userId="17b03132-2f21-4edf-a2df-f25c30f43233" providerId="ADAL" clId="{6792B936-5997-41FF-9132-74CFA4A2F780}" dt="2022-03-22T16:19:44.845" v="4098" actId="6549"/>
        <pc:sldMkLst>
          <pc:docMk/>
          <pc:sldMk cId="3210015788" sldId="303"/>
        </pc:sldMkLst>
        <pc:spChg chg="mod">
          <ac:chgData name="Tami Corson" userId="17b03132-2f21-4edf-a2df-f25c30f43233" providerId="ADAL" clId="{6792B936-5997-41FF-9132-74CFA4A2F780}" dt="2022-03-22T16:19:44.845" v="4098" actId="6549"/>
          <ac:spMkLst>
            <pc:docMk/>
            <pc:sldMk cId="3210015788" sldId="303"/>
            <ac:spMk id="482" creationId="{00000000-0000-0000-0000-000000000000}"/>
          </ac:spMkLst>
        </pc:spChg>
        <pc:grpChg chg="mod">
          <ac:chgData name="Tami Corson" userId="17b03132-2f21-4edf-a2df-f25c30f43233" providerId="ADAL" clId="{6792B936-5997-41FF-9132-74CFA4A2F780}" dt="2022-03-22T15:26:36.623" v="2749" actId="1076"/>
          <ac:grpSpMkLst>
            <pc:docMk/>
            <pc:sldMk cId="3210015788" sldId="303"/>
            <ac:grpSpMk id="4" creationId="{AB31B214-37A4-4CE0-A956-87A5196939D4}"/>
          </ac:grpSpMkLst>
        </pc:grpChg>
        <pc:cxnChg chg="mod">
          <ac:chgData name="Tami Corson" userId="17b03132-2f21-4edf-a2df-f25c30f43233" providerId="ADAL" clId="{6792B936-5997-41FF-9132-74CFA4A2F780}" dt="2022-03-22T15:26:09.054" v="2747" actId="1076"/>
          <ac:cxnSpMkLst>
            <pc:docMk/>
            <pc:sldMk cId="3210015788" sldId="303"/>
            <ac:cxnSpMk id="36" creationId="{EAECDCBB-3819-4FCD-A496-F9491BDFD89C}"/>
          </ac:cxnSpMkLst>
        </pc:cxnChg>
      </pc:sldChg>
      <pc:sldChg chg="modSp mod">
        <pc:chgData name="Tami Corson" userId="17b03132-2f21-4edf-a2df-f25c30f43233" providerId="ADAL" clId="{6792B936-5997-41FF-9132-74CFA4A2F780}" dt="2022-03-22T14:58:19.804" v="2660" actId="27107"/>
        <pc:sldMkLst>
          <pc:docMk/>
          <pc:sldMk cId="1756389301" sldId="323"/>
        </pc:sldMkLst>
        <pc:spChg chg="mod">
          <ac:chgData name="Tami Corson" userId="17b03132-2f21-4edf-a2df-f25c30f43233" providerId="ADAL" clId="{6792B936-5997-41FF-9132-74CFA4A2F780}" dt="2022-03-22T14:58:19.804" v="2660" actId="27107"/>
          <ac:spMkLst>
            <pc:docMk/>
            <pc:sldMk cId="1756389301" sldId="323"/>
            <ac:spMk id="14" creationId="{D5AFD166-FDA5-49D0-9503-A4D355EE3E78}"/>
          </ac:spMkLst>
        </pc:spChg>
        <pc:spChg chg="mod">
          <ac:chgData name="Tami Corson" userId="17b03132-2f21-4edf-a2df-f25c30f43233" providerId="ADAL" clId="{6792B936-5997-41FF-9132-74CFA4A2F780}" dt="2022-03-22T14:56:31.762" v="2593" actId="14100"/>
          <ac:spMkLst>
            <pc:docMk/>
            <pc:sldMk cId="1756389301" sldId="323"/>
            <ac:spMk id="15" creationId="{9C4A17CE-EF6F-4ED7-ADC1-9CEE9825B750}"/>
          </ac:spMkLst>
        </pc:spChg>
        <pc:picChg chg="mod">
          <ac:chgData name="Tami Corson" userId="17b03132-2f21-4edf-a2df-f25c30f43233" providerId="ADAL" clId="{6792B936-5997-41FF-9132-74CFA4A2F780}" dt="2022-03-22T14:56:06.399" v="2590" actId="14100"/>
          <ac:picMkLst>
            <pc:docMk/>
            <pc:sldMk cId="1756389301" sldId="323"/>
            <ac:picMk id="2" creationId="{06FB615F-F8A3-43BA-A287-B8535775C676}"/>
          </ac:picMkLst>
        </pc:picChg>
      </pc:sldChg>
      <pc:sldChg chg="delSp modSp mod">
        <pc:chgData name="Tami Corson" userId="17b03132-2f21-4edf-a2df-f25c30f43233" providerId="ADAL" clId="{6792B936-5997-41FF-9132-74CFA4A2F780}" dt="2022-03-24T19:24:09.878" v="4246" actId="33524"/>
        <pc:sldMkLst>
          <pc:docMk/>
          <pc:sldMk cId="1295029711" sldId="333"/>
        </pc:sldMkLst>
        <pc:spChg chg="del mod">
          <ac:chgData name="Tami Corson" userId="17b03132-2f21-4edf-a2df-f25c30f43233" providerId="ADAL" clId="{6792B936-5997-41FF-9132-74CFA4A2F780}" dt="2022-03-21T19:48:01.417" v="545" actId="478"/>
          <ac:spMkLst>
            <pc:docMk/>
            <pc:sldMk cId="1295029711" sldId="333"/>
            <ac:spMk id="2" creationId="{7DCF3F38-3124-4010-AD9F-01F477057DA3}"/>
          </ac:spMkLst>
        </pc:spChg>
        <pc:spChg chg="del mod">
          <ac:chgData name="Tami Corson" userId="17b03132-2f21-4edf-a2df-f25c30f43233" providerId="ADAL" clId="{6792B936-5997-41FF-9132-74CFA4A2F780}" dt="2022-03-22T15:41:35.782" v="3416" actId="478"/>
          <ac:spMkLst>
            <pc:docMk/>
            <pc:sldMk cId="1295029711" sldId="333"/>
            <ac:spMk id="2" creationId="{F15F5792-AE24-4CF0-943E-33962B778326}"/>
          </ac:spMkLst>
        </pc:spChg>
        <pc:spChg chg="mod">
          <ac:chgData name="Tami Corson" userId="17b03132-2f21-4edf-a2df-f25c30f43233" providerId="ADAL" clId="{6792B936-5997-41FF-9132-74CFA4A2F780}" dt="2022-03-21T19:48:13.001" v="550" actId="20577"/>
          <ac:spMkLst>
            <pc:docMk/>
            <pc:sldMk cId="1295029711" sldId="333"/>
            <ac:spMk id="692" creationId="{00000000-0000-0000-0000-000000000000}"/>
          </ac:spMkLst>
        </pc:spChg>
        <pc:graphicFrameChg chg="mod modGraphic">
          <ac:chgData name="Tami Corson" userId="17b03132-2f21-4edf-a2df-f25c30f43233" providerId="ADAL" clId="{6792B936-5997-41FF-9132-74CFA4A2F780}" dt="2022-03-24T19:24:09.878" v="4246" actId="33524"/>
          <ac:graphicFrameMkLst>
            <pc:docMk/>
            <pc:sldMk cId="1295029711" sldId="333"/>
            <ac:graphicFrameMk id="694" creationId="{00000000-0000-0000-0000-000000000000}"/>
          </ac:graphicFrameMkLst>
        </pc:graphicFrameChg>
      </pc:sldChg>
      <pc:sldChg chg="delSp modSp mod">
        <pc:chgData name="Tami Corson" userId="17b03132-2f21-4edf-a2df-f25c30f43233" providerId="ADAL" clId="{6792B936-5997-41FF-9132-74CFA4A2F780}" dt="2022-03-21T23:34:23.802" v="1291" actId="20577"/>
        <pc:sldMkLst>
          <pc:docMk/>
          <pc:sldMk cId="130301299" sldId="334"/>
        </pc:sldMkLst>
        <pc:spChg chg="del mod">
          <ac:chgData name="Tami Corson" userId="17b03132-2f21-4edf-a2df-f25c30f43233" providerId="ADAL" clId="{6792B936-5997-41FF-9132-74CFA4A2F780}" dt="2022-03-21T19:47:54.463" v="543" actId="478"/>
          <ac:spMkLst>
            <pc:docMk/>
            <pc:sldMk cId="130301299" sldId="334"/>
            <ac:spMk id="2" creationId="{72DDF4E4-31DF-4AB2-BDF7-D329DFDF1223}"/>
          </ac:spMkLst>
        </pc:spChg>
        <pc:spChg chg="del">
          <ac:chgData name="Tami Corson" userId="17b03132-2f21-4edf-a2df-f25c30f43233" providerId="ADAL" clId="{6792B936-5997-41FF-9132-74CFA4A2F780}" dt="2022-03-21T19:36:49.163" v="463" actId="478"/>
          <ac:spMkLst>
            <pc:docMk/>
            <pc:sldMk cId="130301299" sldId="334"/>
            <ac:spMk id="8" creationId="{A6E84166-6DB5-4513-B3ED-5B1707F10F5F}"/>
          </ac:spMkLst>
        </pc:spChg>
        <pc:spChg chg="mod">
          <ac:chgData name="Tami Corson" userId="17b03132-2f21-4edf-a2df-f25c30f43233" providerId="ADAL" clId="{6792B936-5997-41FF-9132-74CFA4A2F780}" dt="2022-03-21T19:48:18.579" v="552" actId="20577"/>
          <ac:spMkLst>
            <pc:docMk/>
            <pc:sldMk cId="130301299" sldId="334"/>
            <ac:spMk id="692" creationId="{00000000-0000-0000-0000-000000000000}"/>
          </ac:spMkLst>
        </pc:spChg>
        <pc:graphicFrameChg chg="mod modGraphic">
          <ac:chgData name="Tami Corson" userId="17b03132-2f21-4edf-a2df-f25c30f43233" providerId="ADAL" clId="{6792B936-5997-41FF-9132-74CFA4A2F780}" dt="2022-03-21T23:34:23.802" v="1291" actId="20577"/>
          <ac:graphicFrameMkLst>
            <pc:docMk/>
            <pc:sldMk cId="130301299" sldId="334"/>
            <ac:graphicFrameMk id="694" creationId="{00000000-0000-0000-0000-000000000000}"/>
          </ac:graphicFrameMkLst>
        </pc:graphicFrameChg>
      </pc:sldChg>
      <pc:sldChg chg="modSp del mod">
        <pc:chgData name="Tami Corson" userId="17b03132-2f21-4edf-a2df-f25c30f43233" providerId="ADAL" clId="{6792B936-5997-41FF-9132-74CFA4A2F780}" dt="2022-03-21T19:47:47.811" v="542" actId="47"/>
        <pc:sldMkLst>
          <pc:docMk/>
          <pc:sldMk cId="1764704405" sldId="335"/>
        </pc:sldMkLst>
        <pc:spChg chg="mod">
          <ac:chgData name="Tami Corson" userId="17b03132-2f21-4edf-a2df-f25c30f43233" providerId="ADAL" clId="{6792B936-5997-41FF-9132-74CFA4A2F780}" dt="2022-03-21T15:45:32.390" v="131" actId="20577"/>
          <ac:spMkLst>
            <pc:docMk/>
            <pc:sldMk cId="1764704405" sldId="335"/>
            <ac:spMk id="2" creationId="{0DA4AF2B-8EB8-4E56-9DCF-A053516F6C14}"/>
          </ac:spMkLst>
        </pc:spChg>
        <pc:graphicFrameChg chg="modGraphic">
          <ac:chgData name="Tami Corson" userId="17b03132-2f21-4edf-a2df-f25c30f43233" providerId="ADAL" clId="{6792B936-5997-41FF-9132-74CFA4A2F780}" dt="2022-03-21T19:38:31.549" v="467" actId="6549"/>
          <ac:graphicFrameMkLst>
            <pc:docMk/>
            <pc:sldMk cId="1764704405" sldId="335"/>
            <ac:graphicFrameMk id="694" creationId="{00000000-0000-0000-0000-000000000000}"/>
          </ac:graphicFrameMkLst>
        </pc:graphicFrameChg>
      </pc:sldChg>
      <pc:sldChg chg="delSp modSp mod">
        <pc:chgData name="Tami Corson" userId="17b03132-2f21-4edf-a2df-f25c30f43233" providerId="ADAL" clId="{6792B936-5997-41FF-9132-74CFA4A2F780}" dt="2022-03-22T13:10:14.456" v="1332" actId="478"/>
        <pc:sldMkLst>
          <pc:docMk/>
          <pc:sldMk cId="3720673345" sldId="336"/>
        </pc:sldMkLst>
        <pc:spChg chg="del">
          <ac:chgData name="Tami Corson" userId="17b03132-2f21-4edf-a2df-f25c30f43233" providerId="ADAL" clId="{6792B936-5997-41FF-9132-74CFA4A2F780}" dt="2022-03-22T13:10:09.013" v="1331" actId="478"/>
          <ac:spMkLst>
            <pc:docMk/>
            <pc:sldMk cId="3720673345" sldId="336"/>
            <ac:spMk id="18" creationId="{C5BCFE83-CBCC-4D51-BA66-8FF2BB039877}"/>
          </ac:spMkLst>
        </pc:spChg>
        <pc:spChg chg="del">
          <ac:chgData name="Tami Corson" userId="17b03132-2f21-4edf-a2df-f25c30f43233" providerId="ADAL" clId="{6792B936-5997-41FF-9132-74CFA4A2F780}" dt="2022-03-22T13:10:14.456" v="1332" actId="478"/>
          <ac:spMkLst>
            <pc:docMk/>
            <pc:sldMk cId="3720673345" sldId="336"/>
            <ac:spMk id="22" creationId="{2E0A430B-B95F-4458-B082-FFAE184EA847}"/>
          </ac:spMkLst>
        </pc:spChg>
        <pc:spChg chg="mod">
          <ac:chgData name="Tami Corson" userId="17b03132-2f21-4edf-a2df-f25c30f43233" providerId="ADAL" clId="{6792B936-5997-41FF-9132-74CFA4A2F780}" dt="2022-03-21T21:43:13.181" v="696" actId="6549"/>
          <ac:spMkLst>
            <pc:docMk/>
            <pc:sldMk cId="3720673345" sldId="336"/>
            <ac:spMk id="620" creationId="{00000000-0000-0000-0000-000000000000}"/>
          </ac:spMkLst>
        </pc:spChg>
      </pc:sldChg>
      <pc:sldChg chg="delSp mod">
        <pc:chgData name="Tami Corson" userId="17b03132-2f21-4edf-a2df-f25c30f43233" providerId="ADAL" clId="{6792B936-5997-41FF-9132-74CFA4A2F780}" dt="2022-03-21T23:37:28.351" v="1293" actId="478"/>
        <pc:sldMkLst>
          <pc:docMk/>
          <pc:sldMk cId="1209993513" sldId="338"/>
        </pc:sldMkLst>
        <pc:spChg chg="del">
          <ac:chgData name="Tami Corson" userId="17b03132-2f21-4edf-a2df-f25c30f43233" providerId="ADAL" clId="{6792B936-5997-41FF-9132-74CFA4A2F780}" dt="2022-03-21T23:37:28.351" v="1293" actId="478"/>
          <ac:spMkLst>
            <pc:docMk/>
            <pc:sldMk cId="1209993513" sldId="338"/>
            <ac:spMk id="13" creationId="{8AA9B512-3C2F-4929-A53B-DC613CCD9E7D}"/>
          </ac:spMkLst>
        </pc:spChg>
      </pc:sldChg>
      <pc:sldChg chg="delSp modSp mod">
        <pc:chgData name="Tami Corson" userId="17b03132-2f21-4edf-a2df-f25c30f43233" providerId="ADAL" clId="{6792B936-5997-41FF-9132-74CFA4A2F780}" dt="2022-03-22T15:43:49.841" v="3429" actId="14100"/>
        <pc:sldMkLst>
          <pc:docMk/>
          <pc:sldMk cId="2486721525" sldId="341"/>
        </pc:sldMkLst>
        <pc:spChg chg="mod">
          <ac:chgData name="Tami Corson" userId="17b03132-2f21-4edf-a2df-f25c30f43233" providerId="ADAL" clId="{6792B936-5997-41FF-9132-74CFA4A2F780}" dt="2022-03-22T15:42:55.336" v="3423" actId="1076"/>
          <ac:spMkLst>
            <pc:docMk/>
            <pc:sldMk cId="2486721525" sldId="341"/>
            <ac:spMk id="137" creationId="{1301D16D-0233-425B-8533-705B8AA7A3FB}"/>
          </ac:spMkLst>
        </pc:spChg>
        <pc:cxnChg chg="mod">
          <ac:chgData name="Tami Corson" userId="17b03132-2f21-4edf-a2df-f25c30f43233" providerId="ADAL" clId="{6792B936-5997-41FF-9132-74CFA4A2F780}" dt="2022-03-22T15:43:05.779" v="3425" actId="1076"/>
          <ac:cxnSpMkLst>
            <pc:docMk/>
            <pc:sldMk cId="2486721525" sldId="341"/>
            <ac:cxnSpMk id="135" creationId="{07D150B9-41C8-4CFF-ACA8-4BE69CAF1760}"/>
          </ac:cxnSpMkLst>
        </pc:cxnChg>
        <pc:cxnChg chg="del mod">
          <ac:chgData name="Tami Corson" userId="17b03132-2f21-4edf-a2df-f25c30f43233" providerId="ADAL" clId="{6792B936-5997-41FF-9132-74CFA4A2F780}" dt="2022-03-22T15:43:12.802" v="3426" actId="478"/>
          <ac:cxnSpMkLst>
            <pc:docMk/>
            <pc:sldMk cId="2486721525" sldId="341"/>
            <ac:cxnSpMk id="139" creationId="{A4AB02A9-1CB3-480F-8B5C-4F4E1186DF46}"/>
          </ac:cxnSpMkLst>
        </pc:cxnChg>
        <pc:cxnChg chg="mod">
          <ac:chgData name="Tami Corson" userId="17b03132-2f21-4edf-a2df-f25c30f43233" providerId="ADAL" clId="{6792B936-5997-41FF-9132-74CFA4A2F780}" dt="2022-03-22T15:43:42.353" v="3427" actId="14100"/>
          <ac:cxnSpMkLst>
            <pc:docMk/>
            <pc:sldMk cId="2486721525" sldId="341"/>
            <ac:cxnSpMk id="397" creationId="{00000000-0000-0000-0000-000000000000}"/>
          </ac:cxnSpMkLst>
        </pc:cxnChg>
        <pc:cxnChg chg="mod">
          <ac:chgData name="Tami Corson" userId="17b03132-2f21-4edf-a2df-f25c30f43233" providerId="ADAL" clId="{6792B936-5997-41FF-9132-74CFA4A2F780}" dt="2022-03-22T15:43:46.064" v="3428" actId="14100"/>
          <ac:cxnSpMkLst>
            <pc:docMk/>
            <pc:sldMk cId="2486721525" sldId="341"/>
            <ac:cxnSpMk id="398" creationId="{00000000-0000-0000-0000-000000000000}"/>
          </ac:cxnSpMkLst>
        </pc:cxnChg>
        <pc:cxnChg chg="mod">
          <ac:chgData name="Tami Corson" userId="17b03132-2f21-4edf-a2df-f25c30f43233" providerId="ADAL" clId="{6792B936-5997-41FF-9132-74CFA4A2F780}" dt="2022-03-22T15:43:49.841" v="3429" actId="14100"/>
          <ac:cxnSpMkLst>
            <pc:docMk/>
            <pc:sldMk cId="2486721525" sldId="341"/>
            <ac:cxnSpMk id="425" creationId="{00000000-0000-0000-0000-000000000000}"/>
          </ac:cxnSpMkLst>
        </pc:cxnChg>
      </pc:sldChg>
      <pc:sldChg chg="modSp mod">
        <pc:chgData name="Tami Corson" userId="17b03132-2f21-4edf-a2df-f25c30f43233" providerId="ADAL" clId="{6792B936-5997-41FF-9132-74CFA4A2F780}" dt="2022-03-22T16:19:50.796" v="4099" actId="2"/>
        <pc:sldMkLst>
          <pc:docMk/>
          <pc:sldMk cId="4114424017" sldId="342"/>
        </pc:sldMkLst>
        <pc:graphicFrameChg chg="modGraphic">
          <ac:chgData name="Tami Corson" userId="17b03132-2f21-4edf-a2df-f25c30f43233" providerId="ADAL" clId="{6792B936-5997-41FF-9132-74CFA4A2F780}" dt="2022-03-22T16:19:50.796" v="4099" actId="2"/>
          <ac:graphicFrameMkLst>
            <pc:docMk/>
            <pc:sldMk cId="4114424017" sldId="342"/>
            <ac:graphicFrameMk id="23" creationId="{F4A84191-3BFB-48AA-A343-19DE4EA3891C}"/>
          </ac:graphicFrameMkLst>
        </pc:graphicFrameChg>
      </pc:sldChg>
      <pc:sldChg chg="delSp modSp mod">
        <pc:chgData name="Tami Corson" userId="17b03132-2f21-4edf-a2df-f25c30f43233" providerId="ADAL" clId="{6792B936-5997-41FF-9132-74CFA4A2F780}" dt="2022-03-22T16:19:04.742" v="4088" actId="6549"/>
        <pc:sldMkLst>
          <pc:docMk/>
          <pc:sldMk cId="211703589" sldId="343"/>
        </pc:sldMkLst>
        <pc:spChg chg="mod">
          <ac:chgData name="Tami Corson" userId="17b03132-2f21-4edf-a2df-f25c30f43233" providerId="ADAL" clId="{6792B936-5997-41FF-9132-74CFA4A2F780}" dt="2022-03-22T16:19:04.742" v="4088" actId="6549"/>
          <ac:spMkLst>
            <pc:docMk/>
            <pc:sldMk cId="211703589" sldId="343"/>
            <ac:spMk id="6" creationId="{D1B67900-A55A-49E3-9F1F-6FA28D277895}"/>
          </ac:spMkLst>
        </pc:spChg>
        <pc:spChg chg="del">
          <ac:chgData name="Tami Corson" userId="17b03132-2f21-4edf-a2df-f25c30f43233" providerId="ADAL" clId="{6792B936-5997-41FF-9132-74CFA4A2F780}" dt="2022-03-22T13:04:34.295" v="1322" actId="478"/>
          <ac:spMkLst>
            <pc:docMk/>
            <pc:sldMk cId="211703589" sldId="343"/>
            <ac:spMk id="16" creationId="{216B62F5-735A-46AD-A630-1057B3E9FDD5}"/>
          </ac:spMkLst>
        </pc:spChg>
        <pc:spChg chg="mod">
          <ac:chgData name="Tami Corson" userId="17b03132-2f21-4edf-a2df-f25c30f43233" providerId="ADAL" clId="{6792B936-5997-41FF-9132-74CFA4A2F780}" dt="2022-03-22T13:04:29.132" v="1321" actId="20577"/>
          <ac:spMkLst>
            <pc:docMk/>
            <pc:sldMk cId="211703589" sldId="343"/>
            <ac:spMk id="575" creationId="{00000000-0000-0000-0000-000000000000}"/>
          </ac:spMkLst>
        </pc:spChg>
      </pc:sldChg>
      <pc:sldChg chg="delSp modSp mod">
        <pc:chgData name="Tami Corson" userId="17b03132-2f21-4edf-a2df-f25c30f43233" providerId="ADAL" clId="{6792B936-5997-41FF-9132-74CFA4A2F780}" dt="2022-03-22T15:37:57.278" v="3407" actId="6549"/>
        <pc:sldMkLst>
          <pc:docMk/>
          <pc:sldMk cId="1639760722" sldId="344"/>
        </pc:sldMkLst>
        <pc:spChg chg="del">
          <ac:chgData name="Tami Corson" userId="17b03132-2f21-4edf-a2df-f25c30f43233" providerId="ADAL" clId="{6792B936-5997-41FF-9132-74CFA4A2F780}" dt="2022-03-22T13:14:24.903" v="1423" actId="478"/>
          <ac:spMkLst>
            <pc:docMk/>
            <pc:sldMk cId="1639760722" sldId="344"/>
            <ac:spMk id="4" creationId="{9FF45032-DA33-42F9-A2D7-C8472B5476B9}"/>
          </ac:spMkLst>
        </pc:spChg>
        <pc:spChg chg="del">
          <ac:chgData name="Tami Corson" userId="17b03132-2f21-4edf-a2df-f25c30f43233" providerId="ADAL" clId="{6792B936-5997-41FF-9132-74CFA4A2F780}" dt="2022-03-22T13:14:28.855" v="1424" actId="478"/>
          <ac:spMkLst>
            <pc:docMk/>
            <pc:sldMk cId="1639760722" sldId="344"/>
            <ac:spMk id="13" creationId="{E0B97D5A-C3E6-46E9-ACE0-BD0966902C06}"/>
          </ac:spMkLst>
        </pc:spChg>
        <pc:spChg chg="mod">
          <ac:chgData name="Tami Corson" userId="17b03132-2f21-4edf-a2df-f25c30f43233" providerId="ADAL" clId="{6792B936-5997-41FF-9132-74CFA4A2F780}" dt="2022-03-22T13:05:48.595" v="1326" actId="208"/>
          <ac:spMkLst>
            <pc:docMk/>
            <pc:sldMk cId="1639760722" sldId="344"/>
            <ac:spMk id="15" creationId="{E539B02A-95E4-440D-9E22-F138643D2C89}"/>
          </ac:spMkLst>
        </pc:spChg>
        <pc:spChg chg="mod">
          <ac:chgData name="Tami Corson" userId="17b03132-2f21-4edf-a2df-f25c30f43233" providerId="ADAL" clId="{6792B936-5997-41FF-9132-74CFA4A2F780}" dt="2022-03-22T13:05:45.540" v="1325" actId="208"/>
          <ac:spMkLst>
            <pc:docMk/>
            <pc:sldMk cId="1639760722" sldId="344"/>
            <ac:spMk id="16" creationId="{F29BBF2D-5F15-45EC-BE2A-14ABF1E18DB5}"/>
          </ac:spMkLst>
        </pc:spChg>
        <pc:spChg chg="mod">
          <ac:chgData name="Tami Corson" userId="17b03132-2f21-4edf-a2df-f25c30f43233" providerId="ADAL" clId="{6792B936-5997-41FF-9132-74CFA4A2F780}" dt="2022-03-21T21:49:52.351" v="932" actId="3626"/>
          <ac:spMkLst>
            <pc:docMk/>
            <pc:sldMk cId="1639760722" sldId="344"/>
            <ac:spMk id="605" creationId="{00000000-0000-0000-0000-000000000000}"/>
          </ac:spMkLst>
        </pc:spChg>
        <pc:spChg chg="mod">
          <ac:chgData name="Tami Corson" userId="17b03132-2f21-4edf-a2df-f25c30f43233" providerId="ADAL" clId="{6792B936-5997-41FF-9132-74CFA4A2F780}" dt="2022-03-22T15:37:57.278" v="3407" actId="6549"/>
          <ac:spMkLst>
            <pc:docMk/>
            <pc:sldMk cId="1639760722" sldId="344"/>
            <ac:spMk id="609" creationId="{00000000-0000-0000-0000-000000000000}"/>
          </ac:spMkLst>
        </pc:spChg>
      </pc:sldChg>
      <pc:sldChg chg="addSp modSp mod">
        <pc:chgData name="Tami Corson" userId="17b03132-2f21-4edf-a2df-f25c30f43233" providerId="ADAL" clId="{6792B936-5997-41FF-9132-74CFA4A2F780}" dt="2022-03-21T23:42:18.473" v="1297" actId="207"/>
        <pc:sldMkLst>
          <pc:docMk/>
          <pc:sldMk cId="1358823486" sldId="345"/>
        </pc:sldMkLst>
        <pc:spChg chg="add mod">
          <ac:chgData name="Tami Corson" userId="17b03132-2f21-4edf-a2df-f25c30f43233" providerId="ADAL" clId="{6792B936-5997-41FF-9132-74CFA4A2F780}" dt="2022-03-21T23:42:18.473" v="1297" actId="207"/>
          <ac:spMkLst>
            <pc:docMk/>
            <pc:sldMk cId="1358823486" sldId="345"/>
            <ac:spMk id="18" creationId="{69111B64-2FF4-4ACD-ABAA-36332D0BF9A5}"/>
          </ac:spMkLst>
        </pc:spChg>
        <pc:picChg chg="mod">
          <ac:chgData name="Tami Corson" userId="17b03132-2f21-4edf-a2df-f25c30f43233" providerId="ADAL" clId="{6792B936-5997-41FF-9132-74CFA4A2F780}" dt="2022-03-21T12:54:21.175" v="14" actId="1076"/>
          <ac:picMkLst>
            <pc:docMk/>
            <pc:sldMk cId="1358823486" sldId="345"/>
            <ac:picMk id="13" creationId="{88371E29-1789-480F-9F0D-AD8B2C61382A}"/>
          </ac:picMkLst>
        </pc:picChg>
      </pc:sldChg>
      <pc:sldChg chg="addSp delSp modSp mod">
        <pc:chgData name="Tami Corson" userId="17b03132-2f21-4edf-a2df-f25c30f43233" providerId="ADAL" clId="{6792B936-5997-41FF-9132-74CFA4A2F780}" dt="2022-03-21T23:40:35.126" v="1294" actId="3626"/>
        <pc:sldMkLst>
          <pc:docMk/>
          <pc:sldMk cId="2963563579" sldId="348"/>
        </pc:sldMkLst>
        <pc:spChg chg="add mod">
          <ac:chgData name="Tami Corson" userId="17b03132-2f21-4edf-a2df-f25c30f43233" providerId="ADAL" clId="{6792B936-5997-41FF-9132-74CFA4A2F780}" dt="2022-03-21T21:53:59.081" v="979"/>
          <ac:spMkLst>
            <pc:docMk/>
            <pc:sldMk cId="2963563579" sldId="348"/>
            <ac:spMk id="14" creationId="{314EDFE2-8825-44A8-A59E-C5A6A5FD2E50}"/>
          </ac:spMkLst>
        </pc:spChg>
        <pc:spChg chg="del mod">
          <ac:chgData name="Tami Corson" userId="17b03132-2f21-4edf-a2df-f25c30f43233" providerId="ADAL" clId="{6792B936-5997-41FF-9132-74CFA4A2F780}" dt="2022-03-21T21:52:45.362" v="962" actId="478"/>
          <ac:spMkLst>
            <pc:docMk/>
            <pc:sldMk cId="2963563579" sldId="348"/>
            <ac:spMk id="605" creationId="{00000000-0000-0000-0000-000000000000}"/>
          </ac:spMkLst>
        </pc:spChg>
        <pc:spChg chg="mod">
          <ac:chgData name="Tami Corson" userId="17b03132-2f21-4edf-a2df-f25c30f43233" providerId="ADAL" clId="{6792B936-5997-41FF-9132-74CFA4A2F780}" dt="2022-03-21T23:40:35.126" v="1294" actId="3626"/>
          <ac:spMkLst>
            <pc:docMk/>
            <pc:sldMk cId="2963563579" sldId="348"/>
            <ac:spMk id="609" creationId="{00000000-0000-0000-0000-000000000000}"/>
          </ac:spMkLst>
        </pc:spChg>
      </pc:sldChg>
      <pc:sldChg chg="del">
        <pc:chgData name="Tami Corson" userId="17b03132-2f21-4edf-a2df-f25c30f43233" providerId="ADAL" clId="{6792B936-5997-41FF-9132-74CFA4A2F780}" dt="2022-03-21T19:57:25.633" v="578" actId="47"/>
        <pc:sldMkLst>
          <pc:docMk/>
          <pc:sldMk cId="3993415409" sldId="349"/>
        </pc:sldMkLst>
      </pc:sldChg>
      <pc:sldChg chg="modSp mod">
        <pc:chgData name="Tami Corson" userId="17b03132-2f21-4edf-a2df-f25c30f43233" providerId="ADAL" clId="{6792B936-5997-41FF-9132-74CFA4A2F780}" dt="2022-03-22T16:19:59.200" v="4103" actId="20577"/>
        <pc:sldMkLst>
          <pc:docMk/>
          <pc:sldMk cId="754587697" sldId="352"/>
        </pc:sldMkLst>
        <pc:graphicFrameChg chg="modGraphic">
          <ac:chgData name="Tami Corson" userId="17b03132-2f21-4edf-a2df-f25c30f43233" providerId="ADAL" clId="{6792B936-5997-41FF-9132-74CFA4A2F780}" dt="2022-03-22T16:19:59.200" v="4103" actId="20577"/>
          <ac:graphicFrameMkLst>
            <pc:docMk/>
            <pc:sldMk cId="754587697" sldId="352"/>
            <ac:graphicFrameMk id="23" creationId="{F4A84191-3BFB-48AA-A343-19DE4EA3891C}"/>
          </ac:graphicFrameMkLst>
        </pc:graphicFrameChg>
      </pc:sldChg>
      <pc:sldChg chg="modSp mod">
        <pc:chgData name="Tami Corson" userId="17b03132-2f21-4edf-a2df-f25c30f43233" providerId="ADAL" clId="{6792B936-5997-41FF-9132-74CFA4A2F780}" dt="2022-03-22T16:18:57.723" v="4086" actId="313"/>
        <pc:sldMkLst>
          <pc:docMk/>
          <pc:sldMk cId="2527603155" sldId="353"/>
        </pc:sldMkLst>
        <pc:spChg chg="mod">
          <ac:chgData name="Tami Corson" userId="17b03132-2f21-4edf-a2df-f25c30f43233" providerId="ADAL" clId="{6792B936-5997-41FF-9132-74CFA4A2F780}" dt="2022-03-22T14:07:20.442" v="1798" actId="20577"/>
          <ac:spMkLst>
            <pc:docMk/>
            <pc:sldMk cId="2527603155" sldId="353"/>
            <ac:spMk id="2" creationId="{608E690F-8CF2-4ABB-BEF4-B86D373DAFAD}"/>
          </ac:spMkLst>
        </pc:spChg>
        <pc:spChg chg="mod">
          <ac:chgData name="Tami Corson" userId="17b03132-2f21-4edf-a2df-f25c30f43233" providerId="ADAL" clId="{6792B936-5997-41FF-9132-74CFA4A2F780}" dt="2022-03-22T15:38:32.508" v="3408" actId="33524"/>
          <ac:spMkLst>
            <pc:docMk/>
            <pc:sldMk cId="2527603155" sldId="353"/>
            <ac:spMk id="15" creationId="{1F301F17-C695-479F-8C1E-0A4D7A9FF58B}"/>
          </ac:spMkLst>
        </pc:spChg>
        <pc:spChg chg="mod">
          <ac:chgData name="Tami Corson" userId="17b03132-2f21-4edf-a2df-f25c30f43233" providerId="ADAL" clId="{6792B936-5997-41FF-9132-74CFA4A2F780}" dt="2022-03-22T16:18:57.723" v="4086" actId="313"/>
          <ac:spMkLst>
            <pc:docMk/>
            <pc:sldMk cId="2527603155" sldId="353"/>
            <ac:spMk id="17" creationId="{1D0F6373-7FF4-F64B-A9FB-FA5D91D110D1}"/>
          </ac:spMkLst>
        </pc:spChg>
      </pc:sldChg>
      <pc:sldChg chg="modSp mod">
        <pc:chgData name="Tami Corson" userId="17b03132-2f21-4edf-a2df-f25c30f43233" providerId="ADAL" clId="{6792B936-5997-41FF-9132-74CFA4A2F780}" dt="2022-03-21T21:57:41.215" v="1042" actId="20577"/>
        <pc:sldMkLst>
          <pc:docMk/>
          <pc:sldMk cId="3576351713" sldId="354"/>
        </pc:sldMkLst>
        <pc:spChg chg="mod">
          <ac:chgData name="Tami Corson" userId="17b03132-2f21-4edf-a2df-f25c30f43233" providerId="ADAL" clId="{6792B936-5997-41FF-9132-74CFA4A2F780}" dt="2022-03-21T21:50:54.381" v="940" actId="6549"/>
          <ac:spMkLst>
            <pc:docMk/>
            <pc:sldMk cId="3576351713" sldId="354"/>
            <ac:spMk id="601" creationId="{00000000-0000-0000-0000-000000000000}"/>
          </ac:spMkLst>
        </pc:spChg>
        <pc:spChg chg="mod">
          <ac:chgData name="Tami Corson" userId="17b03132-2f21-4edf-a2df-f25c30f43233" providerId="ADAL" clId="{6792B936-5997-41FF-9132-74CFA4A2F780}" dt="2022-03-21T21:57:41.215" v="1042" actId="20577"/>
          <ac:spMkLst>
            <pc:docMk/>
            <pc:sldMk cId="3576351713" sldId="354"/>
            <ac:spMk id="605" creationId="{00000000-0000-0000-0000-000000000000}"/>
          </ac:spMkLst>
        </pc:spChg>
        <pc:spChg chg="mod">
          <ac:chgData name="Tami Corson" userId="17b03132-2f21-4edf-a2df-f25c30f43233" providerId="ADAL" clId="{6792B936-5997-41FF-9132-74CFA4A2F780}" dt="2022-03-21T21:51:13.562" v="959" actId="6549"/>
          <ac:spMkLst>
            <pc:docMk/>
            <pc:sldMk cId="3576351713" sldId="354"/>
            <ac:spMk id="609" creationId="{00000000-0000-0000-0000-000000000000}"/>
          </ac:spMkLst>
        </pc:spChg>
      </pc:sldChg>
      <pc:sldChg chg="delSp modSp mod">
        <pc:chgData name="Tami Corson" userId="17b03132-2f21-4edf-a2df-f25c30f43233" providerId="ADAL" clId="{6792B936-5997-41FF-9132-74CFA4A2F780}" dt="2022-03-22T13:12:29.891" v="1422" actId="478"/>
        <pc:sldMkLst>
          <pc:docMk/>
          <pc:sldMk cId="2060296423" sldId="355"/>
        </pc:sldMkLst>
        <pc:spChg chg="del">
          <ac:chgData name="Tami Corson" userId="17b03132-2f21-4edf-a2df-f25c30f43233" providerId="ADAL" clId="{6792B936-5997-41FF-9132-74CFA4A2F780}" dt="2022-03-22T13:12:29.891" v="1422" actId="478"/>
          <ac:spMkLst>
            <pc:docMk/>
            <pc:sldMk cId="2060296423" sldId="355"/>
            <ac:spMk id="18" creationId="{C5BCFE83-CBCC-4D51-BA66-8FF2BB039877}"/>
          </ac:spMkLst>
        </pc:spChg>
        <pc:spChg chg="del">
          <ac:chgData name="Tami Corson" userId="17b03132-2f21-4edf-a2df-f25c30f43233" providerId="ADAL" clId="{6792B936-5997-41FF-9132-74CFA4A2F780}" dt="2022-03-22T13:12:24.727" v="1421" actId="478"/>
          <ac:spMkLst>
            <pc:docMk/>
            <pc:sldMk cId="2060296423" sldId="355"/>
            <ac:spMk id="22" creationId="{2E0A430B-B95F-4458-B082-FFAE184EA847}"/>
          </ac:spMkLst>
        </pc:spChg>
        <pc:spChg chg="mod">
          <ac:chgData name="Tami Corson" userId="17b03132-2f21-4edf-a2df-f25c30f43233" providerId="ADAL" clId="{6792B936-5997-41FF-9132-74CFA4A2F780}" dt="2022-03-21T21:43:17.689" v="697" actId="6549"/>
          <ac:spMkLst>
            <pc:docMk/>
            <pc:sldMk cId="2060296423" sldId="355"/>
            <ac:spMk id="620" creationId="{00000000-0000-0000-0000-000000000000}"/>
          </ac:spMkLst>
        </pc:spChg>
      </pc:sldChg>
      <pc:sldChg chg="delSp modSp mod">
        <pc:chgData name="Tami Corson" userId="17b03132-2f21-4edf-a2df-f25c30f43233" providerId="ADAL" clId="{6792B936-5997-41FF-9132-74CFA4A2F780}" dt="2022-03-22T13:17:54.653" v="1472" actId="478"/>
        <pc:sldMkLst>
          <pc:docMk/>
          <pc:sldMk cId="4017139295" sldId="356"/>
        </pc:sldMkLst>
        <pc:spChg chg="del">
          <ac:chgData name="Tami Corson" userId="17b03132-2f21-4edf-a2df-f25c30f43233" providerId="ADAL" clId="{6792B936-5997-41FF-9132-74CFA4A2F780}" dt="2022-03-22T13:17:54.653" v="1472" actId="478"/>
          <ac:spMkLst>
            <pc:docMk/>
            <pc:sldMk cId="4017139295" sldId="356"/>
            <ac:spMk id="4" creationId="{9FF45032-DA33-42F9-A2D7-C8472B5476B9}"/>
          </ac:spMkLst>
        </pc:spChg>
        <pc:spChg chg="del">
          <ac:chgData name="Tami Corson" userId="17b03132-2f21-4edf-a2df-f25c30f43233" providerId="ADAL" clId="{6792B936-5997-41FF-9132-74CFA4A2F780}" dt="2022-03-22T13:14:47.815" v="1425" actId="478"/>
          <ac:spMkLst>
            <pc:docMk/>
            <pc:sldMk cId="4017139295" sldId="356"/>
            <ac:spMk id="13" creationId="{E0B97D5A-C3E6-46E9-ACE0-BD0966902C06}"/>
          </ac:spMkLst>
        </pc:spChg>
        <pc:spChg chg="mod">
          <ac:chgData name="Tami Corson" userId="17b03132-2f21-4edf-a2df-f25c30f43233" providerId="ADAL" clId="{6792B936-5997-41FF-9132-74CFA4A2F780}" dt="2022-03-22T13:17:27.180" v="1468" actId="1076"/>
          <ac:spMkLst>
            <pc:docMk/>
            <pc:sldMk cId="4017139295" sldId="356"/>
            <ac:spMk id="15" creationId="{E539B02A-95E4-440D-9E22-F138643D2C89}"/>
          </ac:spMkLst>
        </pc:spChg>
        <pc:spChg chg="mod">
          <ac:chgData name="Tami Corson" userId="17b03132-2f21-4edf-a2df-f25c30f43233" providerId="ADAL" clId="{6792B936-5997-41FF-9132-74CFA4A2F780}" dt="2022-03-22T13:17:19.745" v="1467" actId="12789"/>
          <ac:spMkLst>
            <pc:docMk/>
            <pc:sldMk cId="4017139295" sldId="356"/>
            <ac:spMk id="16" creationId="{F29BBF2D-5F15-45EC-BE2A-14ABF1E18DB5}"/>
          </ac:spMkLst>
        </pc:spChg>
        <pc:spChg chg="del">
          <ac:chgData name="Tami Corson" userId="17b03132-2f21-4edf-a2df-f25c30f43233" providerId="ADAL" clId="{6792B936-5997-41FF-9132-74CFA4A2F780}" dt="2022-03-22T13:16:14.569" v="1465" actId="478"/>
          <ac:spMkLst>
            <pc:docMk/>
            <pc:sldMk cId="4017139295" sldId="356"/>
            <ac:spMk id="605" creationId="{00000000-0000-0000-0000-000000000000}"/>
          </ac:spMkLst>
        </pc:spChg>
        <pc:spChg chg="del mod">
          <ac:chgData name="Tami Corson" userId="17b03132-2f21-4edf-a2df-f25c30f43233" providerId="ADAL" clId="{6792B936-5997-41FF-9132-74CFA4A2F780}" dt="2022-03-22T13:15:32.594" v="1462" actId="478"/>
          <ac:spMkLst>
            <pc:docMk/>
            <pc:sldMk cId="4017139295" sldId="356"/>
            <ac:spMk id="609" creationId="{00000000-0000-0000-0000-000000000000}"/>
          </ac:spMkLst>
        </pc:spChg>
      </pc:sldChg>
      <pc:sldChg chg="delSp modSp mod">
        <pc:chgData name="Tami Corson" userId="17b03132-2f21-4edf-a2df-f25c30f43233" providerId="ADAL" clId="{6792B936-5997-41FF-9132-74CFA4A2F780}" dt="2022-03-22T13:17:49.999" v="1471" actId="478"/>
        <pc:sldMkLst>
          <pc:docMk/>
          <pc:sldMk cId="73800528" sldId="357"/>
        </pc:sldMkLst>
        <pc:spChg chg="del">
          <ac:chgData name="Tami Corson" userId="17b03132-2f21-4edf-a2df-f25c30f43233" providerId="ADAL" clId="{6792B936-5997-41FF-9132-74CFA4A2F780}" dt="2022-03-22T13:17:49.999" v="1471" actId="478"/>
          <ac:spMkLst>
            <pc:docMk/>
            <pc:sldMk cId="73800528" sldId="357"/>
            <ac:spMk id="4" creationId="{9FF45032-DA33-42F9-A2D7-C8472B5476B9}"/>
          </ac:spMkLst>
        </pc:spChg>
        <pc:spChg chg="del">
          <ac:chgData name="Tami Corson" userId="17b03132-2f21-4edf-a2df-f25c30f43233" providerId="ADAL" clId="{6792B936-5997-41FF-9132-74CFA4A2F780}" dt="2022-03-22T13:15:53.412" v="1464" actId="478"/>
          <ac:spMkLst>
            <pc:docMk/>
            <pc:sldMk cId="73800528" sldId="357"/>
            <ac:spMk id="13" creationId="{E0B97D5A-C3E6-46E9-ACE0-BD0966902C06}"/>
          </ac:spMkLst>
        </pc:spChg>
        <pc:spChg chg="mod">
          <ac:chgData name="Tami Corson" userId="17b03132-2f21-4edf-a2df-f25c30f43233" providerId="ADAL" clId="{6792B936-5997-41FF-9132-74CFA4A2F780}" dt="2022-03-22T13:17:40.140" v="1470" actId="1076"/>
          <ac:spMkLst>
            <pc:docMk/>
            <pc:sldMk cId="73800528" sldId="357"/>
            <ac:spMk id="15" creationId="{E539B02A-95E4-440D-9E22-F138643D2C89}"/>
          </ac:spMkLst>
        </pc:spChg>
        <pc:spChg chg="mod">
          <ac:chgData name="Tami Corson" userId="17b03132-2f21-4edf-a2df-f25c30f43233" providerId="ADAL" clId="{6792B936-5997-41FF-9132-74CFA4A2F780}" dt="2022-03-22T13:17:33.571" v="1469" actId="12789"/>
          <ac:spMkLst>
            <pc:docMk/>
            <pc:sldMk cId="73800528" sldId="357"/>
            <ac:spMk id="16" creationId="{F29BBF2D-5F15-45EC-BE2A-14ABF1E18DB5}"/>
          </ac:spMkLst>
        </pc:spChg>
        <pc:spChg chg="del">
          <ac:chgData name="Tami Corson" userId="17b03132-2f21-4edf-a2df-f25c30f43233" providerId="ADAL" clId="{6792B936-5997-41FF-9132-74CFA4A2F780}" dt="2022-03-22T13:16:20.079" v="1466" actId="478"/>
          <ac:spMkLst>
            <pc:docMk/>
            <pc:sldMk cId="73800528" sldId="357"/>
            <ac:spMk id="605" creationId="{00000000-0000-0000-0000-000000000000}"/>
          </ac:spMkLst>
        </pc:spChg>
        <pc:spChg chg="del">
          <ac:chgData name="Tami Corson" userId="17b03132-2f21-4edf-a2df-f25c30f43233" providerId="ADAL" clId="{6792B936-5997-41FF-9132-74CFA4A2F780}" dt="2022-03-22T13:15:44.760" v="1463" actId="478"/>
          <ac:spMkLst>
            <pc:docMk/>
            <pc:sldMk cId="73800528" sldId="357"/>
            <ac:spMk id="609" creationId="{00000000-0000-0000-0000-000000000000}"/>
          </ac:spMkLst>
        </pc:spChg>
      </pc:sldChg>
    </pc:docChg>
  </pc:docChgLst>
  <pc:docChgLst>
    <pc:chgData name="Guest User" userId="S::urn:spo:anon#c437c167f923f422528aee73b5e70e5726914197d2dec7f210a84ae49e8498a7::" providerId="AD" clId="Web-{83510495-323B-D8B4-B9E5-51C3CF2FAE86}"/>
    <pc:docChg chg="modSld">
      <pc:chgData name="Guest User" userId="S::urn:spo:anon#c437c167f923f422528aee73b5e70e5726914197d2dec7f210a84ae49e8498a7::" providerId="AD" clId="Web-{83510495-323B-D8B4-B9E5-51C3CF2FAE86}" dt="2022-04-04T18:51:49.126" v="6" actId="1076"/>
      <pc:docMkLst>
        <pc:docMk/>
      </pc:docMkLst>
      <pc:sldChg chg="addSp delSp modSp">
        <pc:chgData name="Guest User" userId="S::urn:spo:anon#c437c167f923f422528aee73b5e70e5726914197d2dec7f210a84ae49e8498a7::" providerId="AD" clId="Web-{83510495-323B-D8B4-B9E5-51C3CF2FAE86}" dt="2022-04-04T18:51:49.126" v="6" actId="1076"/>
        <pc:sldMkLst>
          <pc:docMk/>
          <pc:sldMk cId="1209993513" sldId="338"/>
        </pc:sldMkLst>
        <pc:spChg chg="del mod">
          <ac:chgData name="Guest User" userId="S::urn:spo:anon#c437c167f923f422528aee73b5e70e5726914197d2dec7f210a84ae49e8498a7::" providerId="AD" clId="Web-{83510495-323B-D8B4-B9E5-51C3CF2FAE86}" dt="2022-04-04T18:51:33.594" v="2"/>
          <ac:spMkLst>
            <pc:docMk/>
            <pc:sldMk cId="1209993513" sldId="338"/>
            <ac:spMk id="5" creationId="{0EC3D609-2E88-5746-8FAF-8AE853A004A1}"/>
          </ac:spMkLst>
        </pc:spChg>
        <pc:picChg chg="del">
          <ac:chgData name="Guest User" userId="S::urn:spo:anon#c437c167f923f422528aee73b5e70e5726914197d2dec7f210a84ae49e8498a7::" providerId="AD" clId="Web-{83510495-323B-D8B4-B9E5-51C3CF2FAE86}" dt="2022-04-04T18:51:30.828" v="0"/>
          <ac:picMkLst>
            <pc:docMk/>
            <pc:sldMk cId="1209993513" sldId="338"/>
            <ac:picMk id="4" creationId="{E28D81F6-4FB1-0216-2B96-210D9B8C15D6}"/>
          </ac:picMkLst>
        </pc:picChg>
        <pc:picChg chg="add mod">
          <ac:chgData name="Guest User" userId="S::urn:spo:anon#c437c167f923f422528aee73b5e70e5726914197d2dec7f210a84ae49e8498a7::" providerId="AD" clId="Web-{83510495-323B-D8B4-B9E5-51C3CF2FAE86}" dt="2022-04-04T18:51:49.126" v="6" actId="1076"/>
          <ac:picMkLst>
            <pc:docMk/>
            <pc:sldMk cId="1209993513" sldId="338"/>
            <ac:picMk id="6" creationId="{6018BBB5-6794-AEE2-EA2A-9D3DB1FBF604}"/>
          </ac:picMkLst>
        </pc:picChg>
      </pc:sldChg>
    </pc:docChg>
  </pc:docChgLst>
  <pc:docChgLst>
    <pc:chgData name="Guest User" userId="S::urn:spo:anon#bc72e6c931b442e1b83d9d7baffb28dcb7bee849e2d9a5e2bb7cc25170a1c113::" providerId="AD" clId="Web-{163C37D0-71A2-F8E9-BF06-C0488EA3DAB2}"/>
    <pc:docChg chg="addSld delSld modSld">
      <pc:chgData name="Guest User" userId="S::urn:spo:anon#bc72e6c931b442e1b83d9d7baffb28dcb7bee849e2d9a5e2bb7cc25170a1c113::" providerId="AD" clId="Web-{163C37D0-71A2-F8E9-BF06-C0488EA3DAB2}" dt="2022-03-21T14:32:24.844" v="8"/>
      <pc:docMkLst>
        <pc:docMk/>
      </pc:docMkLst>
      <pc:sldChg chg="modSp">
        <pc:chgData name="Guest User" userId="S::urn:spo:anon#bc72e6c931b442e1b83d9d7baffb28dcb7bee849e2d9a5e2bb7cc25170a1c113::" providerId="AD" clId="Web-{163C37D0-71A2-F8E9-BF06-C0488EA3DAB2}" dt="2022-03-21T14:31:35.452" v="3" actId="20577"/>
        <pc:sldMkLst>
          <pc:docMk/>
          <pc:sldMk cId="0" sldId="267"/>
        </pc:sldMkLst>
        <pc:spChg chg="mod">
          <ac:chgData name="Guest User" userId="S::urn:spo:anon#bc72e6c931b442e1b83d9d7baffb28dcb7bee849e2d9a5e2bb7cc25170a1c113::" providerId="AD" clId="Web-{163C37D0-71A2-F8E9-BF06-C0488EA3DAB2}" dt="2022-03-21T14:31:35.452" v="3" actId="20577"/>
          <ac:spMkLst>
            <pc:docMk/>
            <pc:sldMk cId="0" sldId="267"/>
            <ac:spMk id="6" creationId="{D1B67900-A55A-49E3-9F1F-6FA28D277895}"/>
          </ac:spMkLst>
        </pc:spChg>
      </pc:sldChg>
      <pc:sldChg chg="addSp delSp modSp new del">
        <pc:chgData name="Guest User" userId="S::urn:spo:anon#bc72e6c931b442e1b83d9d7baffb28dcb7bee849e2d9a5e2bb7cc25170a1c113::" providerId="AD" clId="Web-{163C37D0-71A2-F8E9-BF06-C0488EA3DAB2}" dt="2022-03-21T14:32:24.844" v="8"/>
        <pc:sldMkLst>
          <pc:docMk/>
          <pc:sldMk cId="514002723" sldId="353"/>
        </pc:sldMkLst>
        <pc:picChg chg="add del mod">
          <ac:chgData name="Guest User" userId="S::urn:spo:anon#bc72e6c931b442e1b83d9d7baffb28dcb7bee849e2d9a5e2bb7cc25170a1c113::" providerId="AD" clId="Web-{163C37D0-71A2-F8E9-BF06-C0488EA3DAB2}" dt="2022-03-21T14:32:19.359" v="7"/>
          <ac:picMkLst>
            <pc:docMk/>
            <pc:sldMk cId="514002723" sldId="353"/>
            <ac:picMk id="6" creationId="{A49311A1-347E-4FE5-ADE3-2A57FCD9C814}"/>
          </ac:picMkLst>
        </pc:picChg>
      </pc:sldChg>
    </pc:docChg>
  </pc:docChgLst>
  <pc:docChgLst>
    <pc:chgData name="Guest User" userId="S::urn:spo:anon#6bbc8ad3065cd11d92081721a572e8f9c9b85cc64084c82913bb48609c033f69::" providerId="AD" clId="Web-{9E218140-24F6-CE53-E868-22B9CB73B674}"/>
    <pc:docChg chg="modSld">
      <pc:chgData name="Guest User" userId="S::urn:spo:anon#6bbc8ad3065cd11d92081721a572e8f9c9b85cc64084c82913bb48609c033f69::" providerId="AD" clId="Web-{9E218140-24F6-CE53-E868-22B9CB73B674}" dt="2022-04-19T15:08:28.239" v="59" actId="20577"/>
      <pc:docMkLst>
        <pc:docMk/>
      </pc:docMkLst>
      <pc:sldChg chg="addSp modSp">
        <pc:chgData name="Guest User" userId="S::urn:spo:anon#6bbc8ad3065cd11d92081721a572e8f9c9b85cc64084c82913bb48609c033f69::" providerId="AD" clId="Web-{9E218140-24F6-CE53-E868-22B9CB73B674}" dt="2022-04-19T15:08:28.239" v="59" actId="20577"/>
        <pc:sldMkLst>
          <pc:docMk/>
          <pc:sldMk cId="1746873201" sldId="380"/>
        </pc:sldMkLst>
        <pc:spChg chg="add mod">
          <ac:chgData name="Guest User" userId="S::urn:spo:anon#6bbc8ad3065cd11d92081721a572e8f9c9b85cc64084c82913bb48609c033f69::" providerId="AD" clId="Web-{9E218140-24F6-CE53-E868-22B9CB73B674}" dt="2022-04-19T15:08:28.239" v="59" actId="20577"/>
          <ac:spMkLst>
            <pc:docMk/>
            <pc:sldMk cId="1746873201" sldId="380"/>
            <ac:spMk id="2" creationId="{5E9E9411-384E-A6A3-41A6-F26CB141ADA6}"/>
          </ac:spMkLst>
        </pc:spChg>
      </pc:sldChg>
    </pc:docChg>
  </pc:docChgLst>
  <pc:docChgLst>
    <pc:chgData name="Guest User" userId="S::urn:spo:anon#6bbc8ad3065cd11d92081721a572e8f9c9b85cc64084c82913bb48609c033f69::" providerId="AD" clId="Web-{3B43DDE6-6292-2CF6-7BD2-C88E71982351}"/>
    <pc:docChg chg="modSld">
      <pc:chgData name="Guest User" userId="S::urn:spo:anon#6bbc8ad3065cd11d92081721a572e8f9c9b85cc64084c82913bb48609c033f69::" providerId="AD" clId="Web-{3B43DDE6-6292-2CF6-7BD2-C88E71982351}" dt="2022-04-19T12:31:06.674" v="66"/>
      <pc:docMkLst>
        <pc:docMk/>
      </pc:docMkLst>
      <pc:sldChg chg="delSp modSp">
        <pc:chgData name="Guest User" userId="S::urn:spo:anon#6bbc8ad3065cd11d92081721a572e8f9c9b85cc64084c82913bb48609c033f69::" providerId="AD" clId="Web-{3B43DDE6-6292-2CF6-7BD2-C88E71982351}" dt="2022-04-19T12:22:12.770" v="52"/>
        <pc:sldMkLst>
          <pc:docMk/>
          <pc:sldMk cId="0" sldId="264"/>
        </pc:sldMkLst>
        <pc:spChg chg="del mod">
          <ac:chgData name="Guest User" userId="S::urn:spo:anon#6bbc8ad3065cd11d92081721a572e8f9c9b85cc64084c82913bb48609c033f69::" providerId="AD" clId="Web-{3B43DDE6-6292-2CF6-7BD2-C88E71982351}" dt="2022-04-19T12:22:12.770" v="52"/>
          <ac:spMkLst>
            <pc:docMk/>
            <pc:sldMk cId="0" sldId="264"/>
            <ac:spMk id="2" creationId="{307C9396-DD9E-444F-BAD7-0283934E741D}"/>
          </ac:spMkLst>
        </pc:spChg>
        <pc:spChg chg="mod">
          <ac:chgData name="Guest User" userId="S::urn:spo:anon#6bbc8ad3065cd11d92081721a572e8f9c9b85cc64084c82913bb48609c033f69::" providerId="AD" clId="Web-{3B43DDE6-6292-2CF6-7BD2-C88E71982351}" dt="2022-04-19T12:22:04.691" v="51" actId="20577"/>
          <ac:spMkLst>
            <pc:docMk/>
            <pc:sldMk cId="0" sldId="264"/>
            <ac:spMk id="30" creationId="{100AEE39-1F64-4466-ACEE-5B01ED088536}"/>
          </ac:spMkLst>
        </pc:spChg>
      </pc:sldChg>
      <pc:sldChg chg="delSp modSp">
        <pc:chgData name="Guest User" userId="S::urn:spo:anon#6bbc8ad3065cd11d92081721a572e8f9c9b85cc64084c82913bb48609c033f69::" providerId="AD" clId="Web-{3B43DDE6-6292-2CF6-7BD2-C88E71982351}" dt="2022-04-19T12:30:21.407" v="65"/>
        <pc:sldMkLst>
          <pc:docMk/>
          <pc:sldMk cId="3210015788" sldId="303"/>
        </pc:sldMkLst>
        <pc:spChg chg="del">
          <ac:chgData name="Guest User" userId="S::urn:spo:anon#6bbc8ad3065cd11d92081721a572e8f9c9b85cc64084c82913bb48609c033f69::" providerId="AD" clId="Web-{3B43DDE6-6292-2CF6-7BD2-C88E71982351}" dt="2022-04-19T12:30:21.407" v="65"/>
          <ac:spMkLst>
            <pc:docMk/>
            <pc:sldMk cId="3210015788" sldId="303"/>
            <ac:spMk id="9" creationId="{435E219A-B1AB-3920-A7D4-1979B1168D65}"/>
          </ac:spMkLst>
        </pc:spChg>
        <pc:spChg chg="mod">
          <ac:chgData name="Guest User" userId="S::urn:spo:anon#6bbc8ad3065cd11d92081721a572e8f9c9b85cc64084c82913bb48609c033f69::" providerId="AD" clId="Web-{3B43DDE6-6292-2CF6-7BD2-C88E71982351}" dt="2022-04-19T12:30:12.485" v="64" actId="20577"/>
          <ac:spMkLst>
            <pc:docMk/>
            <pc:sldMk cId="3210015788" sldId="303"/>
            <ac:spMk id="482" creationId="{00000000-0000-0000-0000-000000000000}"/>
          </ac:spMkLst>
        </pc:spChg>
      </pc:sldChg>
      <pc:sldChg chg="delSp modSp">
        <pc:chgData name="Guest User" userId="S::urn:spo:anon#6bbc8ad3065cd11d92081721a572e8f9c9b85cc64084c82913bb48609c033f69::" providerId="AD" clId="Web-{3B43DDE6-6292-2CF6-7BD2-C88E71982351}" dt="2022-04-19T12:26:25.276" v="60"/>
        <pc:sldMkLst>
          <pc:docMk/>
          <pc:sldMk cId="604654217" sldId="375"/>
        </pc:sldMkLst>
        <pc:spChg chg="del mod">
          <ac:chgData name="Guest User" userId="S::urn:spo:anon#6bbc8ad3065cd11d92081721a572e8f9c9b85cc64084c82913bb48609c033f69::" providerId="AD" clId="Web-{3B43DDE6-6292-2CF6-7BD2-C88E71982351}" dt="2022-04-19T12:26:25.276" v="60"/>
          <ac:spMkLst>
            <pc:docMk/>
            <pc:sldMk cId="604654217" sldId="375"/>
            <ac:spMk id="3" creationId="{F03BF3E3-2FF5-0140-4700-BF9F0847A0B5}"/>
          </ac:spMkLst>
        </pc:spChg>
      </pc:sldChg>
      <pc:sldChg chg="delSp">
        <pc:chgData name="Guest User" userId="S::urn:spo:anon#6bbc8ad3065cd11d92081721a572e8f9c9b85cc64084c82913bb48609c033f69::" providerId="AD" clId="Web-{3B43DDE6-6292-2CF6-7BD2-C88E71982351}" dt="2022-04-19T12:31:06.674" v="66"/>
        <pc:sldMkLst>
          <pc:docMk/>
          <pc:sldMk cId="108984178" sldId="376"/>
        </pc:sldMkLst>
        <pc:spChg chg="del">
          <ac:chgData name="Guest User" userId="S::urn:spo:anon#6bbc8ad3065cd11d92081721a572e8f9c9b85cc64084c82913bb48609c033f69::" providerId="AD" clId="Web-{3B43DDE6-6292-2CF6-7BD2-C88E71982351}" dt="2022-04-19T12:31:06.674" v="66"/>
          <ac:spMkLst>
            <pc:docMk/>
            <pc:sldMk cId="108984178" sldId="376"/>
            <ac:spMk id="6" creationId="{0AD4B1BE-EA5F-46E2-BA43-352AFB870781}"/>
          </ac:spMkLst>
        </pc:spChg>
      </pc:sldChg>
      <pc:sldChg chg="modSp">
        <pc:chgData name="Guest User" userId="S::urn:spo:anon#6bbc8ad3065cd11d92081721a572e8f9c9b85cc64084c82913bb48609c033f69::" providerId="AD" clId="Web-{3B43DDE6-6292-2CF6-7BD2-C88E71982351}" dt="2022-04-19T12:29:51.797" v="62"/>
        <pc:sldMkLst>
          <pc:docMk/>
          <pc:sldMk cId="4163644480" sldId="383"/>
        </pc:sldMkLst>
        <pc:graphicFrameChg chg="mod modGraphic">
          <ac:chgData name="Guest User" userId="S::urn:spo:anon#6bbc8ad3065cd11d92081721a572e8f9c9b85cc64084c82913bb48609c033f69::" providerId="AD" clId="Web-{3B43DDE6-6292-2CF6-7BD2-C88E71982351}" dt="2022-04-19T12:29:51.797" v="62"/>
          <ac:graphicFrameMkLst>
            <pc:docMk/>
            <pc:sldMk cId="4163644480" sldId="383"/>
            <ac:graphicFrameMk id="694" creationId="{00000000-0000-0000-0000-000000000000}"/>
          </ac:graphicFrameMkLst>
        </pc:graphicFrameChg>
      </pc:sldChg>
      <pc:sldChg chg="delSp">
        <pc:chgData name="Guest User" userId="S::urn:spo:anon#6bbc8ad3065cd11d92081721a572e8f9c9b85cc64084c82913bb48609c033f69::" providerId="AD" clId="Web-{3B43DDE6-6292-2CF6-7BD2-C88E71982351}" dt="2022-04-19T12:19:38.422" v="0"/>
        <pc:sldMkLst>
          <pc:docMk/>
          <pc:sldMk cId="2988308840" sldId="386"/>
        </pc:sldMkLst>
        <pc:spChg chg="del">
          <ac:chgData name="Guest User" userId="S::urn:spo:anon#6bbc8ad3065cd11d92081721a572e8f9c9b85cc64084c82913bb48609c033f69::" providerId="AD" clId="Web-{3B43DDE6-6292-2CF6-7BD2-C88E71982351}" dt="2022-04-19T12:19:38.422" v="0"/>
          <ac:spMkLst>
            <pc:docMk/>
            <pc:sldMk cId="2988308840" sldId="386"/>
            <ac:spMk id="5" creationId="{E6EE69E3-DAD6-10C9-6D8E-4FEB9094BE3B}"/>
          </ac:spMkLst>
        </pc:spChg>
      </pc:sldChg>
      <pc:sldChg chg="delSp modSp">
        <pc:chgData name="Guest User" userId="S::urn:spo:anon#6bbc8ad3065cd11d92081721a572e8f9c9b85cc64084c82913bb48609c033f69::" providerId="AD" clId="Web-{3B43DDE6-6292-2CF6-7BD2-C88E71982351}" dt="2022-04-19T12:25:54.260" v="58" actId="1076"/>
        <pc:sldMkLst>
          <pc:docMk/>
          <pc:sldMk cId="2764582375" sldId="387"/>
        </pc:sldMkLst>
        <pc:spChg chg="del">
          <ac:chgData name="Guest User" userId="S::urn:spo:anon#6bbc8ad3065cd11d92081721a572e8f9c9b85cc64084c82913bb48609c033f69::" providerId="AD" clId="Web-{3B43DDE6-6292-2CF6-7BD2-C88E71982351}" dt="2022-04-19T12:24:15.648" v="53"/>
          <ac:spMkLst>
            <pc:docMk/>
            <pc:sldMk cId="2764582375" sldId="387"/>
            <ac:spMk id="2" creationId="{07D4471E-262B-6FAA-FD1D-CFE365054A86}"/>
          </ac:spMkLst>
        </pc:spChg>
        <pc:spChg chg="mod">
          <ac:chgData name="Guest User" userId="S::urn:spo:anon#6bbc8ad3065cd11d92081721a572e8f9c9b85cc64084c82913bb48609c033f69::" providerId="AD" clId="Web-{3B43DDE6-6292-2CF6-7BD2-C88E71982351}" dt="2022-04-19T12:25:54.260" v="58" actId="1076"/>
          <ac:spMkLst>
            <pc:docMk/>
            <pc:sldMk cId="2764582375" sldId="387"/>
            <ac:spMk id="41" creationId="{3B6580CA-499D-CC3F-919D-5AA5927A4604}"/>
          </ac:spMkLst>
        </pc:spChg>
        <pc:spChg chg="mod">
          <ac:chgData name="Guest User" userId="S::urn:spo:anon#6bbc8ad3065cd11d92081721a572e8f9c9b85cc64084c82913bb48609c033f69::" providerId="AD" clId="Web-{3B43DDE6-6292-2CF6-7BD2-C88E71982351}" dt="2022-04-19T12:25:05.712" v="54" actId="14100"/>
          <ac:spMkLst>
            <pc:docMk/>
            <pc:sldMk cId="2764582375" sldId="387"/>
            <ac:spMk id="68" creationId="{861BABA1-876C-78CE-7F83-46D5D21EA49D}"/>
          </ac:spMkLst>
        </pc:spChg>
      </pc:sldChg>
    </pc:docChg>
  </pc:docChgLst>
  <pc:docChgLst>
    <pc:chgData name="Guest User" userId="S::urn:spo:anon#92e0bee1a612af7c1256e6aaf3dc4ec07c4151a598866b418723ef47912f2c2d::" providerId="AD" clId="Web-{E9683B36-356A-251A-A7E5-5E651CC0E5E2}"/>
    <pc:docChg chg="delSld modSld">
      <pc:chgData name="Guest User" userId="S::urn:spo:anon#92e0bee1a612af7c1256e6aaf3dc4ec07c4151a598866b418723ef47912f2c2d::" providerId="AD" clId="Web-{E9683B36-356A-251A-A7E5-5E651CC0E5E2}" dt="2022-03-22T17:40:36.865" v="2819" actId="20577"/>
      <pc:docMkLst>
        <pc:docMk/>
      </pc:docMkLst>
      <pc:sldChg chg="delSp">
        <pc:chgData name="Guest User" userId="S::urn:spo:anon#92e0bee1a612af7c1256e6aaf3dc4ec07c4151a598866b418723ef47912f2c2d::" providerId="AD" clId="Web-{E9683B36-356A-251A-A7E5-5E651CC0E5E2}" dt="2022-03-22T05:19:12.666" v="0"/>
        <pc:sldMkLst>
          <pc:docMk/>
          <pc:sldMk cId="0" sldId="257"/>
        </pc:sldMkLst>
        <pc:spChg chg="del">
          <ac:chgData name="Guest User" userId="S::urn:spo:anon#92e0bee1a612af7c1256e6aaf3dc4ec07c4151a598866b418723ef47912f2c2d::" providerId="AD" clId="Web-{E9683B36-356A-251A-A7E5-5E651CC0E5E2}" dt="2022-03-22T05:19:12.666" v="0"/>
          <ac:spMkLst>
            <pc:docMk/>
            <pc:sldMk cId="0" sldId="257"/>
            <ac:spMk id="8" creationId="{658FBB6F-FDD7-4B3F-BBC3-FB5A47C4D7BD}"/>
          </ac:spMkLst>
        </pc:spChg>
      </pc:sldChg>
      <pc:sldChg chg="modSp">
        <pc:chgData name="Guest User" userId="S::urn:spo:anon#92e0bee1a612af7c1256e6aaf3dc4ec07c4151a598866b418723ef47912f2c2d::" providerId="AD" clId="Web-{E9683B36-356A-251A-A7E5-5E651CC0E5E2}" dt="2022-03-22T17:40:36.865" v="2819" actId="20577"/>
        <pc:sldMkLst>
          <pc:docMk/>
          <pc:sldMk cId="0" sldId="259"/>
        </pc:sldMkLst>
        <pc:spChg chg="mod">
          <ac:chgData name="Guest User" userId="S::urn:spo:anon#92e0bee1a612af7c1256e6aaf3dc4ec07c4151a598866b418723ef47912f2c2d::" providerId="AD" clId="Web-{E9683B36-356A-251A-A7E5-5E651CC0E5E2}" dt="2022-03-22T17:40:36.865" v="2819" actId="20577"/>
          <ac:spMkLst>
            <pc:docMk/>
            <pc:sldMk cId="0" sldId="259"/>
            <ac:spMk id="312" creationId="{00000000-0000-0000-0000-000000000000}"/>
          </ac:spMkLst>
        </pc:spChg>
      </pc:sldChg>
      <pc:sldChg chg="modSp">
        <pc:chgData name="Guest User" userId="S::urn:spo:anon#92e0bee1a612af7c1256e6aaf3dc4ec07c4151a598866b418723ef47912f2c2d::" providerId="AD" clId="Web-{E9683B36-356A-251A-A7E5-5E651CC0E5E2}" dt="2022-03-22T05:28:30.014" v="12" actId="20577"/>
        <pc:sldMkLst>
          <pc:docMk/>
          <pc:sldMk cId="0" sldId="262"/>
        </pc:sldMkLst>
        <pc:spChg chg="mod">
          <ac:chgData name="Guest User" userId="S::urn:spo:anon#92e0bee1a612af7c1256e6aaf3dc4ec07c4151a598866b418723ef47912f2c2d::" providerId="AD" clId="Web-{E9683B36-356A-251A-A7E5-5E651CC0E5E2}" dt="2022-03-22T05:28:30.014" v="12" actId="20577"/>
          <ac:spMkLst>
            <pc:docMk/>
            <pc:sldMk cId="0" sldId="262"/>
            <ac:spMk id="344" creationId="{00000000-0000-0000-0000-000000000000}"/>
          </ac:spMkLst>
        </pc:spChg>
      </pc:sldChg>
      <pc:sldChg chg="modSp">
        <pc:chgData name="Guest User" userId="S::urn:spo:anon#92e0bee1a612af7c1256e6aaf3dc4ec07c4151a598866b418723ef47912f2c2d::" providerId="AD" clId="Web-{E9683B36-356A-251A-A7E5-5E651CC0E5E2}" dt="2022-03-22T15:27:43.005" v="2798" actId="20577"/>
        <pc:sldMkLst>
          <pc:docMk/>
          <pc:sldMk cId="0" sldId="264"/>
        </pc:sldMkLst>
        <pc:spChg chg="mod">
          <ac:chgData name="Guest User" userId="S::urn:spo:anon#92e0bee1a612af7c1256e6aaf3dc4ec07c4151a598866b418723ef47912f2c2d::" providerId="AD" clId="Web-{E9683B36-356A-251A-A7E5-5E651CC0E5E2}" dt="2022-03-22T15:27:43.005" v="2798" actId="20577"/>
          <ac:spMkLst>
            <pc:docMk/>
            <pc:sldMk cId="0" sldId="264"/>
            <ac:spMk id="29" creationId="{CE4534C1-122C-4584-960F-B0117C9A488A}"/>
          </ac:spMkLst>
        </pc:spChg>
        <pc:spChg chg="mod">
          <ac:chgData name="Guest User" userId="S::urn:spo:anon#92e0bee1a612af7c1256e6aaf3dc4ec07c4151a598866b418723ef47912f2c2d::" providerId="AD" clId="Web-{E9683B36-356A-251A-A7E5-5E651CC0E5E2}" dt="2022-03-22T05:30:50.376" v="14" actId="20577"/>
          <ac:spMkLst>
            <pc:docMk/>
            <pc:sldMk cId="0" sldId="264"/>
            <ac:spMk id="30" creationId="{100AEE39-1F64-4466-ACEE-5B01ED088536}"/>
          </ac:spMkLst>
        </pc:spChg>
        <pc:spChg chg="mod">
          <ac:chgData name="Guest User" userId="S::urn:spo:anon#92e0bee1a612af7c1256e6aaf3dc4ec07c4151a598866b418723ef47912f2c2d::" providerId="AD" clId="Web-{E9683B36-356A-251A-A7E5-5E651CC0E5E2}" dt="2022-03-22T05:31:46.283" v="34" actId="20577"/>
          <ac:spMkLst>
            <pc:docMk/>
            <pc:sldMk cId="0" sldId="264"/>
            <ac:spMk id="472" creationId="{00000000-0000-0000-0000-000000000000}"/>
          </ac:spMkLst>
        </pc:spChg>
      </pc:sldChg>
      <pc:sldChg chg="addSp delSp modSp">
        <pc:chgData name="Guest User" userId="S::urn:spo:anon#92e0bee1a612af7c1256e6aaf3dc4ec07c4151a598866b418723ef47912f2c2d::" providerId="AD" clId="Web-{E9683B36-356A-251A-A7E5-5E651CC0E5E2}" dt="2022-03-22T15:30:12.715" v="2803"/>
        <pc:sldMkLst>
          <pc:docMk/>
          <pc:sldMk cId="0" sldId="267"/>
        </pc:sldMkLst>
        <pc:spChg chg="mod">
          <ac:chgData name="Guest User" userId="S::urn:spo:anon#92e0bee1a612af7c1256e6aaf3dc4ec07c4151a598866b418723ef47912f2c2d::" providerId="AD" clId="Web-{E9683B36-356A-251A-A7E5-5E651CC0E5E2}" dt="2022-03-22T06:11:33.991" v="2606" actId="20577"/>
          <ac:spMkLst>
            <pc:docMk/>
            <pc:sldMk cId="0" sldId="267"/>
            <ac:spMk id="6" creationId="{D1B67900-A55A-49E3-9F1F-6FA28D277895}"/>
          </ac:spMkLst>
        </pc:spChg>
        <pc:spChg chg="del mod">
          <ac:chgData name="Guest User" userId="S::urn:spo:anon#92e0bee1a612af7c1256e6aaf3dc4ec07c4151a598866b418723ef47912f2c2d::" providerId="AD" clId="Web-{E9683B36-356A-251A-A7E5-5E651CC0E5E2}" dt="2022-03-22T15:30:12.715" v="2803"/>
          <ac:spMkLst>
            <pc:docMk/>
            <pc:sldMk cId="0" sldId="267"/>
            <ac:spMk id="15" creationId="{5F6B97DE-9C1B-4986-AFF5-15EE2FB51B86}"/>
          </ac:spMkLst>
        </pc:spChg>
        <pc:spChg chg="del mod">
          <ac:chgData name="Guest User" userId="S::urn:spo:anon#92e0bee1a612af7c1256e6aaf3dc4ec07c4151a598866b418723ef47912f2c2d::" providerId="AD" clId="Web-{E9683B36-356A-251A-A7E5-5E651CC0E5E2}" dt="2022-03-22T06:11:40.053" v="2607"/>
          <ac:spMkLst>
            <pc:docMk/>
            <pc:sldMk cId="0" sldId="267"/>
            <ac:spMk id="16" creationId="{216B62F5-735A-46AD-A630-1057B3E9FDD5}"/>
          </ac:spMkLst>
        </pc:spChg>
        <pc:spChg chg="add mod">
          <ac:chgData name="Guest User" userId="S::urn:spo:anon#92e0bee1a612af7c1256e6aaf3dc4ec07c4151a598866b418723ef47912f2c2d::" providerId="AD" clId="Web-{E9683B36-356A-251A-A7E5-5E651CC0E5E2}" dt="2022-03-22T06:10:12.192" v="2551" actId="20577"/>
          <ac:spMkLst>
            <pc:docMk/>
            <pc:sldMk cId="0" sldId="267"/>
            <ac:spMk id="17" creationId="{BB2D6A27-8F31-491A-B5A6-20002BA01917}"/>
          </ac:spMkLst>
        </pc:spChg>
        <pc:picChg chg="add mod">
          <ac:chgData name="Guest User" userId="S::urn:spo:anon#92e0bee1a612af7c1256e6aaf3dc4ec07c4151a598866b418723ef47912f2c2d::" providerId="AD" clId="Web-{E9683B36-356A-251A-A7E5-5E651CC0E5E2}" dt="2022-03-22T06:08:46.159" v="2477" actId="1076"/>
          <ac:picMkLst>
            <pc:docMk/>
            <pc:sldMk cId="0" sldId="267"/>
            <ac:picMk id="4" creationId="{E963C357-8F83-411B-B523-2791ED6459DC}"/>
          </ac:picMkLst>
        </pc:picChg>
      </pc:sldChg>
      <pc:sldChg chg="addSp delSp">
        <pc:chgData name="Guest User" userId="S::urn:spo:anon#92e0bee1a612af7c1256e6aaf3dc4ec07c4151a598866b418723ef47912f2c2d::" providerId="AD" clId="Web-{E9683B36-356A-251A-A7E5-5E651CC0E5E2}" dt="2022-03-22T15:28:31.742" v="2801"/>
        <pc:sldMkLst>
          <pc:docMk/>
          <pc:sldMk cId="0" sldId="269"/>
        </pc:sldMkLst>
        <pc:spChg chg="del">
          <ac:chgData name="Guest User" userId="S::urn:spo:anon#92e0bee1a612af7c1256e6aaf3dc4ec07c4151a598866b418723ef47912f2c2d::" providerId="AD" clId="Web-{E9683B36-356A-251A-A7E5-5E651CC0E5E2}" dt="2022-03-22T15:28:31.742" v="2801"/>
          <ac:spMkLst>
            <pc:docMk/>
            <pc:sldMk cId="0" sldId="269"/>
            <ac:spMk id="7" creationId="{26F3CCCF-2BC5-4D15-8B88-7E8827A7C6E8}"/>
          </ac:spMkLst>
        </pc:spChg>
        <pc:spChg chg="add del">
          <ac:chgData name="Guest User" userId="S::urn:spo:anon#92e0bee1a612af7c1256e6aaf3dc4ec07c4151a598866b418723ef47912f2c2d::" providerId="AD" clId="Web-{E9683B36-356A-251A-A7E5-5E651CC0E5E2}" dt="2022-03-22T15:28:28.601" v="2800"/>
          <ac:spMkLst>
            <pc:docMk/>
            <pc:sldMk cId="0" sldId="269"/>
            <ac:spMk id="12" creationId="{8A98ECEC-5196-4A57-A0C5-EEF83F54FC68}"/>
          </ac:spMkLst>
        </pc:spChg>
      </pc:sldChg>
      <pc:sldChg chg="addSp delSp modSp">
        <pc:chgData name="Guest User" userId="S::urn:spo:anon#92e0bee1a612af7c1256e6aaf3dc4ec07c4151a598866b418723ef47912f2c2d::" providerId="AD" clId="Web-{E9683B36-356A-251A-A7E5-5E651CC0E5E2}" dt="2022-03-22T05:46:06.065" v="622"/>
        <pc:sldMkLst>
          <pc:docMk/>
          <pc:sldMk cId="0" sldId="275"/>
        </pc:sldMkLst>
        <pc:spChg chg="del">
          <ac:chgData name="Guest User" userId="S::urn:spo:anon#92e0bee1a612af7c1256e6aaf3dc4ec07c4151a598866b418723ef47912f2c2d::" providerId="AD" clId="Web-{E9683B36-356A-251A-A7E5-5E651CC0E5E2}" dt="2022-03-22T05:44:33.001" v="546"/>
          <ac:spMkLst>
            <pc:docMk/>
            <pc:sldMk cId="0" sldId="275"/>
            <ac:spMk id="2" creationId="{4F8BC962-E513-4596-8312-B9C7050A6972}"/>
          </ac:spMkLst>
        </pc:spChg>
        <pc:spChg chg="add mod">
          <ac:chgData name="Guest User" userId="S::urn:spo:anon#92e0bee1a612af7c1256e6aaf3dc4ec07c4151a598866b418723ef47912f2c2d::" providerId="AD" clId="Web-{E9683B36-356A-251A-A7E5-5E651CC0E5E2}" dt="2022-03-22T05:45:46.315" v="600" actId="20577"/>
          <ac:spMkLst>
            <pc:docMk/>
            <pc:sldMk cId="0" sldId="275"/>
            <ac:spMk id="5" creationId="{86737F5C-5575-427C-908C-240C97E11A51}"/>
          </ac:spMkLst>
        </pc:spChg>
        <pc:graphicFrameChg chg="mod modGraphic">
          <ac:chgData name="Guest User" userId="S::urn:spo:anon#92e0bee1a612af7c1256e6aaf3dc4ec07c4151a598866b418723ef47912f2c2d::" providerId="AD" clId="Web-{E9683B36-356A-251A-A7E5-5E651CC0E5E2}" dt="2022-03-22T05:46:06.065" v="622"/>
          <ac:graphicFrameMkLst>
            <pc:docMk/>
            <pc:sldMk cId="0" sldId="275"/>
            <ac:graphicFrameMk id="694" creationId="{00000000-0000-0000-0000-000000000000}"/>
          </ac:graphicFrameMkLst>
        </pc:graphicFrameChg>
      </pc:sldChg>
      <pc:sldChg chg="delSp modSp">
        <pc:chgData name="Guest User" userId="S::urn:spo:anon#92e0bee1a612af7c1256e6aaf3dc4ec07c4151a598866b418723ef47912f2c2d::" providerId="AD" clId="Web-{E9683B36-356A-251A-A7E5-5E651CC0E5E2}" dt="2022-03-22T17:30:17.178" v="2817"/>
        <pc:sldMkLst>
          <pc:docMk/>
          <pc:sldMk cId="0" sldId="280"/>
        </pc:sldMkLst>
        <pc:spChg chg="del">
          <ac:chgData name="Guest User" userId="S::urn:spo:anon#92e0bee1a612af7c1256e6aaf3dc4ec07c4151a598866b418723ef47912f2c2d::" providerId="AD" clId="Web-{E9683B36-356A-251A-A7E5-5E651CC0E5E2}" dt="2022-03-22T06:01:27.963" v="1709"/>
          <ac:spMkLst>
            <pc:docMk/>
            <pc:sldMk cId="0" sldId="280"/>
            <ac:spMk id="2" creationId="{54A056D4-C1E2-49A0-BC07-61F24B2B511D}"/>
          </ac:spMkLst>
        </pc:spChg>
        <pc:graphicFrameChg chg="mod modGraphic">
          <ac:chgData name="Guest User" userId="S::urn:spo:anon#92e0bee1a612af7c1256e6aaf3dc4ec07c4151a598866b418723ef47912f2c2d::" providerId="AD" clId="Web-{E9683B36-356A-251A-A7E5-5E651CC0E5E2}" dt="2022-03-22T17:30:17.178" v="2817"/>
          <ac:graphicFrameMkLst>
            <pc:docMk/>
            <pc:sldMk cId="0" sldId="280"/>
            <ac:graphicFrameMk id="858" creationId="{00000000-0000-0000-0000-000000000000}"/>
          </ac:graphicFrameMkLst>
        </pc:graphicFrameChg>
      </pc:sldChg>
      <pc:sldChg chg="addSp delSp modSp">
        <pc:chgData name="Guest User" userId="S::urn:spo:anon#92e0bee1a612af7c1256e6aaf3dc4ec07c4151a598866b418723ef47912f2c2d::" providerId="AD" clId="Web-{E9683B36-356A-251A-A7E5-5E651CC0E5E2}" dt="2022-03-22T06:07:47.783" v="2472"/>
        <pc:sldMkLst>
          <pc:docMk/>
          <pc:sldMk cId="0" sldId="283"/>
        </pc:sldMkLst>
        <pc:spChg chg="del">
          <ac:chgData name="Guest User" userId="S::urn:spo:anon#92e0bee1a612af7c1256e6aaf3dc4ec07c4151a598866b418723ef47912f2c2d::" providerId="AD" clId="Web-{E9683B36-356A-251A-A7E5-5E651CC0E5E2}" dt="2022-03-22T06:01:39.025" v="1710"/>
          <ac:spMkLst>
            <pc:docMk/>
            <pc:sldMk cId="0" sldId="283"/>
            <ac:spMk id="2" creationId="{D97DF0E6-F962-4E70-904A-C43F57BDAF6B}"/>
          </ac:spMkLst>
        </pc:spChg>
        <pc:spChg chg="add del mod">
          <ac:chgData name="Guest User" userId="S::urn:spo:anon#92e0bee1a612af7c1256e6aaf3dc4ec07c4151a598866b418723ef47912f2c2d::" providerId="AD" clId="Web-{E9683B36-356A-251A-A7E5-5E651CC0E5E2}" dt="2022-03-22T06:04:30.919" v="1955"/>
          <ac:spMkLst>
            <pc:docMk/>
            <pc:sldMk cId="0" sldId="283"/>
            <ac:spMk id="3" creationId="{DAAF74AE-2FB8-480D-A6A0-3E69AFA31721}"/>
          </ac:spMkLst>
        </pc:spChg>
        <pc:spChg chg="mod">
          <ac:chgData name="Guest User" userId="S::urn:spo:anon#92e0bee1a612af7c1256e6aaf3dc4ec07c4151a598866b418723ef47912f2c2d::" providerId="AD" clId="Web-{E9683B36-356A-251A-A7E5-5E651CC0E5E2}" dt="2022-03-22T06:07:33.876" v="2427" actId="1076"/>
          <ac:spMkLst>
            <pc:docMk/>
            <pc:sldMk cId="0" sldId="283"/>
            <ac:spMk id="13" creationId="{CBBF7C82-D0BF-483D-8655-9680C99D1D18}"/>
          </ac:spMkLst>
        </pc:spChg>
        <pc:spChg chg="del">
          <ac:chgData name="Guest User" userId="S::urn:spo:anon#92e0bee1a612af7c1256e6aaf3dc4ec07c4151a598866b418723ef47912f2c2d::" providerId="AD" clId="Web-{E9683B36-356A-251A-A7E5-5E651CC0E5E2}" dt="2022-03-22T06:03:30.965" v="1856"/>
          <ac:spMkLst>
            <pc:docMk/>
            <pc:sldMk cId="0" sldId="283"/>
            <ac:spMk id="14" creationId="{5CF03BAD-E1F5-4AFF-AE95-C773B7623683}"/>
          </ac:spMkLst>
        </pc:spChg>
        <pc:spChg chg="mod">
          <ac:chgData name="Guest User" userId="S::urn:spo:anon#92e0bee1a612af7c1256e6aaf3dc4ec07c4151a598866b418723ef47912f2c2d::" providerId="AD" clId="Web-{E9683B36-356A-251A-A7E5-5E651CC0E5E2}" dt="2022-03-22T06:07:31.173" v="2425" actId="1076"/>
          <ac:spMkLst>
            <pc:docMk/>
            <pc:sldMk cId="0" sldId="283"/>
            <ac:spMk id="15" creationId="{4E03B81E-06BB-45C9-A04F-3F71A33A4116}"/>
          </ac:spMkLst>
        </pc:spChg>
        <pc:spChg chg="mod">
          <ac:chgData name="Guest User" userId="S::urn:spo:anon#92e0bee1a612af7c1256e6aaf3dc4ec07c4151a598866b418723ef47912f2c2d::" providerId="AD" clId="Web-{E9683B36-356A-251A-A7E5-5E651CC0E5E2}" dt="2022-03-22T06:04:40.888" v="1956" actId="1076"/>
          <ac:spMkLst>
            <pc:docMk/>
            <pc:sldMk cId="0" sldId="283"/>
            <ac:spMk id="16" creationId="{7C86888D-8676-4954-B3CA-7563A7A86788}"/>
          </ac:spMkLst>
        </pc:spChg>
        <pc:spChg chg="add del mod">
          <ac:chgData name="Guest User" userId="S::urn:spo:anon#92e0bee1a612af7c1256e6aaf3dc4ec07c4151a598866b418723ef47912f2c2d::" providerId="AD" clId="Web-{E9683B36-356A-251A-A7E5-5E651CC0E5E2}" dt="2022-03-22T06:03:03.527" v="1831"/>
          <ac:spMkLst>
            <pc:docMk/>
            <pc:sldMk cId="0" sldId="283"/>
            <ac:spMk id="17" creationId="{D072109A-DEF9-4D83-AA44-F5AB08A7A3FA}"/>
          </ac:spMkLst>
        </pc:spChg>
        <pc:spChg chg="add mod">
          <ac:chgData name="Guest User" userId="S::urn:spo:anon#92e0bee1a612af7c1256e6aaf3dc4ec07c4151a598866b418723ef47912f2c2d::" providerId="AD" clId="Web-{E9683B36-356A-251A-A7E5-5E651CC0E5E2}" dt="2022-03-22T06:07:26.610" v="2424" actId="1076"/>
          <ac:spMkLst>
            <pc:docMk/>
            <pc:sldMk cId="0" sldId="283"/>
            <ac:spMk id="18" creationId="{46373D0D-F98D-4606-BC07-084849BDE347}"/>
          </ac:spMkLst>
        </pc:spChg>
        <pc:spChg chg="add mod">
          <ac:chgData name="Guest User" userId="S::urn:spo:anon#92e0bee1a612af7c1256e6aaf3dc4ec07c4151a598866b418723ef47912f2c2d::" providerId="AD" clId="Web-{E9683B36-356A-251A-A7E5-5E651CC0E5E2}" dt="2022-03-22T06:03:35.137" v="1858" actId="1076"/>
          <ac:spMkLst>
            <pc:docMk/>
            <pc:sldMk cId="0" sldId="283"/>
            <ac:spMk id="19" creationId="{4D271066-DA07-4647-B209-7C3919DF3ECC}"/>
          </ac:spMkLst>
        </pc:spChg>
        <pc:spChg chg="add mod">
          <ac:chgData name="Guest User" userId="S::urn:spo:anon#92e0bee1a612af7c1256e6aaf3dc4ec07c4151a598866b418723ef47912f2c2d::" providerId="AD" clId="Web-{E9683B36-356A-251A-A7E5-5E651CC0E5E2}" dt="2022-03-22T06:07:37.126" v="2428" actId="1076"/>
          <ac:spMkLst>
            <pc:docMk/>
            <pc:sldMk cId="0" sldId="283"/>
            <ac:spMk id="21" creationId="{7C092FA4-92F1-452C-973C-C91F4DCFAD78}"/>
          </ac:spMkLst>
        </pc:spChg>
        <pc:spChg chg="mod">
          <ac:chgData name="Guest User" userId="S::urn:spo:anon#92e0bee1a612af7c1256e6aaf3dc4ec07c4151a598866b418723ef47912f2c2d::" providerId="AD" clId="Web-{E9683B36-356A-251A-A7E5-5E651CC0E5E2}" dt="2022-03-22T06:06:06.484" v="2178" actId="20577"/>
          <ac:spMkLst>
            <pc:docMk/>
            <pc:sldMk cId="0" sldId="283"/>
            <ac:spMk id="931" creationId="{00000000-0000-0000-0000-000000000000}"/>
          </ac:spMkLst>
        </pc:spChg>
        <pc:grpChg chg="mod">
          <ac:chgData name="Guest User" userId="S::urn:spo:anon#92e0bee1a612af7c1256e6aaf3dc4ec07c4151a598866b418723ef47912f2c2d::" providerId="AD" clId="Web-{E9683B36-356A-251A-A7E5-5E651CC0E5E2}" dt="2022-03-22T06:07:04.891" v="2409" actId="1076"/>
          <ac:grpSpMkLst>
            <pc:docMk/>
            <pc:sldMk cId="0" sldId="283"/>
            <ac:grpSpMk id="932" creationId="{00000000-0000-0000-0000-000000000000}"/>
          </ac:grpSpMkLst>
        </pc:grpChg>
        <pc:graphicFrameChg chg="mod modGraphic">
          <ac:chgData name="Guest User" userId="S::urn:spo:anon#92e0bee1a612af7c1256e6aaf3dc4ec07c4151a598866b418723ef47912f2c2d::" providerId="AD" clId="Web-{E9683B36-356A-251A-A7E5-5E651CC0E5E2}" dt="2022-03-22T06:07:47.783" v="2472"/>
          <ac:graphicFrameMkLst>
            <pc:docMk/>
            <pc:sldMk cId="0" sldId="283"/>
            <ac:graphicFrameMk id="930" creationId="{00000000-0000-0000-0000-000000000000}"/>
          </ac:graphicFrameMkLst>
        </pc:graphicFrameChg>
      </pc:sldChg>
      <pc:sldChg chg="modSp">
        <pc:chgData name="Guest User" userId="S::urn:spo:anon#92e0bee1a612af7c1256e6aaf3dc4ec07c4151a598866b418723ef47912f2c2d::" providerId="AD" clId="Web-{E9683B36-356A-251A-A7E5-5E651CC0E5E2}" dt="2022-03-22T12:59:48.458" v="2650" actId="1076"/>
        <pc:sldMkLst>
          <pc:docMk/>
          <pc:sldMk cId="3210015788" sldId="303"/>
        </pc:sldMkLst>
        <pc:spChg chg="mod">
          <ac:chgData name="Guest User" userId="S::urn:spo:anon#92e0bee1a612af7c1256e6aaf3dc4ec07c4151a598866b418723ef47912f2c2d::" providerId="AD" clId="Web-{E9683B36-356A-251A-A7E5-5E651CC0E5E2}" dt="2022-03-22T12:59:48.458" v="2650" actId="1076"/>
          <ac:spMkLst>
            <pc:docMk/>
            <pc:sldMk cId="3210015788" sldId="303"/>
            <ac:spMk id="29" creationId="{9EDE1D44-C442-44A3-A246-C666D0FC9506}"/>
          </ac:spMkLst>
        </pc:spChg>
        <pc:spChg chg="mod">
          <ac:chgData name="Guest User" userId="S::urn:spo:anon#92e0bee1a612af7c1256e6aaf3dc4ec07c4151a598866b418723ef47912f2c2d::" providerId="AD" clId="Web-{E9683B36-356A-251A-A7E5-5E651CC0E5E2}" dt="2022-03-22T12:59:48.443" v="2649" actId="1076"/>
          <ac:spMkLst>
            <pc:docMk/>
            <pc:sldMk cId="3210015788" sldId="303"/>
            <ac:spMk id="30" creationId="{F5E6A857-939B-428F-8E38-79E7432F9239}"/>
          </ac:spMkLst>
        </pc:spChg>
        <pc:spChg chg="mod">
          <ac:chgData name="Guest User" userId="S::urn:spo:anon#92e0bee1a612af7c1256e6aaf3dc4ec07c4151a598866b418723ef47912f2c2d::" providerId="AD" clId="Web-{E9683B36-356A-251A-A7E5-5E651CC0E5E2}" dt="2022-03-22T12:59:45.739" v="2643" actId="20577"/>
          <ac:spMkLst>
            <pc:docMk/>
            <pc:sldMk cId="3210015788" sldId="303"/>
            <ac:spMk id="482" creationId="{00000000-0000-0000-0000-000000000000}"/>
          </ac:spMkLst>
        </pc:spChg>
        <pc:grpChg chg="mod">
          <ac:chgData name="Guest User" userId="S::urn:spo:anon#92e0bee1a612af7c1256e6aaf3dc4ec07c4151a598866b418723ef47912f2c2d::" providerId="AD" clId="Web-{E9683B36-356A-251A-A7E5-5E651CC0E5E2}" dt="2022-03-22T12:59:48.349" v="2644" actId="1076"/>
          <ac:grpSpMkLst>
            <pc:docMk/>
            <pc:sldMk cId="3210015788" sldId="303"/>
            <ac:grpSpMk id="2" creationId="{5446D027-4741-472B-92E7-05F1C5E0D155}"/>
          </ac:grpSpMkLst>
        </pc:grpChg>
        <pc:grpChg chg="mod">
          <ac:chgData name="Guest User" userId="S::urn:spo:anon#92e0bee1a612af7c1256e6aaf3dc4ec07c4151a598866b418723ef47912f2c2d::" providerId="AD" clId="Web-{E9683B36-356A-251A-A7E5-5E651CC0E5E2}" dt="2022-03-22T12:59:48.380" v="2646" actId="1076"/>
          <ac:grpSpMkLst>
            <pc:docMk/>
            <pc:sldMk cId="3210015788" sldId="303"/>
            <ac:grpSpMk id="5" creationId="{B4748D22-10CC-4855-AD20-21CA97C1DB4C}"/>
          </ac:grpSpMkLst>
        </pc:grpChg>
        <pc:cxnChg chg="mod">
          <ac:chgData name="Guest User" userId="S::urn:spo:anon#92e0bee1a612af7c1256e6aaf3dc4ec07c4151a598866b418723ef47912f2c2d::" providerId="AD" clId="Web-{E9683B36-356A-251A-A7E5-5E651CC0E5E2}" dt="2022-03-22T12:59:48.364" v="2645" actId="1076"/>
          <ac:cxnSpMkLst>
            <pc:docMk/>
            <pc:sldMk cId="3210015788" sldId="303"/>
            <ac:cxnSpMk id="485" creationId="{00000000-0000-0000-0000-000000000000}"/>
          </ac:cxnSpMkLst>
        </pc:cxnChg>
        <pc:cxnChg chg="mod">
          <ac:chgData name="Guest User" userId="S::urn:spo:anon#92e0bee1a612af7c1256e6aaf3dc4ec07c4151a598866b418723ef47912f2c2d::" providerId="AD" clId="Web-{E9683B36-356A-251A-A7E5-5E651CC0E5E2}" dt="2022-03-22T12:59:48.411" v="2647" actId="1076"/>
          <ac:cxnSpMkLst>
            <pc:docMk/>
            <pc:sldMk cId="3210015788" sldId="303"/>
            <ac:cxnSpMk id="486" creationId="{00000000-0000-0000-0000-000000000000}"/>
          </ac:cxnSpMkLst>
        </pc:cxnChg>
        <pc:cxnChg chg="mod">
          <ac:chgData name="Guest User" userId="S::urn:spo:anon#92e0bee1a612af7c1256e6aaf3dc4ec07c4151a598866b418723ef47912f2c2d::" providerId="AD" clId="Web-{E9683B36-356A-251A-A7E5-5E651CC0E5E2}" dt="2022-03-22T12:59:48.411" v="2648" actId="1076"/>
          <ac:cxnSpMkLst>
            <pc:docMk/>
            <pc:sldMk cId="3210015788" sldId="303"/>
            <ac:cxnSpMk id="487" creationId="{00000000-0000-0000-0000-000000000000}"/>
          </ac:cxnSpMkLst>
        </pc:cxnChg>
      </pc:sldChg>
      <pc:sldChg chg="addSp modSp">
        <pc:chgData name="Guest User" userId="S::urn:spo:anon#92e0bee1a612af7c1256e6aaf3dc4ec07c4151a598866b418723ef47912f2c2d::" providerId="AD" clId="Web-{E9683B36-356A-251A-A7E5-5E651CC0E5E2}" dt="2022-03-22T05:35:58.804" v="108" actId="14100"/>
        <pc:sldMkLst>
          <pc:docMk/>
          <pc:sldMk cId="1756389301" sldId="323"/>
        </pc:sldMkLst>
        <pc:spChg chg="add mod">
          <ac:chgData name="Guest User" userId="S::urn:spo:anon#92e0bee1a612af7c1256e6aaf3dc4ec07c4151a598866b418723ef47912f2c2d::" providerId="AD" clId="Web-{E9683B36-356A-251A-A7E5-5E651CC0E5E2}" dt="2022-03-22T05:35:58.804" v="108" actId="14100"/>
          <ac:spMkLst>
            <pc:docMk/>
            <pc:sldMk cId="1756389301" sldId="323"/>
            <ac:spMk id="4" creationId="{BF92DADF-CA80-4220-B99B-6FEB90716CCD}"/>
          </ac:spMkLst>
        </pc:spChg>
        <pc:picChg chg="add mod">
          <ac:chgData name="Guest User" userId="S::urn:spo:anon#92e0bee1a612af7c1256e6aaf3dc4ec07c4151a598866b418723ef47912f2c2d::" providerId="AD" clId="Web-{E9683B36-356A-251A-A7E5-5E651CC0E5E2}" dt="2022-03-22T05:35:15.522" v="55" actId="1076"/>
          <ac:picMkLst>
            <pc:docMk/>
            <pc:sldMk cId="1756389301" sldId="323"/>
            <ac:picMk id="2" creationId="{06FB615F-F8A3-43BA-A287-B8535775C676}"/>
          </ac:picMkLst>
        </pc:picChg>
      </pc:sldChg>
      <pc:sldChg chg="addSp modSp">
        <pc:chgData name="Guest User" userId="S::urn:spo:anon#92e0bee1a612af7c1256e6aaf3dc4ec07c4151a598866b418723ef47912f2c2d::" providerId="AD" clId="Web-{E9683B36-356A-251A-A7E5-5E651CC0E5E2}" dt="2022-03-22T05:50:30.336" v="899"/>
        <pc:sldMkLst>
          <pc:docMk/>
          <pc:sldMk cId="1295029711" sldId="333"/>
        </pc:sldMkLst>
        <pc:spChg chg="add mod">
          <ac:chgData name="Guest User" userId="S::urn:spo:anon#92e0bee1a612af7c1256e6aaf3dc4ec07c4151a598866b418723ef47912f2c2d::" providerId="AD" clId="Web-{E9683B36-356A-251A-A7E5-5E651CC0E5E2}" dt="2022-03-22T05:49:53.211" v="848" actId="20577"/>
          <ac:spMkLst>
            <pc:docMk/>
            <pc:sldMk cId="1295029711" sldId="333"/>
            <ac:spMk id="2" creationId="{F15F5792-AE24-4CF0-943E-33962B778326}"/>
          </ac:spMkLst>
        </pc:spChg>
        <pc:graphicFrameChg chg="mod modGraphic">
          <ac:chgData name="Guest User" userId="S::urn:spo:anon#92e0bee1a612af7c1256e6aaf3dc4ec07c4151a598866b418723ef47912f2c2d::" providerId="AD" clId="Web-{E9683B36-356A-251A-A7E5-5E651CC0E5E2}" dt="2022-03-22T05:50:30.336" v="899"/>
          <ac:graphicFrameMkLst>
            <pc:docMk/>
            <pc:sldMk cId="1295029711" sldId="333"/>
            <ac:graphicFrameMk id="694" creationId="{00000000-0000-0000-0000-000000000000}"/>
          </ac:graphicFrameMkLst>
        </pc:graphicFrameChg>
      </pc:sldChg>
      <pc:sldChg chg="addSp delSp modSp">
        <pc:chgData name="Guest User" userId="S::urn:spo:anon#92e0bee1a612af7c1256e6aaf3dc4ec07c4151a598866b418723ef47912f2c2d::" providerId="AD" clId="Web-{E9683B36-356A-251A-A7E5-5E651CC0E5E2}" dt="2022-03-22T05:52:42.073" v="939"/>
        <pc:sldMkLst>
          <pc:docMk/>
          <pc:sldMk cId="130301299" sldId="334"/>
        </pc:sldMkLst>
        <pc:spChg chg="add del mod">
          <ac:chgData name="Guest User" userId="S::urn:spo:anon#92e0bee1a612af7c1256e6aaf3dc4ec07c4151a598866b418723ef47912f2c2d::" providerId="AD" clId="Web-{E9683B36-356A-251A-A7E5-5E651CC0E5E2}" dt="2022-03-22T05:52:30.214" v="935"/>
          <ac:spMkLst>
            <pc:docMk/>
            <pc:sldMk cId="130301299" sldId="334"/>
            <ac:spMk id="2" creationId="{40DFAD8D-8215-4E72-9A2B-B45EDBE8D252}"/>
          </ac:spMkLst>
        </pc:spChg>
        <pc:graphicFrameChg chg="mod modGraphic">
          <ac:chgData name="Guest User" userId="S::urn:spo:anon#92e0bee1a612af7c1256e6aaf3dc4ec07c4151a598866b418723ef47912f2c2d::" providerId="AD" clId="Web-{E9683B36-356A-251A-A7E5-5E651CC0E5E2}" dt="2022-03-22T05:52:42.073" v="939"/>
          <ac:graphicFrameMkLst>
            <pc:docMk/>
            <pc:sldMk cId="130301299" sldId="334"/>
            <ac:graphicFrameMk id="694" creationId="{00000000-0000-0000-0000-000000000000}"/>
          </ac:graphicFrameMkLst>
        </pc:graphicFrameChg>
      </pc:sldChg>
      <pc:sldChg chg="addSp delSp">
        <pc:chgData name="Guest User" userId="S::urn:spo:anon#92e0bee1a612af7c1256e6aaf3dc4ec07c4151a598866b418723ef47912f2c2d::" providerId="AD" clId="Web-{E9683B36-356A-251A-A7E5-5E651CC0E5E2}" dt="2022-03-22T15:28:25.866" v="2799"/>
        <pc:sldMkLst>
          <pc:docMk/>
          <pc:sldMk cId="1209993513" sldId="338"/>
        </pc:sldMkLst>
        <pc:spChg chg="add del">
          <ac:chgData name="Guest User" userId="S::urn:spo:anon#92e0bee1a612af7c1256e6aaf3dc4ec07c4151a598866b418723ef47912f2c2d::" providerId="AD" clId="Web-{E9683B36-356A-251A-A7E5-5E651CC0E5E2}" dt="2022-03-22T15:28:25.866" v="2799"/>
          <ac:spMkLst>
            <pc:docMk/>
            <pc:sldMk cId="1209993513" sldId="338"/>
            <ac:spMk id="4" creationId="{24BB1A01-A250-4A43-8E6D-77C6D0C6D6C5}"/>
          </ac:spMkLst>
        </pc:spChg>
      </pc:sldChg>
      <pc:sldChg chg="addSp modSp">
        <pc:chgData name="Guest User" userId="S::urn:spo:anon#92e0bee1a612af7c1256e6aaf3dc4ec07c4151a598866b418723ef47912f2c2d::" providerId="AD" clId="Web-{E9683B36-356A-251A-A7E5-5E651CC0E5E2}" dt="2022-03-22T14:37:00.871" v="2790" actId="1076"/>
        <pc:sldMkLst>
          <pc:docMk/>
          <pc:sldMk cId="2486721525" sldId="341"/>
        </pc:sldMkLst>
        <pc:grpChg chg="add mod">
          <ac:chgData name="Guest User" userId="S::urn:spo:anon#92e0bee1a612af7c1256e6aaf3dc4ec07c4151a598866b418723ef47912f2c2d::" providerId="AD" clId="Web-{E9683B36-356A-251A-A7E5-5E651CC0E5E2}" dt="2022-03-22T14:37:00.871" v="2790" actId="1076"/>
          <ac:grpSpMkLst>
            <pc:docMk/>
            <pc:sldMk cId="2486721525" sldId="341"/>
            <ac:grpSpMk id="3" creationId="{04B4B9EF-39BF-81F3-070D-703E1C6BC8C8}"/>
          </ac:grpSpMkLst>
        </pc:grpChg>
      </pc:sldChg>
      <pc:sldChg chg="addSp modSp">
        <pc:chgData name="Guest User" userId="S::urn:spo:anon#92e0bee1a612af7c1256e6aaf3dc4ec07c4151a598866b418723ef47912f2c2d::" providerId="AD" clId="Web-{E9683B36-356A-251A-A7E5-5E651CC0E5E2}" dt="2022-03-22T14:28:39.956" v="2768"/>
        <pc:sldMkLst>
          <pc:docMk/>
          <pc:sldMk cId="4114424017" sldId="342"/>
        </pc:sldMkLst>
        <pc:spChg chg="add mod">
          <ac:chgData name="Guest User" userId="S::urn:spo:anon#92e0bee1a612af7c1256e6aaf3dc4ec07c4151a598866b418723ef47912f2c2d::" providerId="AD" clId="Web-{E9683B36-356A-251A-A7E5-5E651CC0E5E2}" dt="2022-03-22T14:27:31.484" v="2736" actId="1076"/>
          <ac:spMkLst>
            <pc:docMk/>
            <pc:sldMk cId="4114424017" sldId="342"/>
            <ac:spMk id="10" creationId="{1E2A4B75-E524-EFA9-4532-F0B3FBEAAAA7}"/>
          </ac:spMkLst>
        </pc:spChg>
        <pc:graphicFrameChg chg="mod modGraphic">
          <ac:chgData name="Guest User" userId="S::urn:spo:anon#92e0bee1a612af7c1256e6aaf3dc4ec07c4151a598866b418723ef47912f2c2d::" providerId="AD" clId="Web-{E9683B36-356A-251A-A7E5-5E651CC0E5E2}" dt="2022-03-22T14:28:39.956" v="2768"/>
          <ac:graphicFrameMkLst>
            <pc:docMk/>
            <pc:sldMk cId="4114424017" sldId="342"/>
            <ac:graphicFrameMk id="23" creationId="{F4A84191-3BFB-48AA-A343-19DE4EA3891C}"/>
          </ac:graphicFrameMkLst>
        </pc:graphicFrameChg>
      </pc:sldChg>
      <pc:sldChg chg="delSp modSp">
        <pc:chgData name="Guest User" userId="S::urn:spo:anon#92e0bee1a612af7c1256e6aaf3dc4ec07c4151a598866b418723ef47912f2c2d::" providerId="AD" clId="Web-{E9683B36-356A-251A-A7E5-5E651CC0E5E2}" dt="2022-03-22T15:30:29.966" v="2807" actId="20577"/>
        <pc:sldMkLst>
          <pc:docMk/>
          <pc:sldMk cId="211703589" sldId="343"/>
        </pc:sldMkLst>
        <pc:spChg chg="mod">
          <ac:chgData name="Guest User" userId="S::urn:spo:anon#92e0bee1a612af7c1256e6aaf3dc4ec07c4151a598866b418723ef47912f2c2d::" providerId="AD" clId="Web-{E9683B36-356A-251A-A7E5-5E651CC0E5E2}" dt="2022-03-22T15:30:29.966" v="2807" actId="20577"/>
          <ac:spMkLst>
            <pc:docMk/>
            <pc:sldMk cId="211703589" sldId="343"/>
            <ac:spMk id="6" creationId="{D1B67900-A55A-49E3-9F1F-6FA28D277895}"/>
          </ac:spMkLst>
        </pc:spChg>
        <pc:spChg chg="del mod">
          <ac:chgData name="Guest User" userId="S::urn:spo:anon#92e0bee1a612af7c1256e6aaf3dc4ec07c4151a598866b418723ef47912f2c2d::" providerId="AD" clId="Web-{E9683B36-356A-251A-A7E5-5E651CC0E5E2}" dt="2022-03-22T15:30:19.294" v="2805"/>
          <ac:spMkLst>
            <pc:docMk/>
            <pc:sldMk cId="211703589" sldId="343"/>
            <ac:spMk id="15" creationId="{5F6B97DE-9C1B-4986-AFF5-15EE2FB51B86}"/>
          </ac:spMkLst>
        </pc:spChg>
        <pc:spChg chg="mod">
          <ac:chgData name="Guest User" userId="S::urn:spo:anon#92e0bee1a612af7c1256e6aaf3dc4ec07c4151a598866b418723ef47912f2c2d::" providerId="AD" clId="Web-{E9683B36-356A-251A-A7E5-5E651CC0E5E2}" dt="2022-03-22T05:44:04.891" v="540" actId="1076"/>
          <ac:spMkLst>
            <pc:docMk/>
            <pc:sldMk cId="211703589" sldId="343"/>
            <ac:spMk id="16" creationId="{216B62F5-735A-46AD-A630-1057B3E9FDD5}"/>
          </ac:spMkLst>
        </pc:spChg>
      </pc:sldChg>
      <pc:sldChg chg="modSp">
        <pc:chgData name="Guest User" userId="S::urn:spo:anon#92e0bee1a612af7c1256e6aaf3dc4ec07c4151a598866b418723ef47912f2c2d::" providerId="AD" clId="Web-{E9683B36-356A-251A-A7E5-5E651CC0E5E2}" dt="2022-03-22T05:32:57.925" v="41" actId="20577"/>
        <pc:sldMkLst>
          <pc:docMk/>
          <pc:sldMk cId="1639760722" sldId="344"/>
        </pc:sldMkLst>
        <pc:spChg chg="mod">
          <ac:chgData name="Guest User" userId="S::urn:spo:anon#92e0bee1a612af7c1256e6aaf3dc4ec07c4151a598866b418723ef47912f2c2d::" providerId="AD" clId="Web-{E9683B36-356A-251A-A7E5-5E651CC0E5E2}" dt="2022-03-22T05:32:57.925" v="41" actId="20577"/>
          <ac:spMkLst>
            <pc:docMk/>
            <pc:sldMk cId="1639760722" sldId="344"/>
            <ac:spMk id="601" creationId="{00000000-0000-0000-0000-000000000000}"/>
          </ac:spMkLst>
        </pc:spChg>
      </pc:sldChg>
      <pc:sldChg chg="del">
        <pc:chgData name="Guest User" userId="S::urn:spo:anon#92e0bee1a612af7c1256e6aaf3dc4ec07c4151a598866b418723ef47912f2c2d::" providerId="AD" clId="Web-{E9683B36-356A-251A-A7E5-5E651CC0E5E2}" dt="2022-03-22T05:36:19.851" v="111"/>
        <pc:sldMkLst>
          <pc:docMk/>
          <pc:sldMk cId="1358823486" sldId="345"/>
        </pc:sldMkLst>
      </pc:sldChg>
      <pc:sldChg chg="delSp">
        <pc:chgData name="Guest User" userId="S::urn:spo:anon#92e0bee1a612af7c1256e6aaf3dc4ec07c4151a598866b418723ef47912f2c2d::" providerId="AD" clId="Web-{E9683B36-356A-251A-A7E5-5E651CC0E5E2}" dt="2022-03-22T15:28:40.898" v="2802"/>
        <pc:sldMkLst>
          <pc:docMk/>
          <pc:sldMk cId="2963563579" sldId="348"/>
        </pc:sldMkLst>
        <pc:spChg chg="del">
          <ac:chgData name="Guest User" userId="S::urn:spo:anon#92e0bee1a612af7c1256e6aaf3dc4ec07c4151a598866b418723ef47912f2c2d::" providerId="AD" clId="Web-{E9683B36-356A-251A-A7E5-5E651CC0E5E2}" dt="2022-03-22T15:28:40.898" v="2802"/>
          <ac:spMkLst>
            <pc:docMk/>
            <pc:sldMk cId="2963563579" sldId="348"/>
            <ac:spMk id="4" creationId="{24BB1A01-A250-4A43-8E6D-77C6D0C6D6C5}"/>
          </ac:spMkLst>
        </pc:spChg>
      </pc:sldChg>
      <pc:sldChg chg="addSp delSp modSp">
        <pc:chgData name="Guest User" userId="S::urn:spo:anon#92e0bee1a612af7c1256e6aaf3dc4ec07c4151a598866b418723ef47912f2c2d::" providerId="AD" clId="Web-{E9683B36-356A-251A-A7E5-5E651CC0E5E2}" dt="2022-03-22T14:35:04.616" v="2788"/>
        <pc:sldMkLst>
          <pc:docMk/>
          <pc:sldMk cId="754587697" sldId="352"/>
        </pc:sldMkLst>
        <pc:spChg chg="del">
          <ac:chgData name="Guest User" userId="S::urn:spo:anon#92e0bee1a612af7c1256e6aaf3dc4ec07c4151a598866b418723ef47912f2c2d::" providerId="AD" clId="Web-{E9683B36-356A-251A-A7E5-5E651CC0E5E2}" dt="2022-03-22T05:59:45.289" v="1685"/>
          <ac:spMkLst>
            <pc:docMk/>
            <pc:sldMk cId="754587697" sldId="352"/>
            <ac:spMk id="4" creationId="{974B56B3-82DE-42A0-B45B-EC8564BAA9EE}"/>
          </ac:spMkLst>
        </pc:spChg>
        <pc:spChg chg="del">
          <ac:chgData name="Guest User" userId="S::urn:spo:anon#92e0bee1a612af7c1256e6aaf3dc4ec07c4151a598866b418723ef47912f2c2d::" providerId="AD" clId="Web-{E9683B36-356A-251A-A7E5-5E651CC0E5E2}" dt="2022-03-22T05:56:43.203" v="1302"/>
          <ac:spMkLst>
            <pc:docMk/>
            <pc:sldMk cId="754587697" sldId="352"/>
            <ac:spMk id="13" creationId="{FC44DAA7-0D3C-4498-8DDC-BBB26660FE43}"/>
          </ac:spMkLst>
        </pc:spChg>
        <pc:graphicFrameChg chg="add del mod modGraphic">
          <ac:chgData name="Guest User" userId="S::urn:spo:anon#92e0bee1a612af7c1256e6aaf3dc4ec07c4151a598866b418723ef47912f2c2d::" providerId="AD" clId="Web-{E9683B36-356A-251A-A7E5-5E651CC0E5E2}" dt="2022-03-22T14:35:04.616" v="2788"/>
          <ac:graphicFrameMkLst>
            <pc:docMk/>
            <pc:sldMk cId="754587697" sldId="352"/>
            <ac:graphicFrameMk id="23" creationId="{F4A84191-3BFB-48AA-A343-19DE4EA3891C}"/>
          </ac:graphicFrameMkLst>
        </pc:graphicFrameChg>
      </pc:sldChg>
      <pc:sldChg chg="addSp delSp modSp">
        <pc:chgData name="Guest User" userId="S::urn:spo:anon#92e0bee1a612af7c1256e6aaf3dc4ec07c4151a598866b418723ef47912f2c2d::" providerId="AD" clId="Web-{E9683B36-356A-251A-A7E5-5E651CC0E5E2}" dt="2022-03-22T15:30:15.856" v="2804"/>
        <pc:sldMkLst>
          <pc:docMk/>
          <pc:sldMk cId="2527603155" sldId="353"/>
        </pc:sldMkLst>
        <pc:spChg chg="add">
          <ac:chgData name="Guest User" userId="S::urn:spo:anon#92e0bee1a612af7c1256e6aaf3dc4ec07c4151a598866b418723ef47912f2c2d::" providerId="AD" clId="Web-{E9683B36-356A-251A-A7E5-5E651CC0E5E2}" dt="2022-03-22T05:36:11.913" v="109"/>
          <ac:spMkLst>
            <pc:docMk/>
            <pc:sldMk cId="2527603155" sldId="353"/>
            <ac:spMk id="2" creationId="{608E690F-8CF2-4ABB-BEF4-B86D373DAFAD}"/>
          </ac:spMkLst>
        </pc:spChg>
        <pc:spChg chg="add">
          <ac:chgData name="Guest User" userId="S::urn:spo:anon#92e0bee1a612af7c1256e6aaf3dc4ec07c4151a598866b418723ef47912f2c2d::" providerId="AD" clId="Web-{E9683B36-356A-251A-A7E5-5E651CC0E5E2}" dt="2022-03-22T05:36:19.257" v="110"/>
          <ac:spMkLst>
            <pc:docMk/>
            <pc:sldMk cId="2527603155" sldId="353"/>
            <ac:spMk id="5" creationId="{55559F1F-251F-4635-8A0D-08A7ADA07273}"/>
          </ac:spMkLst>
        </pc:spChg>
        <pc:spChg chg="mod">
          <ac:chgData name="Guest User" userId="S::urn:spo:anon#92e0bee1a612af7c1256e6aaf3dc4ec07c4151a598866b418723ef47912f2c2d::" providerId="AD" clId="Web-{E9683B36-356A-251A-A7E5-5E651CC0E5E2}" dt="2022-03-22T05:36:38.117" v="115" actId="20577"/>
          <ac:spMkLst>
            <pc:docMk/>
            <pc:sldMk cId="2527603155" sldId="353"/>
            <ac:spMk id="9" creationId="{45C04764-F269-4F64-9737-7683A5D0C3C8}"/>
          </ac:spMkLst>
        </pc:spChg>
        <pc:spChg chg="mod">
          <ac:chgData name="Guest User" userId="S::urn:spo:anon#92e0bee1a612af7c1256e6aaf3dc4ec07c4151a598866b418723ef47912f2c2d::" providerId="AD" clId="Web-{E9683B36-356A-251A-A7E5-5E651CC0E5E2}" dt="2022-03-22T05:38:44.432" v="271" actId="20577"/>
          <ac:spMkLst>
            <pc:docMk/>
            <pc:sldMk cId="2527603155" sldId="353"/>
            <ac:spMk id="15" creationId="{1F301F17-C695-479F-8C1E-0A4D7A9FF58B}"/>
          </ac:spMkLst>
        </pc:spChg>
        <pc:spChg chg="mod">
          <ac:chgData name="Guest User" userId="S::urn:spo:anon#92e0bee1a612af7c1256e6aaf3dc4ec07c4151a598866b418723ef47912f2c2d::" providerId="AD" clId="Web-{E9683B36-356A-251A-A7E5-5E651CC0E5E2}" dt="2022-03-22T05:38:14.009" v="219" actId="20577"/>
          <ac:spMkLst>
            <pc:docMk/>
            <pc:sldMk cId="2527603155" sldId="353"/>
            <ac:spMk id="17" creationId="{1D0F6373-7FF4-F64B-A9FB-FA5D91D110D1}"/>
          </ac:spMkLst>
        </pc:spChg>
        <pc:spChg chg="add del">
          <ac:chgData name="Guest User" userId="S::urn:spo:anon#92e0bee1a612af7c1256e6aaf3dc4ec07c4151a598866b418723ef47912f2c2d::" providerId="AD" clId="Web-{E9683B36-356A-251A-A7E5-5E651CC0E5E2}" dt="2022-03-22T15:30:15.856" v="2804"/>
          <ac:spMkLst>
            <pc:docMk/>
            <pc:sldMk cId="2527603155" sldId="353"/>
            <ac:spMk id="20" creationId="{5441F631-FD75-4727-8B80-82A6281D549E}"/>
          </ac:spMkLst>
        </pc:spChg>
      </pc:sldChg>
      <pc:sldChg chg="modSp">
        <pc:chgData name="Guest User" userId="S::urn:spo:anon#92e0bee1a612af7c1256e6aaf3dc4ec07c4151a598866b418723ef47912f2c2d::" providerId="AD" clId="Web-{E9683B36-356A-251A-A7E5-5E651CC0E5E2}" dt="2022-03-22T05:32:59.738" v="48" actId="20577"/>
        <pc:sldMkLst>
          <pc:docMk/>
          <pc:sldMk cId="4017139295" sldId="356"/>
        </pc:sldMkLst>
        <pc:spChg chg="mod">
          <ac:chgData name="Guest User" userId="S::urn:spo:anon#92e0bee1a612af7c1256e6aaf3dc4ec07c4151a598866b418723ef47912f2c2d::" providerId="AD" clId="Web-{E9683B36-356A-251A-A7E5-5E651CC0E5E2}" dt="2022-03-22T05:32:59.738" v="48" actId="20577"/>
          <ac:spMkLst>
            <pc:docMk/>
            <pc:sldMk cId="4017139295" sldId="356"/>
            <ac:spMk id="601" creationId="{00000000-0000-0000-0000-000000000000}"/>
          </ac:spMkLst>
        </pc:spChg>
      </pc:sldChg>
      <pc:sldChg chg="modSp">
        <pc:chgData name="Guest User" userId="S::urn:spo:anon#92e0bee1a612af7c1256e6aaf3dc4ec07c4151a598866b418723ef47912f2c2d::" providerId="AD" clId="Web-{E9683B36-356A-251A-A7E5-5E651CC0E5E2}" dt="2022-03-22T05:33:04.488" v="50" actId="20577"/>
        <pc:sldMkLst>
          <pc:docMk/>
          <pc:sldMk cId="73800528" sldId="357"/>
        </pc:sldMkLst>
        <pc:spChg chg="mod">
          <ac:chgData name="Guest User" userId="S::urn:spo:anon#92e0bee1a612af7c1256e6aaf3dc4ec07c4151a598866b418723ef47912f2c2d::" providerId="AD" clId="Web-{E9683B36-356A-251A-A7E5-5E651CC0E5E2}" dt="2022-03-22T05:33:04.488" v="50" actId="20577"/>
          <ac:spMkLst>
            <pc:docMk/>
            <pc:sldMk cId="73800528" sldId="357"/>
            <ac:spMk id="601" creationId="{00000000-0000-0000-0000-000000000000}"/>
          </ac:spMkLst>
        </pc:spChg>
      </pc:sldChg>
    </pc:docChg>
  </pc:docChgLst>
  <pc:docChgLst>
    <pc:chgData name="Guest User" userId="S::urn:spo:anon#c437c167f923f422528aee73b5e70e5726914197d2dec7f210a84ae49e8498a7::" providerId="AD" clId="Web-{CE7F622B-F0C7-103A-7AA1-24DC39A3B41E}"/>
    <pc:docChg chg="modSld">
      <pc:chgData name="Guest User" userId="S::urn:spo:anon#c437c167f923f422528aee73b5e70e5726914197d2dec7f210a84ae49e8498a7::" providerId="AD" clId="Web-{CE7F622B-F0C7-103A-7AA1-24DC39A3B41E}" dt="2022-04-05T15:41:59.978" v="42"/>
      <pc:docMkLst>
        <pc:docMk/>
      </pc:docMkLst>
      <pc:sldChg chg="addSp modSp">
        <pc:chgData name="Guest User" userId="S::urn:spo:anon#c437c167f923f422528aee73b5e70e5726914197d2dec7f210a84ae49e8498a7::" providerId="AD" clId="Web-{CE7F622B-F0C7-103A-7AA1-24DC39A3B41E}" dt="2022-04-05T14:40:16.606" v="30" actId="14100"/>
        <pc:sldMkLst>
          <pc:docMk/>
          <pc:sldMk cId="2486721525" sldId="341"/>
        </pc:sldMkLst>
        <pc:spChg chg="add mod">
          <ac:chgData name="Guest User" userId="S::urn:spo:anon#c437c167f923f422528aee73b5e70e5726914197d2dec7f210a84ae49e8498a7::" providerId="AD" clId="Web-{CE7F622B-F0C7-103A-7AA1-24DC39A3B41E}" dt="2022-04-05T14:39:35.417" v="26" actId="1076"/>
          <ac:spMkLst>
            <pc:docMk/>
            <pc:sldMk cId="2486721525" sldId="341"/>
            <ac:spMk id="100" creationId="{5947DC3C-0898-F15B-1FFF-22C2270AF5A5}"/>
          </ac:spMkLst>
        </pc:spChg>
        <pc:spChg chg="mod">
          <ac:chgData name="Guest User" userId="S::urn:spo:anon#c437c167f923f422528aee73b5e70e5726914197d2dec7f210a84ae49e8498a7::" providerId="AD" clId="Web-{CE7F622B-F0C7-103A-7AA1-24DC39A3B41E}" dt="2022-04-05T14:40:03.777" v="29" actId="14100"/>
          <ac:spMkLst>
            <pc:docMk/>
            <pc:sldMk cId="2486721525" sldId="341"/>
            <ac:spMk id="101" creationId="{C490854A-3705-D3C2-CB0B-CA528B8E7892}"/>
          </ac:spMkLst>
        </pc:spChg>
        <pc:spChg chg="add mod">
          <ac:chgData name="Guest User" userId="S::urn:spo:anon#c437c167f923f422528aee73b5e70e5726914197d2dec7f210a84ae49e8498a7::" providerId="AD" clId="Web-{CE7F622B-F0C7-103A-7AA1-24DC39A3B41E}" dt="2022-04-05T14:39:28.995" v="25" actId="1076"/>
          <ac:spMkLst>
            <pc:docMk/>
            <pc:sldMk cId="2486721525" sldId="341"/>
            <ac:spMk id="104" creationId="{101460AC-09E4-C2F8-07D6-6ADD36E67708}"/>
          </ac:spMkLst>
        </pc:spChg>
        <pc:spChg chg="mod">
          <ac:chgData name="Guest User" userId="S::urn:spo:anon#c437c167f923f422528aee73b5e70e5726914197d2dec7f210a84ae49e8498a7::" providerId="AD" clId="Web-{CE7F622B-F0C7-103A-7AA1-24DC39A3B41E}" dt="2022-04-05T14:40:16.606" v="30" actId="14100"/>
          <ac:spMkLst>
            <pc:docMk/>
            <pc:sldMk cId="2486721525" sldId="341"/>
            <ac:spMk id="116" creationId="{473E579E-3692-41BD-8D3D-A49F032BB7D1}"/>
          </ac:spMkLst>
        </pc:spChg>
        <pc:spChg chg="mod">
          <ac:chgData name="Guest User" userId="S::urn:spo:anon#c437c167f923f422528aee73b5e70e5726914197d2dec7f210a84ae49e8498a7::" providerId="AD" clId="Web-{CE7F622B-F0C7-103A-7AA1-24DC39A3B41E}" dt="2022-04-05T14:39:47.449" v="28" actId="1076"/>
          <ac:spMkLst>
            <pc:docMk/>
            <pc:sldMk cId="2486721525" sldId="341"/>
            <ac:spMk id="401" creationId="{00000000-0000-0000-0000-000000000000}"/>
          </ac:spMkLst>
        </pc:spChg>
      </pc:sldChg>
      <pc:sldChg chg="delSp">
        <pc:chgData name="Guest User" userId="S::urn:spo:anon#c437c167f923f422528aee73b5e70e5726914197d2dec7f210a84ae49e8498a7::" providerId="AD" clId="Web-{CE7F622B-F0C7-103A-7AA1-24DC39A3B41E}" dt="2022-04-05T15:39:57.225" v="41"/>
        <pc:sldMkLst>
          <pc:docMk/>
          <pc:sldMk cId="2576879601" sldId="365"/>
        </pc:sldMkLst>
        <pc:grpChg chg="del">
          <ac:chgData name="Guest User" userId="S::urn:spo:anon#c437c167f923f422528aee73b5e70e5726914197d2dec7f210a84ae49e8498a7::" providerId="AD" clId="Web-{CE7F622B-F0C7-103A-7AA1-24DC39A3B41E}" dt="2022-04-05T15:39:57.225" v="41"/>
          <ac:grpSpMkLst>
            <pc:docMk/>
            <pc:sldMk cId="2576879601" sldId="365"/>
            <ac:grpSpMk id="6" creationId="{CDA401A3-B5D9-4D8E-8713-1475FCB432D9}"/>
          </ac:grpSpMkLst>
        </pc:grpChg>
      </pc:sldChg>
      <pc:sldChg chg="delSp modSp">
        <pc:chgData name="Guest User" userId="S::urn:spo:anon#c437c167f923f422528aee73b5e70e5726914197d2dec7f210a84ae49e8498a7::" providerId="AD" clId="Web-{CE7F622B-F0C7-103A-7AA1-24DC39A3B41E}" dt="2022-04-05T15:39:27.614" v="39"/>
        <pc:sldMkLst>
          <pc:docMk/>
          <pc:sldMk cId="1695560817" sldId="366"/>
        </pc:sldMkLst>
        <pc:spChg chg="mod">
          <ac:chgData name="Guest User" userId="S::urn:spo:anon#c437c167f923f422528aee73b5e70e5726914197d2dec7f210a84ae49e8498a7::" providerId="AD" clId="Web-{CE7F622B-F0C7-103A-7AA1-24DC39A3B41E}" dt="2022-04-05T15:39:20.067" v="37" actId="20577"/>
          <ac:spMkLst>
            <pc:docMk/>
            <pc:sldMk cId="1695560817" sldId="366"/>
            <ac:spMk id="77" creationId="{59AA964F-535A-41AE-BBDD-FB86C4B3BF5B}"/>
          </ac:spMkLst>
        </pc:spChg>
        <pc:spChg chg="mod">
          <ac:chgData name="Guest User" userId="S::urn:spo:anon#c437c167f923f422528aee73b5e70e5726914197d2dec7f210a84ae49e8498a7::" providerId="AD" clId="Web-{CE7F622B-F0C7-103A-7AA1-24DC39A3B41E}" dt="2022-04-05T15:39:23.364" v="38" actId="20577"/>
          <ac:spMkLst>
            <pc:docMk/>
            <pc:sldMk cId="1695560817" sldId="366"/>
            <ac:spMk id="79" creationId="{BDB6CD1D-98FC-4E44-8804-577B2AA4F1B1}"/>
          </ac:spMkLst>
        </pc:spChg>
        <pc:grpChg chg="del">
          <ac:chgData name="Guest User" userId="S::urn:spo:anon#c437c167f923f422528aee73b5e70e5726914197d2dec7f210a84ae49e8498a7::" providerId="AD" clId="Web-{CE7F622B-F0C7-103A-7AA1-24DC39A3B41E}" dt="2022-04-05T15:39:27.614" v="39"/>
          <ac:grpSpMkLst>
            <pc:docMk/>
            <pc:sldMk cId="1695560817" sldId="366"/>
            <ac:grpSpMk id="76" creationId="{CA6CC004-F525-49CA-BCE7-099A9404F0F3}"/>
          </ac:grpSpMkLst>
        </pc:grpChg>
      </pc:sldChg>
      <pc:sldChg chg="delSp">
        <pc:chgData name="Guest User" userId="S::urn:spo:anon#c437c167f923f422528aee73b5e70e5726914197d2dec7f210a84ae49e8498a7::" providerId="AD" clId="Web-{CE7F622B-F0C7-103A-7AA1-24DC39A3B41E}" dt="2022-04-05T15:41:59.978" v="42"/>
        <pc:sldMkLst>
          <pc:docMk/>
          <pc:sldMk cId="603633981" sldId="371"/>
        </pc:sldMkLst>
        <pc:spChg chg="del">
          <ac:chgData name="Guest User" userId="S::urn:spo:anon#c437c167f923f422528aee73b5e70e5726914197d2dec7f210a84ae49e8498a7::" providerId="AD" clId="Web-{CE7F622B-F0C7-103A-7AA1-24DC39A3B41E}" dt="2022-04-05T15:41:59.978" v="42"/>
          <ac:spMkLst>
            <pc:docMk/>
            <pc:sldMk cId="603633981" sldId="371"/>
            <ac:spMk id="10" creationId="{A698D7F4-3A03-4266-B816-9503033CB2A4}"/>
          </ac:spMkLst>
        </pc:spChg>
      </pc:sldChg>
      <pc:sldChg chg="delSp modSp">
        <pc:chgData name="Guest User" userId="S::urn:spo:anon#c437c167f923f422528aee73b5e70e5726914197d2dec7f210a84ae49e8498a7::" providerId="AD" clId="Web-{CE7F622B-F0C7-103A-7AA1-24DC39A3B41E}" dt="2022-04-05T15:39:34.411" v="40"/>
        <pc:sldMkLst>
          <pc:docMk/>
          <pc:sldMk cId="3514561185" sldId="374"/>
        </pc:sldMkLst>
        <pc:grpChg chg="del">
          <ac:chgData name="Guest User" userId="S::urn:spo:anon#c437c167f923f422528aee73b5e70e5726914197d2dec7f210a84ae49e8498a7::" providerId="AD" clId="Web-{CE7F622B-F0C7-103A-7AA1-24DC39A3B41E}" dt="2022-04-05T15:39:34.411" v="40"/>
          <ac:grpSpMkLst>
            <pc:docMk/>
            <pc:sldMk cId="3514561185" sldId="374"/>
            <ac:grpSpMk id="12" creationId="{1DB4AE3A-FFA1-4FED-BE8F-2B855320F289}"/>
          </ac:grpSpMkLst>
        </pc:grpChg>
        <pc:picChg chg="mod">
          <ac:chgData name="Guest User" userId="S::urn:spo:anon#c437c167f923f422528aee73b5e70e5726914197d2dec7f210a84ae49e8498a7::" providerId="AD" clId="Web-{CE7F622B-F0C7-103A-7AA1-24DC39A3B41E}" dt="2022-04-05T14:55:42.400" v="31" actId="1076"/>
          <ac:picMkLst>
            <pc:docMk/>
            <pc:sldMk cId="3514561185" sldId="374"/>
            <ac:picMk id="5" creationId="{9166FA4B-85C9-5893-22DC-EC6CE43E7204}"/>
          </ac:picMkLst>
        </pc:picChg>
      </pc:sldChg>
      <pc:sldChg chg="modSp">
        <pc:chgData name="Guest User" userId="S::urn:spo:anon#c437c167f923f422528aee73b5e70e5726914197d2dec7f210a84ae49e8498a7::" providerId="AD" clId="Web-{CE7F622B-F0C7-103A-7AA1-24DC39A3B41E}" dt="2022-04-05T14:57:58.279" v="34" actId="1076"/>
        <pc:sldMkLst>
          <pc:docMk/>
          <pc:sldMk cId="604654217" sldId="375"/>
        </pc:sldMkLst>
        <pc:cxnChg chg="mod">
          <ac:chgData name="Guest User" userId="S::urn:spo:anon#c437c167f923f422528aee73b5e70e5726914197d2dec7f210a84ae49e8498a7::" providerId="AD" clId="Web-{CE7F622B-F0C7-103A-7AA1-24DC39A3B41E}" dt="2022-04-05T14:57:58.279" v="34" actId="1076"/>
          <ac:cxnSpMkLst>
            <pc:docMk/>
            <pc:sldMk cId="604654217" sldId="375"/>
            <ac:cxnSpMk id="11" creationId="{80DA06C6-E09C-08BC-D6FB-BC20D8957044}"/>
          </ac:cxnSpMkLst>
        </pc:cxnChg>
        <pc:cxnChg chg="mod">
          <ac:chgData name="Guest User" userId="S::urn:spo:anon#c437c167f923f422528aee73b5e70e5726914197d2dec7f210a84ae49e8498a7::" providerId="AD" clId="Web-{CE7F622B-F0C7-103A-7AA1-24DC39A3B41E}" dt="2022-04-05T14:57:52.513" v="33" actId="1076"/>
          <ac:cxnSpMkLst>
            <pc:docMk/>
            <pc:sldMk cId="604654217" sldId="375"/>
            <ac:cxnSpMk id="12" creationId="{77793D15-5876-2206-449B-4B1F41AFE012}"/>
          </ac:cxnSpMkLst>
        </pc:cxnChg>
        <pc:cxnChg chg="mod">
          <ac:chgData name="Guest User" userId="S::urn:spo:anon#c437c167f923f422528aee73b5e70e5726914197d2dec7f210a84ae49e8498a7::" providerId="AD" clId="Web-{CE7F622B-F0C7-103A-7AA1-24DC39A3B41E}" dt="2022-04-05T14:57:45.450" v="32" actId="1076"/>
          <ac:cxnSpMkLst>
            <pc:docMk/>
            <pc:sldMk cId="604654217" sldId="375"/>
            <ac:cxnSpMk id="13" creationId="{70D6C415-5AB0-50A0-6B7B-F91A78ED3D34}"/>
          </ac:cxnSpMkLst>
        </pc:cxnChg>
      </pc:sldChg>
    </pc:docChg>
  </pc:docChgLst>
  <pc:docChgLst>
    <pc:chgData name="Guest User" userId="S::urn:spo:anon#c437c167f923f422528aee73b5e70e5726914197d2dec7f210a84ae49e8498a7::" providerId="AD" clId="Web-{8DAAB175-7234-79FD-431D-8A7341E0D235}"/>
    <pc:docChg chg="modSld">
      <pc:chgData name="Guest User" userId="S::urn:spo:anon#c437c167f923f422528aee73b5e70e5726914197d2dec7f210a84ae49e8498a7::" providerId="AD" clId="Web-{8DAAB175-7234-79FD-431D-8A7341E0D235}" dt="2022-04-05T17:36:24.950" v="6" actId="1076"/>
      <pc:docMkLst>
        <pc:docMk/>
      </pc:docMkLst>
      <pc:sldChg chg="modSp">
        <pc:chgData name="Guest User" userId="S::urn:spo:anon#c437c167f923f422528aee73b5e70e5726914197d2dec7f210a84ae49e8498a7::" providerId="AD" clId="Web-{8DAAB175-7234-79FD-431D-8A7341E0D235}" dt="2022-04-05T17:34:44.853" v="2" actId="20577"/>
        <pc:sldMkLst>
          <pc:docMk/>
          <pc:sldMk cId="0" sldId="257"/>
        </pc:sldMkLst>
        <pc:spChg chg="mod">
          <ac:chgData name="Guest User" userId="S::urn:spo:anon#c437c167f923f422528aee73b5e70e5726914197d2dec7f210a84ae49e8498a7::" providerId="AD" clId="Web-{8DAAB175-7234-79FD-431D-8A7341E0D235}" dt="2022-04-05T17:34:44.853" v="2" actId="20577"/>
          <ac:spMkLst>
            <pc:docMk/>
            <pc:sldMk cId="0" sldId="257"/>
            <ac:spMk id="44" creationId="{28E8AA2B-7E30-48CF-86E4-5464130C7279}"/>
          </ac:spMkLst>
        </pc:spChg>
      </pc:sldChg>
      <pc:sldChg chg="modSp">
        <pc:chgData name="Guest User" userId="S::urn:spo:anon#c437c167f923f422528aee73b5e70e5726914197d2dec7f210a84ae49e8498a7::" providerId="AD" clId="Web-{8DAAB175-7234-79FD-431D-8A7341E0D235}" dt="2022-04-05T17:36:24.950" v="6" actId="1076"/>
        <pc:sldMkLst>
          <pc:docMk/>
          <pc:sldMk cId="2486721525" sldId="341"/>
        </pc:sldMkLst>
        <pc:spChg chg="mod">
          <ac:chgData name="Guest User" userId="S::urn:spo:anon#c437c167f923f422528aee73b5e70e5726914197d2dec7f210a84ae49e8498a7::" providerId="AD" clId="Web-{8DAAB175-7234-79FD-431D-8A7341E0D235}" dt="2022-04-05T17:36:06.246" v="3" actId="1076"/>
          <ac:spMkLst>
            <pc:docMk/>
            <pc:sldMk cId="2486721525" sldId="341"/>
            <ac:spMk id="124" creationId="{3927D24C-3D9A-49E6-98C6-9726B7661B81}"/>
          </ac:spMkLst>
        </pc:spChg>
        <pc:spChg chg="mod">
          <ac:chgData name="Guest User" userId="S::urn:spo:anon#c437c167f923f422528aee73b5e70e5726914197d2dec7f210a84ae49e8498a7::" providerId="AD" clId="Web-{8DAAB175-7234-79FD-431D-8A7341E0D235}" dt="2022-04-05T17:36:24.950" v="6" actId="1076"/>
          <ac:spMkLst>
            <pc:docMk/>
            <pc:sldMk cId="2486721525" sldId="341"/>
            <ac:spMk id="125" creationId="{3E514B59-F9C8-4C76-973B-1F2C3AB2226B}"/>
          </ac:spMkLst>
        </pc:spChg>
      </pc:sldChg>
    </pc:docChg>
  </pc:docChgLst>
  <pc:docChgLst>
    <pc:chgData name="Guest User" userId="S::urn:spo:anon#bc72e6c931b442e1b83d9d7baffb28dcb7bee849e2d9a5e2bb7cc25170a1c113::" providerId="AD" clId="Web-{24BC702D-6B48-C616-32E0-C39C1B0B0721}"/>
    <pc:docChg chg="modSld">
      <pc:chgData name="Guest User" userId="S::urn:spo:anon#bc72e6c931b442e1b83d9d7baffb28dcb7bee849e2d9a5e2bb7cc25170a1c113::" providerId="AD" clId="Web-{24BC702D-6B48-C616-32E0-C39C1B0B0721}" dt="2022-03-22T08:27:17.108" v="8" actId="1076"/>
      <pc:docMkLst>
        <pc:docMk/>
      </pc:docMkLst>
      <pc:sldChg chg="modSp">
        <pc:chgData name="Guest User" userId="S::urn:spo:anon#bc72e6c931b442e1b83d9d7baffb28dcb7bee849e2d9a5e2bb7cc25170a1c113::" providerId="AD" clId="Web-{24BC702D-6B48-C616-32E0-C39C1B0B0721}" dt="2022-03-22T08:27:17.108" v="8" actId="1076"/>
        <pc:sldMkLst>
          <pc:docMk/>
          <pc:sldMk cId="2486721525" sldId="341"/>
        </pc:sldMkLst>
        <pc:spChg chg="mod">
          <ac:chgData name="Guest User" userId="S::urn:spo:anon#bc72e6c931b442e1b83d9d7baffb28dcb7bee849e2d9a5e2bb7cc25170a1c113::" providerId="AD" clId="Web-{24BC702D-6B48-C616-32E0-C39C1B0B0721}" dt="2022-03-22T08:26:46.685" v="4" actId="1076"/>
          <ac:spMkLst>
            <pc:docMk/>
            <pc:sldMk cId="2486721525" sldId="341"/>
            <ac:spMk id="376" creationId="{00000000-0000-0000-0000-000000000000}"/>
          </ac:spMkLst>
        </pc:spChg>
        <pc:spChg chg="mod">
          <ac:chgData name="Guest User" userId="S::urn:spo:anon#bc72e6c931b442e1b83d9d7baffb28dcb7bee849e2d9a5e2bb7cc25170a1c113::" providerId="AD" clId="Web-{24BC702D-6B48-C616-32E0-C39C1B0B0721}" dt="2022-03-22T08:27:04.014" v="6" actId="1076"/>
          <ac:spMkLst>
            <pc:docMk/>
            <pc:sldMk cId="2486721525" sldId="341"/>
            <ac:spMk id="377" creationId="{00000000-0000-0000-0000-000000000000}"/>
          </ac:spMkLst>
        </pc:spChg>
        <pc:spChg chg="mod">
          <ac:chgData name="Guest User" userId="S::urn:spo:anon#bc72e6c931b442e1b83d9d7baffb28dcb7bee849e2d9a5e2bb7cc25170a1c113::" providerId="AD" clId="Web-{24BC702D-6B48-C616-32E0-C39C1B0B0721}" dt="2022-03-22T08:25:55.168" v="0" actId="1076"/>
          <ac:spMkLst>
            <pc:docMk/>
            <pc:sldMk cId="2486721525" sldId="341"/>
            <ac:spMk id="384" creationId="{00000000-0000-0000-0000-000000000000}"/>
          </ac:spMkLst>
        </pc:spChg>
        <pc:spChg chg="mod">
          <ac:chgData name="Guest User" userId="S::urn:spo:anon#bc72e6c931b442e1b83d9d7baffb28dcb7bee849e2d9a5e2bb7cc25170a1c113::" providerId="AD" clId="Web-{24BC702D-6B48-C616-32E0-C39C1B0B0721}" dt="2022-03-22T08:27:10.232" v="7" actId="1076"/>
          <ac:spMkLst>
            <pc:docMk/>
            <pc:sldMk cId="2486721525" sldId="341"/>
            <ac:spMk id="426" creationId="{00000000-0000-0000-0000-000000000000}"/>
          </ac:spMkLst>
        </pc:spChg>
        <pc:cxnChg chg="mod">
          <ac:chgData name="Guest User" userId="S::urn:spo:anon#bc72e6c931b442e1b83d9d7baffb28dcb7bee849e2d9a5e2bb7cc25170a1c113::" providerId="AD" clId="Web-{24BC702D-6B48-C616-32E0-C39C1B0B0721}" dt="2022-03-22T08:27:17.108" v="8" actId="1076"/>
          <ac:cxnSpMkLst>
            <pc:docMk/>
            <pc:sldMk cId="2486721525" sldId="341"/>
            <ac:cxnSpMk id="390" creationId="{00000000-0000-0000-0000-000000000000}"/>
          </ac:cxnSpMkLst>
        </pc:cxnChg>
      </pc:sldChg>
    </pc:docChg>
  </pc:docChgLst>
  <pc:docChgLst>
    <pc:chgData name="Guest User" userId="S::urn:spo:anon#c437c167f923f422528aee73b5e70e5726914197d2dec7f210a84ae49e8498a7::" providerId="AD" clId="Web-{B8CFBAE6-F3AC-0CFE-3F62-3BE91E994F7C}"/>
    <pc:docChg chg="modSld">
      <pc:chgData name="Guest User" userId="S::urn:spo:anon#c437c167f923f422528aee73b5e70e5726914197d2dec7f210a84ae49e8498a7::" providerId="AD" clId="Web-{B8CFBAE6-F3AC-0CFE-3F62-3BE91E994F7C}" dt="2022-04-05T16:54:03.790" v="405" actId="20577"/>
      <pc:docMkLst>
        <pc:docMk/>
      </pc:docMkLst>
      <pc:sldChg chg="delSp modSp">
        <pc:chgData name="Guest User" userId="S::urn:spo:anon#c437c167f923f422528aee73b5e70e5726914197d2dec7f210a84ae49e8498a7::" providerId="AD" clId="Web-{B8CFBAE6-F3AC-0CFE-3F62-3BE91E994F7C}" dt="2022-04-05T15:38:57.573" v="388"/>
        <pc:sldMkLst>
          <pc:docMk/>
          <pc:sldMk cId="0" sldId="264"/>
        </pc:sldMkLst>
        <pc:spChg chg="del">
          <ac:chgData name="Guest User" userId="S::urn:spo:anon#c437c167f923f422528aee73b5e70e5726914197d2dec7f210a84ae49e8498a7::" providerId="AD" clId="Web-{B8CFBAE6-F3AC-0CFE-3F62-3BE91E994F7C}" dt="2022-04-05T15:38:57.573" v="388"/>
          <ac:spMkLst>
            <pc:docMk/>
            <pc:sldMk cId="0" sldId="264"/>
            <ac:spMk id="2" creationId="{F6BBEB41-92FB-4F29-AAB3-55FCF4F92B4B}"/>
          </ac:spMkLst>
        </pc:spChg>
        <pc:spChg chg="mod">
          <ac:chgData name="Guest User" userId="S::urn:spo:anon#c437c167f923f422528aee73b5e70e5726914197d2dec7f210a84ae49e8498a7::" providerId="AD" clId="Web-{B8CFBAE6-F3AC-0CFE-3F62-3BE91E994F7C}" dt="2022-04-05T15:38:50.432" v="386" actId="20577"/>
          <ac:spMkLst>
            <pc:docMk/>
            <pc:sldMk cId="0" sldId="264"/>
            <ac:spMk id="29" creationId="{CE4534C1-122C-4584-960F-B0117C9A488A}"/>
          </ac:spMkLst>
        </pc:spChg>
        <pc:spChg chg="mod">
          <ac:chgData name="Guest User" userId="S::urn:spo:anon#c437c167f923f422528aee73b5e70e5726914197d2dec7f210a84ae49e8498a7::" providerId="AD" clId="Web-{B8CFBAE6-F3AC-0CFE-3F62-3BE91E994F7C}" dt="2022-04-05T15:38:54.025" v="387" actId="14100"/>
          <ac:spMkLst>
            <pc:docMk/>
            <pc:sldMk cId="0" sldId="264"/>
            <ac:spMk id="467" creationId="{00000000-0000-0000-0000-000000000000}"/>
          </ac:spMkLst>
        </pc:spChg>
      </pc:sldChg>
      <pc:sldChg chg="addSp modSp">
        <pc:chgData name="Guest User" userId="S::urn:spo:anon#c437c167f923f422528aee73b5e70e5726914197d2dec7f210a84ae49e8498a7::" providerId="AD" clId="Web-{B8CFBAE6-F3AC-0CFE-3F62-3BE91E994F7C}" dt="2022-04-05T14:11:19.722" v="164"/>
        <pc:sldMkLst>
          <pc:docMk/>
          <pc:sldMk cId="2576879601" sldId="365"/>
        </pc:sldMkLst>
        <pc:spChg chg="mod">
          <ac:chgData name="Guest User" userId="S::urn:spo:anon#c437c167f923f422528aee73b5e70e5726914197d2dec7f210a84ae49e8498a7::" providerId="AD" clId="Web-{B8CFBAE6-F3AC-0CFE-3F62-3BE91E994F7C}" dt="2022-04-05T14:10:52.862" v="159" actId="1076"/>
          <ac:spMkLst>
            <pc:docMk/>
            <pc:sldMk cId="2576879601" sldId="365"/>
            <ac:spMk id="3" creationId="{346B9D98-5C00-250F-2E85-76FD3A920D22}"/>
          </ac:spMkLst>
        </pc:spChg>
        <pc:spChg chg="add">
          <ac:chgData name="Guest User" userId="S::urn:spo:anon#c437c167f923f422528aee73b5e70e5726914197d2dec7f210a84ae49e8498a7::" providerId="AD" clId="Web-{B8CFBAE6-F3AC-0CFE-3F62-3BE91E994F7C}" dt="2022-04-05T14:11:19.722" v="164"/>
          <ac:spMkLst>
            <pc:docMk/>
            <pc:sldMk cId="2576879601" sldId="365"/>
            <ac:spMk id="10" creationId="{998B1D59-BF40-7A3E-C5E1-52C40461FAA8}"/>
          </ac:spMkLst>
        </pc:spChg>
      </pc:sldChg>
      <pc:sldChg chg="addSp delSp modSp">
        <pc:chgData name="Guest User" userId="S::urn:spo:anon#c437c167f923f422528aee73b5e70e5726914197d2dec7f210a84ae49e8498a7::" providerId="AD" clId="Web-{B8CFBAE6-F3AC-0CFE-3F62-3BE91E994F7C}" dt="2022-04-05T16:53:13.929" v="404"/>
        <pc:sldMkLst>
          <pc:docMk/>
          <pc:sldMk cId="1695560817" sldId="366"/>
        </pc:sldMkLst>
        <pc:spChg chg="add">
          <ac:chgData name="Guest User" userId="S::urn:spo:anon#c437c167f923f422528aee73b5e70e5726914197d2dec7f210a84ae49e8498a7::" providerId="AD" clId="Web-{B8CFBAE6-F3AC-0CFE-3F62-3BE91E994F7C}" dt="2022-04-05T14:11:15.738" v="163"/>
          <ac:spMkLst>
            <pc:docMk/>
            <pc:sldMk cId="1695560817" sldId="366"/>
            <ac:spMk id="6" creationId="{E748C5ED-C778-8D35-B701-D92CD51D7C71}"/>
          </ac:spMkLst>
        </pc:spChg>
        <pc:spChg chg="mod">
          <ac:chgData name="Guest User" userId="S::urn:spo:anon#c437c167f923f422528aee73b5e70e5726914197d2dec7f210a84ae49e8498a7::" providerId="AD" clId="Web-{B8CFBAE6-F3AC-0CFE-3F62-3BE91E994F7C}" dt="2022-04-05T16:52:13.818" v="391" actId="1076"/>
          <ac:spMkLst>
            <pc:docMk/>
            <pc:sldMk cId="1695560817" sldId="366"/>
            <ac:spMk id="7" creationId="{13934D1C-6E4A-EDA6-05C5-4249C9B8C8B5}"/>
          </ac:spMkLst>
        </pc:spChg>
        <pc:spChg chg="mod">
          <ac:chgData name="Guest User" userId="S::urn:spo:anon#c437c167f923f422528aee73b5e70e5726914197d2dec7f210a84ae49e8498a7::" providerId="AD" clId="Web-{B8CFBAE6-F3AC-0CFE-3F62-3BE91E994F7C}" dt="2022-04-05T16:52:17.772" v="392" actId="1076"/>
          <ac:spMkLst>
            <pc:docMk/>
            <pc:sldMk cId="1695560817" sldId="366"/>
            <ac:spMk id="63" creationId="{74696D9C-DE03-D7F7-3DBD-BFACA06BDEE1}"/>
          </ac:spMkLst>
        </pc:spChg>
        <pc:spChg chg="add del mod">
          <ac:chgData name="Guest User" userId="S::urn:spo:anon#c437c167f923f422528aee73b5e70e5726914197d2dec7f210a84ae49e8498a7::" providerId="AD" clId="Web-{B8CFBAE6-F3AC-0CFE-3F62-3BE91E994F7C}" dt="2022-04-05T16:53:13.929" v="404"/>
          <ac:spMkLst>
            <pc:docMk/>
            <pc:sldMk cId="1695560817" sldId="366"/>
            <ac:spMk id="64" creationId="{EAE4B902-032D-3FB4-3C40-3FEE3AA77EA2}"/>
          </ac:spMkLst>
        </pc:spChg>
      </pc:sldChg>
      <pc:sldChg chg="addSp delSp modSp">
        <pc:chgData name="Guest User" userId="S::urn:spo:anon#c437c167f923f422528aee73b5e70e5726914197d2dec7f210a84ae49e8498a7::" providerId="AD" clId="Web-{B8CFBAE6-F3AC-0CFE-3F62-3BE91E994F7C}" dt="2022-04-05T16:54:03.790" v="405" actId="20577"/>
        <pc:sldMkLst>
          <pc:docMk/>
          <pc:sldMk cId="3762238417" sldId="367"/>
        </pc:sldMkLst>
        <pc:spChg chg="mod">
          <ac:chgData name="Guest User" userId="S::urn:spo:anon#c437c167f923f422528aee73b5e70e5726914197d2dec7f210a84ae49e8498a7::" providerId="AD" clId="Web-{B8CFBAE6-F3AC-0CFE-3F62-3BE91E994F7C}" dt="2022-04-05T14:17:30.306" v="238" actId="20577"/>
          <ac:spMkLst>
            <pc:docMk/>
            <pc:sldMk cId="3762238417" sldId="367"/>
            <ac:spMk id="3" creationId="{346B9D98-5C00-250F-2E85-76FD3A920D22}"/>
          </ac:spMkLst>
        </pc:spChg>
        <pc:spChg chg="mod">
          <ac:chgData name="Guest User" userId="S::urn:spo:anon#c437c167f923f422528aee73b5e70e5726914197d2dec7f210a84ae49e8498a7::" providerId="AD" clId="Web-{B8CFBAE6-F3AC-0CFE-3F62-3BE91E994F7C}" dt="2022-04-05T16:54:03.790" v="405" actId="20577"/>
          <ac:spMkLst>
            <pc:docMk/>
            <pc:sldMk cId="3762238417" sldId="367"/>
            <ac:spMk id="5" creationId="{36D64229-262E-4A6E-9C18-00F422DCB439}"/>
          </ac:spMkLst>
        </pc:spChg>
        <pc:spChg chg="add">
          <ac:chgData name="Guest User" userId="S::urn:spo:anon#c437c167f923f422528aee73b5e70e5726914197d2dec7f210a84ae49e8498a7::" providerId="AD" clId="Web-{B8CFBAE6-F3AC-0CFE-3F62-3BE91E994F7C}" dt="2022-04-05T14:11:26.285" v="166"/>
          <ac:spMkLst>
            <pc:docMk/>
            <pc:sldMk cId="3762238417" sldId="367"/>
            <ac:spMk id="10" creationId="{1E5EB53C-4C7C-0E54-81CD-8BA7C0A66A7F}"/>
          </ac:spMkLst>
        </pc:spChg>
        <pc:spChg chg="del">
          <ac:chgData name="Guest User" userId="S::urn:spo:anon#c437c167f923f422528aee73b5e70e5726914197d2dec7f210a84ae49e8498a7::" providerId="AD" clId="Web-{B8CFBAE6-F3AC-0CFE-3F62-3BE91E994F7C}" dt="2022-04-05T13:21:21.053" v="110"/>
          <ac:spMkLst>
            <pc:docMk/>
            <pc:sldMk cId="3762238417" sldId="367"/>
            <ac:spMk id="11" creationId="{CBD3480E-29E4-CF16-7FAC-4FDE84110F7D}"/>
          </ac:spMkLst>
        </pc:spChg>
        <pc:spChg chg="add mod">
          <ac:chgData name="Guest User" userId="S::urn:spo:anon#c437c167f923f422528aee73b5e70e5726914197d2dec7f210a84ae49e8498a7::" providerId="AD" clId="Web-{B8CFBAE6-F3AC-0CFE-3F62-3BE91E994F7C}" dt="2022-04-05T14:13:40.887" v="189" actId="1076"/>
          <ac:spMkLst>
            <pc:docMk/>
            <pc:sldMk cId="3762238417" sldId="367"/>
            <ac:spMk id="12" creationId="{33B203BF-E480-8FAF-0565-392D3EFF8B4E}"/>
          </ac:spMkLst>
        </pc:spChg>
      </pc:sldChg>
      <pc:sldChg chg="modSp">
        <pc:chgData name="Guest User" userId="S::urn:spo:anon#c437c167f923f422528aee73b5e70e5726914197d2dec7f210a84ae49e8498a7::" providerId="AD" clId="Web-{B8CFBAE6-F3AC-0CFE-3F62-3BE91E994F7C}" dt="2022-04-05T14:06:58.536" v="149" actId="20577"/>
        <pc:sldMkLst>
          <pc:docMk/>
          <pc:sldMk cId="3514561185" sldId="374"/>
        </pc:sldMkLst>
        <pc:spChg chg="mod">
          <ac:chgData name="Guest User" userId="S::urn:spo:anon#c437c167f923f422528aee73b5e70e5726914197d2dec7f210a84ae49e8498a7::" providerId="AD" clId="Web-{B8CFBAE6-F3AC-0CFE-3F62-3BE91E994F7C}" dt="2022-04-05T14:06:58.536" v="149" actId="20577"/>
          <ac:spMkLst>
            <pc:docMk/>
            <pc:sldMk cId="3514561185" sldId="374"/>
            <ac:spMk id="331" creationId="{00000000-0000-0000-0000-000000000000}"/>
          </ac:spMkLst>
        </pc:spChg>
      </pc:sldChg>
      <pc:sldChg chg="addSp">
        <pc:chgData name="Guest User" userId="S::urn:spo:anon#c437c167f923f422528aee73b5e70e5726914197d2dec7f210a84ae49e8498a7::" providerId="AD" clId="Web-{B8CFBAE6-F3AC-0CFE-3F62-3BE91E994F7C}" dt="2022-04-05T14:11:31.770" v="168"/>
        <pc:sldMkLst>
          <pc:docMk/>
          <pc:sldMk cId="604654217" sldId="375"/>
        </pc:sldMkLst>
        <pc:spChg chg="add">
          <ac:chgData name="Guest User" userId="S::urn:spo:anon#c437c167f923f422528aee73b5e70e5726914197d2dec7f210a84ae49e8498a7::" providerId="AD" clId="Web-{B8CFBAE6-F3AC-0CFE-3F62-3BE91E994F7C}" dt="2022-04-05T14:11:31.770" v="168"/>
          <ac:spMkLst>
            <pc:docMk/>
            <pc:sldMk cId="604654217" sldId="375"/>
            <ac:spMk id="9" creationId="{1673559D-641B-CEF7-656B-BA67BB200460}"/>
          </ac:spMkLst>
        </pc:spChg>
      </pc:sldChg>
      <pc:sldChg chg="addSp delSp modSp">
        <pc:chgData name="Guest User" userId="S::urn:spo:anon#c437c167f923f422528aee73b5e70e5726914197d2dec7f210a84ae49e8498a7::" providerId="AD" clId="Web-{B8CFBAE6-F3AC-0CFE-3F62-3BE91E994F7C}" dt="2022-04-05T14:25:48.053" v="379" actId="20577"/>
        <pc:sldMkLst>
          <pc:docMk/>
          <pc:sldMk cId="3117050842" sldId="377"/>
        </pc:sldMkLst>
        <pc:spChg chg="del">
          <ac:chgData name="Guest User" userId="S::urn:spo:anon#c437c167f923f422528aee73b5e70e5726914197d2dec7f210a84ae49e8498a7::" providerId="AD" clId="Web-{B8CFBAE6-F3AC-0CFE-3F62-3BE91E994F7C}" dt="2022-04-05T14:11:54.256" v="169"/>
          <ac:spMkLst>
            <pc:docMk/>
            <pc:sldMk cId="3117050842" sldId="377"/>
            <ac:spMk id="3" creationId="{346B9D98-5C00-250F-2E85-76FD3A920D22}"/>
          </ac:spMkLst>
        </pc:spChg>
        <pc:spChg chg="mod">
          <ac:chgData name="Guest User" userId="S::urn:spo:anon#c437c167f923f422528aee73b5e70e5726914197d2dec7f210a84ae49e8498a7::" providerId="AD" clId="Web-{B8CFBAE6-F3AC-0CFE-3F62-3BE91E994F7C}" dt="2022-04-05T14:24:01.609" v="342" actId="14100"/>
          <ac:spMkLst>
            <pc:docMk/>
            <pc:sldMk cId="3117050842" sldId="377"/>
            <ac:spMk id="5" creationId="{36D64229-262E-4A6E-9C18-00F422DCB439}"/>
          </ac:spMkLst>
        </pc:spChg>
        <pc:spChg chg="mod">
          <ac:chgData name="Guest User" userId="S::urn:spo:anon#c437c167f923f422528aee73b5e70e5726914197d2dec7f210a84ae49e8498a7::" providerId="AD" clId="Web-{B8CFBAE6-F3AC-0CFE-3F62-3BE91E994F7C}" dt="2022-04-05T14:24:20.767" v="346" actId="1076"/>
          <ac:spMkLst>
            <pc:docMk/>
            <pc:sldMk cId="3117050842" sldId="377"/>
            <ac:spMk id="9" creationId="{A559BC09-4387-488E-85BC-CBE75B1CE17C}"/>
          </ac:spMkLst>
        </pc:spChg>
        <pc:spChg chg="add">
          <ac:chgData name="Guest User" userId="S::urn:spo:anon#c437c167f923f422528aee73b5e70e5726914197d2dec7f210a84ae49e8498a7::" providerId="AD" clId="Web-{B8CFBAE6-F3AC-0CFE-3F62-3BE91E994F7C}" dt="2022-04-05T14:11:28.895" v="167"/>
          <ac:spMkLst>
            <pc:docMk/>
            <pc:sldMk cId="3117050842" sldId="377"/>
            <ac:spMk id="10" creationId="{1F441183-42F9-8DED-0F26-2ADE8FD64C41}"/>
          </ac:spMkLst>
        </pc:spChg>
        <pc:spChg chg="mod">
          <ac:chgData name="Guest User" userId="S::urn:spo:anon#c437c167f923f422528aee73b5e70e5726914197d2dec7f210a84ae49e8498a7::" providerId="AD" clId="Web-{B8CFBAE6-F3AC-0CFE-3F62-3BE91E994F7C}" dt="2022-04-05T14:24:16.829" v="345" actId="14100"/>
          <ac:spMkLst>
            <pc:docMk/>
            <pc:sldMk cId="3117050842" sldId="377"/>
            <ac:spMk id="11" creationId="{C1418990-22FB-4D1F-EAB1-69EB1F676AC0}"/>
          </ac:spMkLst>
        </pc:spChg>
        <pc:spChg chg="mod">
          <ac:chgData name="Guest User" userId="S::urn:spo:anon#c437c167f923f422528aee73b5e70e5726914197d2dec7f210a84ae49e8498a7::" providerId="AD" clId="Web-{B8CFBAE6-F3AC-0CFE-3F62-3BE91E994F7C}" dt="2022-04-05T14:24:59.316" v="353" actId="20577"/>
          <ac:spMkLst>
            <pc:docMk/>
            <pc:sldMk cId="3117050842" sldId="377"/>
            <ac:spMk id="12" creationId="{85D5939B-C636-4551-B695-13CF3D96E08C}"/>
          </ac:spMkLst>
        </pc:spChg>
        <pc:spChg chg="mod">
          <ac:chgData name="Guest User" userId="S::urn:spo:anon#c437c167f923f422528aee73b5e70e5726914197d2dec7f210a84ae49e8498a7::" providerId="AD" clId="Web-{B8CFBAE6-F3AC-0CFE-3F62-3BE91E994F7C}" dt="2022-04-05T14:25:48.053" v="379" actId="20577"/>
          <ac:spMkLst>
            <pc:docMk/>
            <pc:sldMk cId="3117050842" sldId="377"/>
            <ac:spMk id="13" creationId="{52728604-4CC7-4599-8C24-A8100EF5CD46}"/>
          </ac:spMkLst>
        </pc:spChg>
        <pc:spChg chg="add del mod">
          <ac:chgData name="Guest User" userId="S::urn:spo:anon#c437c167f923f422528aee73b5e70e5726914197d2dec7f210a84ae49e8498a7::" providerId="AD" clId="Web-{B8CFBAE6-F3AC-0CFE-3F62-3BE91E994F7C}" dt="2022-04-05T14:23:08.403" v="328"/>
          <ac:spMkLst>
            <pc:docMk/>
            <pc:sldMk cId="3117050842" sldId="377"/>
            <ac:spMk id="15" creationId="{2A34D8B8-26B8-BC13-534F-00E923EAE3B0}"/>
          </ac:spMkLst>
        </pc:spChg>
        <pc:spChg chg="add del mod">
          <ac:chgData name="Guest User" userId="S::urn:spo:anon#c437c167f923f422528aee73b5e70e5726914197d2dec7f210a84ae49e8498a7::" providerId="AD" clId="Web-{B8CFBAE6-F3AC-0CFE-3F62-3BE91E994F7C}" dt="2022-04-05T14:18:44.279" v="246"/>
          <ac:spMkLst>
            <pc:docMk/>
            <pc:sldMk cId="3117050842" sldId="377"/>
            <ac:spMk id="16" creationId="{A2BD1E5E-1AF9-67B2-A2D9-3D8DB9CEB0A2}"/>
          </ac:spMkLst>
        </pc:spChg>
        <pc:spChg chg="add del mod">
          <ac:chgData name="Guest User" userId="S::urn:spo:anon#c437c167f923f422528aee73b5e70e5726914197d2dec7f210a84ae49e8498a7::" providerId="AD" clId="Web-{B8CFBAE6-F3AC-0CFE-3F62-3BE91E994F7C}" dt="2022-04-05T14:19:57.033" v="268"/>
          <ac:spMkLst>
            <pc:docMk/>
            <pc:sldMk cId="3117050842" sldId="377"/>
            <ac:spMk id="17" creationId="{82A0E330-4A96-DBAA-4601-F9115BE9D2C4}"/>
          </ac:spMkLst>
        </pc:spChg>
        <pc:spChg chg="add del">
          <ac:chgData name="Guest User" userId="S::urn:spo:anon#c437c167f923f422528aee73b5e70e5726914197d2dec7f210a84ae49e8498a7::" providerId="AD" clId="Web-{B8CFBAE6-F3AC-0CFE-3F62-3BE91E994F7C}" dt="2022-04-05T14:22:48.871" v="321"/>
          <ac:spMkLst>
            <pc:docMk/>
            <pc:sldMk cId="3117050842" sldId="377"/>
            <ac:spMk id="19" creationId="{600A75F1-FB38-113C-00C8-D76289FEF29C}"/>
          </ac:spMkLst>
        </pc:spChg>
      </pc:sldChg>
    </pc:docChg>
  </pc:docChgLst>
  <pc:docChgLst>
    <pc:chgData name="Guest User" userId="S::urn:spo:anon#c437c167f923f422528aee73b5e70e5726914197d2dec7f210a84ae49e8498a7::" providerId="AD" clId="Web-{D6FBBE49-35D0-C1D6-8F72-C8066D93A8B7}"/>
    <pc:docChg chg="modSld">
      <pc:chgData name="Guest User" userId="S::urn:spo:anon#c437c167f923f422528aee73b5e70e5726914197d2dec7f210a84ae49e8498a7::" providerId="AD" clId="Web-{D6FBBE49-35D0-C1D6-8F72-C8066D93A8B7}" dt="2022-04-04T17:57:34.967" v="177"/>
      <pc:docMkLst>
        <pc:docMk/>
      </pc:docMkLst>
      <pc:sldChg chg="modSp">
        <pc:chgData name="Guest User" userId="S::urn:spo:anon#c437c167f923f422528aee73b5e70e5726914197d2dec7f210a84ae49e8498a7::" providerId="AD" clId="Web-{D6FBBE49-35D0-C1D6-8F72-C8066D93A8B7}" dt="2022-04-04T17:26:17.811" v="96" actId="20577"/>
        <pc:sldMkLst>
          <pc:docMk/>
          <pc:sldMk cId="0" sldId="264"/>
        </pc:sldMkLst>
        <pc:spChg chg="mod">
          <ac:chgData name="Guest User" userId="S::urn:spo:anon#c437c167f923f422528aee73b5e70e5726914197d2dec7f210a84ae49e8498a7::" providerId="AD" clId="Web-{D6FBBE49-35D0-C1D6-8F72-C8066D93A8B7}" dt="2022-04-04T17:26:17.811" v="96" actId="20577"/>
          <ac:spMkLst>
            <pc:docMk/>
            <pc:sldMk cId="0" sldId="264"/>
            <ac:spMk id="26" creationId="{63D5B65A-793E-4E79-B52C-834340BABD85}"/>
          </ac:spMkLst>
        </pc:spChg>
      </pc:sldChg>
      <pc:sldChg chg="modSp">
        <pc:chgData name="Guest User" userId="S::urn:spo:anon#c437c167f923f422528aee73b5e70e5726914197d2dec7f210a84ae49e8498a7::" providerId="AD" clId="Web-{D6FBBE49-35D0-C1D6-8F72-C8066D93A8B7}" dt="2022-04-04T17:54:57.901" v="125" actId="20577"/>
        <pc:sldMkLst>
          <pc:docMk/>
          <pc:sldMk cId="0" sldId="275"/>
        </pc:sldMkLst>
        <pc:spChg chg="mod">
          <ac:chgData name="Guest User" userId="S::urn:spo:anon#c437c167f923f422528aee73b5e70e5726914197d2dec7f210a84ae49e8498a7::" providerId="AD" clId="Web-{D6FBBE49-35D0-C1D6-8F72-C8066D93A8B7}" dt="2022-04-04T17:54:57.901" v="125" actId="20577"/>
          <ac:spMkLst>
            <pc:docMk/>
            <pc:sldMk cId="0" sldId="275"/>
            <ac:spMk id="9" creationId="{0FBC84A6-EDCC-927D-4D8D-DFA9A4DCE659}"/>
          </ac:spMkLst>
        </pc:spChg>
      </pc:sldChg>
      <pc:sldChg chg="modSp">
        <pc:chgData name="Guest User" userId="S::urn:spo:anon#c437c167f923f422528aee73b5e70e5726914197d2dec7f210a84ae49e8498a7::" providerId="AD" clId="Web-{D6FBBE49-35D0-C1D6-8F72-C8066D93A8B7}" dt="2022-04-04T17:45:59.153" v="116" actId="20577"/>
        <pc:sldMkLst>
          <pc:docMk/>
          <pc:sldMk cId="1756389301" sldId="323"/>
        </pc:sldMkLst>
        <pc:spChg chg="mod">
          <ac:chgData name="Guest User" userId="S::urn:spo:anon#c437c167f923f422528aee73b5e70e5726914197d2dec7f210a84ae49e8498a7::" providerId="AD" clId="Web-{D6FBBE49-35D0-C1D6-8F72-C8066D93A8B7}" dt="2022-04-04T17:45:59.153" v="116" actId="20577"/>
          <ac:spMkLst>
            <pc:docMk/>
            <pc:sldMk cId="1756389301" sldId="323"/>
            <ac:spMk id="16" creationId="{8F0CA37A-B6EB-4A17-9D52-2FBB285889D0}"/>
          </ac:spMkLst>
        </pc:spChg>
      </pc:sldChg>
      <pc:sldChg chg="addSp delSp modSp">
        <pc:chgData name="Guest User" userId="S::urn:spo:anon#c437c167f923f422528aee73b5e70e5726914197d2dec7f210a84ae49e8498a7::" providerId="AD" clId="Web-{D6FBBE49-35D0-C1D6-8F72-C8066D93A8B7}" dt="2022-04-04T17:11:42.930" v="78" actId="20577"/>
        <pc:sldMkLst>
          <pc:docMk/>
          <pc:sldMk cId="1209993513" sldId="338"/>
        </pc:sldMkLst>
        <pc:spChg chg="del">
          <ac:chgData name="Guest User" userId="S::urn:spo:anon#c437c167f923f422528aee73b5e70e5726914197d2dec7f210a84ae49e8498a7::" providerId="AD" clId="Web-{D6FBBE49-35D0-C1D6-8F72-C8066D93A8B7}" dt="2022-04-04T16:59:36.833" v="72"/>
          <ac:spMkLst>
            <pc:docMk/>
            <pc:sldMk cId="1209993513" sldId="338"/>
            <ac:spMk id="13" creationId="{7CB40364-C6DD-4E16-B46E-08A1E44306A9}"/>
          </ac:spMkLst>
        </pc:spChg>
        <pc:spChg chg="mod">
          <ac:chgData name="Guest User" userId="S::urn:spo:anon#c437c167f923f422528aee73b5e70e5726914197d2dec7f210a84ae49e8498a7::" providerId="AD" clId="Web-{D6FBBE49-35D0-C1D6-8F72-C8066D93A8B7}" dt="2022-04-04T16:59:34.380" v="71" actId="20577"/>
          <ac:spMkLst>
            <pc:docMk/>
            <pc:sldMk cId="1209993513" sldId="338"/>
            <ac:spMk id="16" creationId="{F29BBF2D-5F15-45EC-BE2A-14ABF1E18DB5}"/>
          </ac:spMkLst>
        </pc:spChg>
        <pc:spChg chg="mod">
          <ac:chgData name="Guest User" userId="S::urn:spo:anon#c437c167f923f422528aee73b5e70e5726914197d2dec7f210a84ae49e8498a7::" providerId="AD" clId="Web-{D6FBBE49-35D0-C1D6-8F72-C8066D93A8B7}" dt="2022-04-04T17:11:42.930" v="78" actId="20577"/>
          <ac:spMkLst>
            <pc:docMk/>
            <pc:sldMk cId="1209993513" sldId="338"/>
            <ac:spMk id="609" creationId="{00000000-0000-0000-0000-000000000000}"/>
          </ac:spMkLst>
        </pc:spChg>
        <pc:picChg chg="add mod">
          <ac:chgData name="Guest User" userId="S::urn:spo:anon#c437c167f923f422528aee73b5e70e5726914197d2dec7f210a84ae49e8498a7::" providerId="AD" clId="Web-{D6FBBE49-35D0-C1D6-8F72-C8066D93A8B7}" dt="2022-04-04T17:00:58.210" v="77" actId="1076"/>
          <ac:picMkLst>
            <pc:docMk/>
            <pc:sldMk cId="1209993513" sldId="338"/>
            <ac:picMk id="4" creationId="{E28D81F6-4FB1-0216-2B96-210D9B8C15D6}"/>
          </ac:picMkLst>
        </pc:picChg>
      </pc:sldChg>
      <pc:sldChg chg="modSp">
        <pc:chgData name="Guest User" userId="S::urn:spo:anon#c437c167f923f422528aee73b5e70e5726914197d2dec7f210a84ae49e8498a7::" providerId="AD" clId="Web-{D6FBBE49-35D0-C1D6-8F72-C8066D93A8B7}" dt="2022-04-04T16:44:25.076" v="19"/>
        <pc:sldMkLst>
          <pc:docMk/>
          <pc:sldMk cId="754587697" sldId="352"/>
        </pc:sldMkLst>
        <pc:graphicFrameChg chg="mod modGraphic">
          <ac:chgData name="Guest User" userId="S::urn:spo:anon#c437c167f923f422528aee73b5e70e5726914197d2dec7f210a84ae49e8498a7::" providerId="AD" clId="Web-{D6FBBE49-35D0-C1D6-8F72-C8066D93A8B7}" dt="2022-04-04T16:44:25.076" v="19"/>
          <ac:graphicFrameMkLst>
            <pc:docMk/>
            <pc:sldMk cId="754587697" sldId="352"/>
            <ac:graphicFrameMk id="23" creationId="{F4A84191-3BFB-48AA-A343-19DE4EA3891C}"/>
          </ac:graphicFrameMkLst>
        </pc:graphicFrameChg>
      </pc:sldChg>
      <pc:sldChg chg="modSp">
        <pc:chgData name="Guest User" userId="S::urn:spo:anon#c437c167f923f422528aee73b5e70e5726914197d2dec7f210a84ae49e8498a7::" providerId="AD" clId="Web-{D6FBBE49-35D0-C1D6-8F72-C8066D93A8B7}" dt="2022-04-04T17:57:34.967" v="177"/>
        <pc:sldMkLst>
          <pc:docMk/>
          <pc:sldMk cId="1138474479" sldId="369"/>
        </pc:sldMkLst>
        <pc:spChg chg="mod">
          <ac:chgData name="Guest User" userId="S::urn:spo:anon#c437c167f923f422528aee73b5e70e5726914197d2dec7f210a84ae49e8498a7::" providerId="AD" clId="Web-{D6FBBE49-35D0-C1D6-8F72-C8066D93A8B7}" dt="2022-04-04T17:55:25.792" v="135" actId="20577"/>
          <ac:spMkLst>
            <pc:docMk/>
            <pc:sldMk cId="1138474479" sldId="369"/>
            <ac:spMk id="10" creationId="{A698D7F4-3A03-4266-B816-9503033CB2A4}"/>
          </ac:spMkLst>
        </pc:spChg>
        <pc:graphicFrameChg chg="mod modGraphic">
          <ac:chgData name="Guest User" userId="S::urn:spo:anon#c437c167f923f422528aee73b5e70e5726914197d2dec7f210a84ae49e8498a7::" providerId="AD" clId="Web-{D6FBBE49-35D0-C1D6-8F72-C8066D93A8B7}" dt="2022-04-04T17:57:34.967" v="177"/>
          <ac:graphicFrameMkLst>
            <pc:docMk/>
            <pc:sldMk cId="1138474479" sldId="369"/>
            <ac:graphicFrameMk id="694" creationId="{00000000-0000-0000-0000-000000000000}"/>
          </ac:graphicFrameMkLst>
        </pc:graphicFrameChg>
      </pc:sldChg>
    </pc:docChg>
  </pc:docChgLst>
  <pc:docChgLst>
    <pc:chgData name="Guest User" userId="S::urn:spo:anon#bc72e6c931b442e1b83d9d7baffb28dcb7bee849e2d9a5e2bb7cc25170a1c113::" providerId="AD" clId="Web-{2BE151CB-36DF-587D-7AEE-D05F56C9CEA4}"/>
    <pc:docChg chg="modSld">
      <pc:chgData name="Guest User" userId="S::urn:spo:anon#bc72e6c931b442e1b83d9d7baffb28dcb7bee849e2d9a5e2bb7cc25170a1c113::" providerId="AD" clId="Web-{2BE151CB-36DF-587D-7AEE-D05F56C9CEA4}" dt="2022-03-21T15:58:52.638" v="0" actId="1076"/>
      <pc:docMkLst>
        <pc:docMk/>
      </pc:docMkLst>
      <pc:sldChg chg="modSp">
        <pc:chgData name="Guest User" userId="S::urn:spo:anon#bc72e6c931b442e1b83d9d7baffb28dcb7bee849e2d9a5e2bb7cc25170a1c113::" providerId="AD" clId="Web-{2BE151CB-36DF-587D-7AEE-D05F56C9CEA4}" dt="2022-03-21T15:58:52.638" v="0" actId="1076"/>
        <pc:sldMkLst>
          <pc:docMk/>
          <pc:sldMk cId="754587697" sldId="352"/>
        </pc:sldMkLst>
        <pc:spChg chg="mod">
          <ac:chgData name="Guest User" userId="S::urn:spo:anon#bc72e6c931b442e1b83d9d7baffb28dcb7bee849e2d9a5e2bb7cc25170a1c113::" providerId="AD" clId="Web-{2BE151CB-36DF-587D-7AEE-D05F56C9CEA4}" dt="2022-03-21T15:58:52.638" v="0" actId="1076"/>
          <ac:spMkLst>
            <pc:docMk/>
            <pc:sldMk cId="754587697" sldId="352"/>
            <ac:spMk id="4" creationId="{974B56B3-82DE-42A0-B45B-EC8564BAA9EE}"/>
          </ac:spMkLst>
        </pc:spChg>
      </pc:sldChg>
    </pc:docChg>
  </pc:docChgLst>
  <pc:docChgLst>
    <pc:chgData name="Guest User" userId="S::urn:spo:anon#6bbc8ad3065cd11d92081721a572e8f9c9b85cc64084c82913bb48609c033f69::" providerId="AD" clId="Web-{0417915B-8302-53CF-D2C7-B6F3D8DE8310}"/>
    <pc:docChg chg="modSld">
      <pc:chgData name="Guest User" userId="S::urn:spo:anon#6bbc8ad3065cd11d92081721a572e8f9c9b85cc64084c82913bb48609c033f69::" providerId="AD" clId="Web-{0417915B-8302-53CF-D2C7-B6F3D8DE8310}" dt="2022-04-19T12:34:06.035" v="0" actId="1076"/>
      <pc:docMkLst>
        <pc:docMk/>
      </pc:docMkLst>
      <pc:sldChg chg="modSp">
        <pc:chgData name="Guest User" userId="S::urn:spo:anon#6bbc8ad3065cd11d92081721a572e8f9c9b85cc64084c82913bb48609c033f69::" providerId="AD" clId="Web-{0417915B-8302-53CF-D2C7-B6F3D8DE8310}" dt="2022-04-19T12:34:06.035" v="0" actId="1076"/>
        <pc:sldMkLst>
          <pc:docMk/>
          <pc:sldMk cId="0" sldId="259"/>
        </pc:sldMkLst>
        <pc:spChg chg="mod">
          <ac:chgData name="Guest User" userId="S::urn:spo:anon#6bbc8ad3065cd11d92081721a572e8f9c9b85cc64084c82913bb48609c033f69::" providerId="AD" clId="Web-{0417915B-8302-53CF-D2C7-B6F3D8DE8310}" dt="2022-04-19T12:34:06.035" v="0" actId="1076"/>
          <ac:spMkLst>
            <pc:docMk/>
            <pc:sldMk cId="0" sldId="259"/>
            <ac:spMk id="61" creationId="{C51DA092-9C64-E1F6-D5F1-DF5C36135B45}"/>
          </ac:spMkLst>
        </pc:spChg>
      </pc:sldChg>
    </pc:docChg>
  </pc:docChgLst>
  <pc:docChgLst>
    <pc:chgData name="Guest User" userId="S::urn:spo:anon#bc72e6c931b442e1b83d9d7baffb28dcb7bee849e2d9a5e2bb7cc25170a1c113::" providerId="AD" clId="Web-{59C8D809-F467-E337-3A2D-3E0EC86DEFA1}"/>
    <pc:docChg chg="addSld modSld">
      <pc:chgData name="Guest User" userId="S::urn:spo:anon#bc72e6c931b442e1b83d9d7baffb28dcb7bee849e2d9a5e2bb7cc25170a1c113::" providerId="AD" clId="Web-{59C8D809-F467-E337-3A2D-3E0EC86DEFA1}" dt="2022-03-21T15:41:09.196" v="9"/>
      <pc:docMkLst>
        <pc:docMk/>
      </pc:docMkLst>
      <pc:sldChg chg="addSp delSp modSp">
        <pc:chgData name="Guest User" userId="S::urn:spo:anon#bc72e6c931b442e1b83d9d7baffb28dcb7bee849e2d9a5e2bb7cc25170a1c113::" providerId="AD" clId="Web-{59C8D809-F467-E337-3A2D-3E0EC86DEFA1}" dt="2022-03-21T15:40:58.992" v="8"/>
        <pc:sldMkLst>
          <pc:docMk/>
          <pc:sldMk cId="1358823486" sldId="345"/>
        </pc:sldMkLst>
        <pc:spChg chg="add del mod">
          <ac:chgData name="Guest User" userId="S::urn:spo:anon#bc72e6c931b442e1b83d9d7baffb28dcb7bee849e2d9a5e2bb7cc25170a1c113::" providerId="AD" clId="Web-{59C8D809-F467-E337-3A2D-3E0EC86DEFA1}" dt="2022-03-21T15:40:58.992" v="8"/>
          <ac:spMkLst>
            <pc:docMk/>
            <pc:sldMk cId="1358823486" sldId="345"/>
            <ac:spMk id="16" creationId="{220AB19E-B91A-4B01-A8D7-ABB6FE307B6B}"/>
          </ac:spMkLst>
        </pc:spChg>
        <pc:spChg chg="add del mod">
          <ac:chgData name="Guest User" userId="S::urn:spo:anon#bc72e6c931b442e1b83d9d7baffb28dcb7bee849e2d9a5e2bb7cc25170a1c113::" providerId="AD" clId="Web-{59C8D809-F467-E337-3A2D-3E0EC86DEFA1}" dt="2022-03-21T15:40:51.414" v="6"/>
          <ac:spMkLst>
            <pc:docMk/>
            <pc:sldMk cId="1358823486" sldId="345"/>
            <ac:spMk id="18" creationId="{247E2029-EBB2-400C-A6C5-4A73E73093F5}"/>
          </ac:spMkLst>
        </pc:spChg>
        <pc:picChg chg="del">
          <ac:chgData name="Guest User" userId="S::urn:spo:anon#bc72e6c931b442e1b83d9d7baffb28dcb7bee849e2d9a5e2bb7cc25170a1c113::" providerId="AD" clId="Web-{59C8D809-F467-E337-3A2D-3E0EC86DEFA1}" dt="2022-03-21T15:40:44.429" v="0"/>
          <ac:picMkLst>
            <pc:docMk/>
            <pc:sldMk cId="1358823486" sldId="345"/>
            <ac:picMk id="6" creationId="{5530CA94-ED4E-4E75-A9ED-684CCB9BF0CB}"/>
          </ac:picMkLst>
        </pc:picChg>
      </pc:sldChg>
      <pc:sldChg chg="add">
        <pc:chgData name="Guest User" userId="S::urn:spo:anon#bc72e6c931b442e1b83d9d7baffb28dcb7bee849e2d9a5e2bb7cc25170a1c113::" providerId="AD" clId="Web-{59C8D809-F467-E337-3A2D-3E0EC86DEFA1}" dt="2022-03-21T15:41:09.196" v="9"/>
        <pc:sldMkLst>
          <pc:docMk/>
          <pc:sldMk cId="2527603155" sldId="353"/>
        </pc:sldMkLst>
      </pc:sldChg>
    </pc:docChg>
  </pc:docChgLst>
  <pc:docChgLst>
    <pc:chgData name="Guest User" userId="S::urn:spo:anon#c437c167f923f422528aee73b5e70e5726914197d2dec7f210a84ae49e8498a7::" providerId="AD" clId="Web-{3AD9301E-13C0-D905-8F61-8A7C69DBDC93}"/>
    <pc:docChg chg="modSld">
      <pc:chgData name="Guest User" userId="S::urn:spo:anon#c437c167f923f422528aee73b5e70e5726914197d2dec7f210a84ae49e8498a7::" providerId="AD" clId="Web-{3AD9301E-13C0-D905-8F61-8A7C69DBDC93}" dt="2022-04-04T17:13:49.755" v="298" actId="20577"/>
      <pc:docMkLst>
        <pc:docMk/>
      </pc:docMkLst>
      <pc:sldChg chg="addSp delSp modSp">
        <pc:chgData name="Guest User" userId="S::urn:spo:anon#c437c167f923f422528aee73b5e70e5726914197d2dec7f210a84ae49e8498a7::" providerId="AD" clId="Web-{3AD9301E-13C0-D905-8F61-8A7C69DBDC93}" dt="2022-04-04T17:13:49.755" v="298" actId="20577"/>
        <pc:sldMkLst>
          <pc:docMk/>
          <pc:sldMk cId="3762238417" sldId="367"/>
        </pc:sldMkLst>
        <pc:spChg chg="mod">
          <ac:chgData name="Guest User" userId="S::urn:spo:anon#c437c167f923f422528aee73b5e70e5726914197d2dec7f210a84ae49e8498a7::" providerId="AD" clId="Web-{3AD9301E-13C0-D905-8F61-8A7C69DBDC93}" dt="2022-04-04T17:13:49.755" v="298" actId="20577"/>
          <ac:spMkLst>
            <pc:docMk/>
            <pc:sldMk cId="3762238417" sldId="367"/>
            <ac:spMk id="3" creationId="{346B9D98-5C00-250F-2E85-76FD3A920D22}"/>
          </ac:spMkLst>
        </pc:spChg>
        <pc:spChg chg="mod">
          <ac:chgData name="Guest User" userId="S::urn:spo:anon#c437c167f923f422528aee73b5e70e5726914197d2dec7f210a84ae49e8498a7::" providerId="AD" clId="Web-{3AD9301E-13C0-D905-8F61-8A7C69DBDC93}" dt="2022-04-04T17:11:00.578" v="288" actId="1076"/>
          <ac:spMkLst>
            <pc:docMk/>
            <pc:sldMk cId="3762238417" sldId="367"/>
            <ac:spMk id="9" creationId="{A559BC09-4387-488E-85BC-CBE75B1CE17C}"/>
          </ac:spMkLst>
        </pc:spChg>
        <pc:picChg chg="add del mod">
          <ac:chgData name="Guest User" userId="S::urn:spo:anon#c437c167f923f422528aee73b5e70e5726914197d2dec7f210a84ae49e8498a7::" providerId="AD" clId="Web-{3AD9301E-13C0-D905-8F61-8A7C69DBDC93}" dt="2022-04-04T17:10:00.311" v="271"/>
          <ac:picMkLst>
            <pc:docMk/>
            <pc:sldMk cId="3762238417" sldId="367"/>
            <ac:picMk id="10" creationId="{A1E6E822-3170-FF27-F0D7-8F496FF141D8}"/>
          </ac:picMkLst>
        </pc:picChg>
      </pc:sldChg>
    </pc:docChg>
  </pc:docChgLst>
  <pc:docChgLst>
    <pc:chgData name="Guest User" userId="S::urn:spo:anon#c437c167f923f422528aee73b5e70e5726914197d2dec7f210a84ae49e8498a7::" providerId="AD" clId="Web-{31E0F0A3-0D9A-9422-4634-9BF62D8648DB}"/>
    <pc:docChg chg="modSld">
      <pc:chgData name="Guest User" userId="S::urn:spo:anon#c437c167f923f422528aee73b5e70e5726914197d2dec7f210a84ae49e8498a7::" providerId="AD" clId="Web-{31E0F0A3-0D9A-9422-4634-9BF62D8648DB}" dt="2022-04-05T00:39:09.039" v="2" actId="1076"/>
      <pc:docMkLst>
        <pc:docMk/>
      </pc:docMkLst>
      <pc:sldChg chg="modSp">
        <pc:chgData name="Guest User" userId="S::urn:spo:anon#c437c167f923f422528aee73b5e70e5726914197d2dec7f210a84ae49e8498a7::" providerId="AD" clId="Web-{31E0F0A3-0D9A-9422-4634-9BF62D8648DB}" dt="2022-04-05T00:39:09.039" v="2" actId="1076"/>
        <pc:sldMkLst>
          <pc:docMk/>
          <pc:sldMk cId="1695560817" sldId="366"/>
        </pc:sldMkLst>
        <pc:spChg chg="mod">
          <ac:chgData name="Guest User" userId="S::urn:spo:anon#c437c167f923f422528aee73b5e70e5726914197d2dec7f210a84ae49e8498a7::" providerId="AD" clId="Web-{31E0F0A3-0D9A-9422-4634-9BF62D8648DB}" dt="2022-04-05T00:39:09.039" v="2" actId="1076"/>
          <ac:spMkLst>
            <pc:docMk/>
            <pc:sldMk cId="1695560817" sldId="366"/>
            <ac:spMk id="55" creationId="{848D1D00-5AAC-E43D-57E3-DF6A3967DF99}"/>
          </ac:spMkLst>
        </pc:spChg>
      </pc:sldChg>
    </pc:docChg>
  </pc:docChgLst>
  <pc:docChgLst>
    <pc:chgData name="Guest User" userId="S::urn:spo:anon#c437c167f923f422528aee73b5e70e5726914197d2dec7f210a84ae49e8498a7::" providerId="AD" clId="Web-{7E8C6A50-7BF0-7D53-1FBC-DAEA3326E33F}"/>
    <pc:docChg chg="modSld">
      <pc:chgData name="Guest User" userId="S::urn:spo:anon#c437c167f923f422528aee73b5e70e5726914197d2dec7f210a84ae49e8498a7::" providerId="AD" clId="Web-{7E8C6A50-7BF0-7D53-1FBC-DAEA3326E33F}" dt="2022-04-05T17:22:43.518" v="10" actId="20577"/>
      <pc:docMkLst>
        <pc:docMk/>
      </pc:docMkLst>
      <pc:sldChg chg="addSp delSp modSp">
        <pc:chgData name="Guest User" userId="S::urn:spo:anon#c437c167f923f422528aee73b5e70e5726914197d2dec7f210a84ae49e8498a7::" providerId="AD" clId="Web-{7E8C6A50-7BF0-7D53-1FBC-DAEA3326E33F}" dt="2022-04-05T17:22:43.518" v="10" actId="20577"/>
        <pc:sldMkLst>
          <pc:docMk/>
          <pc:sldMk cId="3117050842" sldId="377"/>
        </pc:sldMkLst>
        <pc:spChg chg="del">
          <ac:chgData name="Guest User" userId="S::urn:spo:anon#c437c167f923f422528aee73b5e70e5726914197d2dec7f210a84ae49e8498a7::" providerId="AD" clId="Web-{7E8C6A50-7BF0-7D53-1FBC-DAEA3326E33F}" dt="2022-04-05T17:22:00.017" v="0"/>
          <ac:spMkLst>
            <pc:docMk/>
            <pc:sldMk cId="3117050842" sldId="377"/>
            <ac:spMk id="9" creationId="{A559BC09-4387-488E-85BC-CBE75B1CE17C}"/>
          </ac:spMkLst>
        </pc:spChg>
        <pc:spChg chg="mod">
          <ac:chgData name="Guest User" userId="S::urn:spo:anon#c437c167f923f422528aee73b5e70e5726914197d2dec7f210a84ae49e8498a7::" providerId="AD" clId="Web-{7E8C6A50-7BF0-7D53-1FBC-DAEA3326E33F}" dt="2022-04-05T17:22:43.518" v="10" actId="20577"/>
          <ac:spMkLst>
            <pc:docMk/>
            <pc:sldMk cId="3117050842" sldId="377"/>
            <ac:spMk id="12" creationId="{85D5939B-C636-4551-B695-13CF3D96E08C}"/>
          </ac:spMkLst>
        </pc:spChg>
        <pc:spChg chg="del">
          <ac:chgData name="Guest User" userId="S::urn:spo:anon#c437c167f923f422528aee73b5e70e5726914197d2dec7f210a84ae49e8498a7::" providerId="AD" clId="Web-{7E8C6A50-7BF0-7D53-1FBC-DAEA3326E33F}" dt="2022-04-05T17:22:19.142" v="6"/>
          <ac:spMkLst>
            <pc:docMk/>
            <pc:sldMk cId="3117050842" sldId="377"/>
            <ac:spMk id="13" creationId="{52728604-4CC7-4599-8C24-A8100EF5CD46}"/>
          </ac:spMkLst>
        </pc:spChg>
        <pc:spChg chg="del mod">
          <ac:chgData name="Guest User" userId="S::urn:spo:anon#c437c167f923f422528aee73b5e70e5726914197d2dec7f210a84ae49e8498a7::" providerId="AD" clId="Web-{7E8C6A50-7BF0-7D53-1FBC-DAEA3326E33F}" dt="2022-04-05T17:22:26.470" v="8"/>
          <ac:spMkLst>
            <pc:docMk/>
            <pc:sldMk cId="3117050842" sldId="377"/>
            <ac:spMk id="18" creationId="{F4B2C878-DA8A-4485-AE71-43CCC1F50856}"/>
          </ac:spMkLst>
        </pc:spChg>
        <pc:picChg chg="add mod ord">
          <ac:chgData name="Guest User" userId="S::urn:spo:anon#c437c167f923f422528aee73b5e70e5726914197d2dec7f210a84ae49e8498a7::" providerId="AD" clId="Web-{7E8C6A50-7BF0-7D53-1FBC-DAEA3326E33F}" dt="2022-04-05T17:22:27.267" v="9" actId="1076"/>
          <ac:picMkLst>
            <pc:docMk/>
            <pc:sldMk cId="3117050842" sldId="377"/>
            <ac:picMk id="3" creationId="{D0703C0D-B8EB-60B3-A27C-B0A7EBD2B65C}"/>
          </ac:picMkLst>
        </pc:picChg>
      </pc:sldChg>
    </pc:docChg>
  </pc:docChgLst>
  <pc:docChgLst>
    <pc:chgData name="Guest User" userId="S::urn:spo:anon#c437c167f923f422528aee73b5e70e5726914197d2dec7f210a84ae49e8498a7::" providerId="AD" clId="Web-{7EABE0F2-3043-D0FC-1CF5-ABD441C0FF4E}"/>
    <pc:docChg chg="modSld">
      <pc:chgData name="Guest User" userId="S::urn:spo:anon#c437c167f923f422528aee73b5e70e5726914197d2dec7f210a84ae49e8498a7::" providerId="AD" clId="Web-{7EABE0F2-3043-D0FC-1CF5-ABD441C0FF4E}" dt="2022-04-04T21:05:51.925" v="117"/>
      <pc:docMkLst>
        <pc:docMk/>
      </pc:docMkLst>
      <pc:sldChg chg="addSp delSp modSp">
        <pc:chgData name="Guest User" userId="S::urn:spo:anon#c437c167f923f422528aee73b5e70e5726914197d2dec7f210a84ae49e8498a7::" providerId="AD" clId="Web-{7EABE0F2-3043-D0FC-1CF5-ABD441C0FF4E}" dt="2022-04-04T21:05:51.925" v="117"/>
        <pc:sldMkLst>
          <pc:docMk/>
          <pc:sldMk cId="1695560817" sldId="366"/>
        </pc:sldMkLst>
        <pc:spChg chg="add del">
          <ac:chgData name="Guest User" userId="S::urn:spo:anon#c437c167f923f422528aee73b5e70e5726914197d2dec7f210a84ae49e8498a7::" providerId="AD" clId="Web-{7EABE0F2-3043-D0FC-1CF5-ABD441C0FF4E}" dt="2022-04-04T20:59:13.978" v="45"/>
          <ac:spMkLst>
            <pc:docMk/>
            <pc:sldMk cId="1695560817" sldId="366"/>
            <ac:spMk id="6" creationId="{A97D7793-EFAB-033B-7573-5E81EE56DB51}"/>
          </ac:spMkLst>
        </pc:spChg>
        <pc:spChg chg="mod">
          <ac:chgData name="Guest User" userId="S::urn:spo:anon#c437c167f923f422528aee73b5e70e5726914197d2dec7f210a84ae49e8498a7::" providerId="AD" clId="Web-{7EABE0F2-3043-D0FC-1CF5-ABD441C0FF4E}" dt="2022-04-04T21:04:51.517" v="111" actId="20577"/>
          <ac:spMkLst>
            <pc:docMk/>
            <pc:sldMk cId="1695560817" sldId="366"/>
            <ac:spMk id="7" creationId="{13934D1C-6E4A-EDA6-05C5-4249C9B8C8B5}"/>
          </ac:spMkLst>
        </pc:spChg>
        <pc:spChg chg="add del">
          <ac:chgData name="Guest User" userId="S::urn:spo:anon#c437c167f923f422528aee73b5e70e5726914197d2dec7f210a84ae49e8498a7::" providerId="AD" clId="Web-{7EABE0F2-3043-D0FC-1CF5-ABD441C0FF4E}" dt="2022-04-04T21:05:51.925" v="117"/>
          <ac:spMkLst>
            <pc:docMk/>
            <pc:sldMk cId="1695560817" sldId="366"/>
            <ac:spMk id="8" creationId="{22262F94-DCE4-57D5-0D61-53F9D5465AB4}"/>
          </ac:spMkLst>
        </pc:spChg>
        <pc:spChg chg="add del">
          <ac:chgData name="Guest User" userId="S::urn:spo:anon#c437c167f923f422528aee73b5e70e5726914197d2dec7f210a84ae49e8498a7::" providerId="AD" clId="Web-{7EABE0F2-3043-D0FC-1CF5-ABD441C0FF4E}" dt="2022-04-04T21:05:48.987" v="116"/>
          <ac:spMkLst>
            <pc:docMk/>
            <pc:sldMk cId="1695560817" sldId="366"/>
            <ac:spMk id="9" creationId="{97E746A9-5F38-676A-E66B-D19728173381}"/>
          </ac:spMkLst>
        </pc:spChg>
        <pc:spChg chg="mod">
          <ac:chgData name="Guest User" userId="S::urn:spo:anon#c437c167f923f422528aee73b5e70e5726914197d2dec7f210a84ae49e8498a7::" providerId="AD" clId="Web-{7EABE0F2-3043-D0FC-1CF5-ABD441C0FF4E}" dt="2022-04-04T20:56:30.443" v="17" actId="20577"/>
          <ac:spMkLst>
            <pc:docMk/>
            <pc:sldMk cId="1695560817" sldId="366"/>
            <ac:spMk id="55" creationId="{848D1D00-5AAC-E43D-57E3-DF6A3967DF99}"/>
          </ac:spMkLst>
        </pc:spChg>
        <pc:spChg chg="mod">
          <ac:chgData name="Guest User" userId="S::urn:spo:anon#c437c167f923f422528aee73b5e70e5726914197d2dec7f210a84ae49e8498a7::" providerId="AD" clId="Web-{7EABE0F2-3043-D0FC-1CF5-ABD441C0FF4E}" dt="2022-04-04T20:57:22.991" v="20" actId="1076"/>
          <ac:spMkLst>
            <pc:docMk/>
            <pc:sldMk cId="1695560817" sldId="366"/>
            <ac:spMk id="57" creationId="{517415E3-5292-CB76-E3BF-5A88419C6143}"/>
          </ac:spMkLst>
        </pc:spChg>
        <pc:spChg chg="add mod">
          <ac:chgData name="Guest User" userId="S::urn:spo:anon#c437c167f923f422528aee73b5e70e5726914197d2dec7f210a84ae49e8498a7::" providerId="AD" clId="Web-{7EABE0F2-3043-D0FC-1CF5-ABD441C0FF4E}" dt="2022-04-04T20:59:56.542" v="59" actId="1076"/>
          <ac:spMkLst>
            <pc:docMk/>
            <pc:sldMk cId="1695560817" sldId="366"/>
            <ac:spMk id="63" creationId="{74696D9C-DE03-D7F7-3DBD-BFACA06BDEE1}"/>
          </ac:spMkLst>
        </pc:spChg>
        <pc:spChg chg="mod">
          <ac:chgData name="Guest User" userId="S::urn:spo:anon#c437c167f923f422528aee73b5e70e5726914197d2dec7f210a84ae49e8498a7::" providerId="AD" clId="Web-{7EABE0F2-3043-D0FC-1CF5-ABD441C0FF4E}" dt="2022-04-04T20:57:23.007" v="21" actId="1076"/>
          <ac:spMkLst>
            <pc:docMk/>
            <pc:sldMk cId="1695560817" sldId="366"/>
            <ac:spMk id="68" creationId="{861BABA1-876C-78CE-7F83-46D5D21EA49D}"/>
          </ac:spMkLst>
        </pc:spChg>
        <pc:spChg chg="mod">
          <ac:chgData name="Guest User" userId="S::urn:spo:anon#c437c167f923f422528aee73b5e70e5726914197d2dec7f210a84ae49e8498a7::" providerId="AD" clId="Web-{7EABE0F2-3043-D0FC-1CF5-ABD441C0FF4E}" dt="2022-04-04T20:57:22.960" v="19" actId="1076"/>
          <ac:spMkLst>
            <pc:docMk/>
            <pc:sldMk cId="1695560817" sldId="366"/>
            <ac:spMk id="78" creationId="{85AA2B18-4964-80D8-597C-B2C0E4AC1A9F}"/>
          </ac:spMkLst>
        </pc:spChg>
        <pc:cxnChg chg="add mod">
          <ac:chgData name="Guest User" userId="S::urn:spo:anon#c437c167f923f422528aee73b5e70e5726914197d2dec7f210a84ae49e8498a7::" providerId="AD" clId="Web-{7EABE0F2-3043-D0FC-1CF5-ABD441C0FF4E}" dt="2022-04-04T20:59:03.275" v="43" actId="1076"/>
          <ac:cxnSpMkLst>
            <pc:docMk/>
            <pc:sldMk cId="1695560817" sldId="366"/>
            <ac:cxnSpMk id="49" creationId="{09C53D46-26CE-2C5D-243C-4443A1C92223}"/>
          </ac:cxnSpMkLst>
        </pc:cxnChg>
        <pc:cxnChg chg="mod">
          <ac:chgData name="Guest User" userId="S::urn:spo:anon#c437c167f923f422528aee73b5e70e5726914197d2dec7f210a84ae49e8498a7::" providerId="AD" clId="Web-{7EABE0F2-3043-D0FC-1CF5-ABD441C0FF4E}" dt="2022-04-04T21:05:42.175" v="113" actId="14100"/>
          <ac:cxnSpMkLst>
            <pc:docMk/>
            <pc:sldMk cId="1695560817" sldId="366"/>
            <ac:cxnSpMk id="52" creationId="{4B6288B0-2F92-BABF-949C-D41DF2E2967F}"/>
          </ac:cxnSpMkLst>
        </pc:cxnChg>
        <pc:cxnChg chg="mod">
          <ac:chgData name="Guest User" userId="S::urn:spo:anon#c437c167f923f422528aee73b5e70e5726914197d2dec7f210a84ae49e8498a7::" providerId="AD" clId="Web-{7EABE0F2-3043-D0FC-1CF5-ABD441C0FF4E}" dt="2022-04-04T21:05:32.440" v="112" actId="14100"/>
          <ac:cxnSpMkLst>
            <pc:docMk/>
            <pc:sldMk cId="1695560817" sldId="366"/>
            <ac:cxnSpMk id="56" creationId="{62555E59-04A5-FFF1-EE9E-8961465F1E1D}"/>
          </ac:cxnSpMkLst>
        </pc:cxnChg>
        <pc:cxnChg chg="mod">
          <ac:chgData name="Guest User" userId="S::urn:spo:anon#c437c167f923f422528aee73b5e70e5726914197d2dec7f210a84ae49e8498a7::" providerId="AD" clId="Web-{7EABE0F2-3043-D0FC-1CF5-ABD441C0FF4E}" dt="2022-04-04T20:57:30.085" v="23" actId="1076"/>
          <ac:cxnSpMkLst>
            <pc:docMk/>
            <pc:sldMk cId="1695560817" sldId="366"/>
            <ac:cxnSpMk id="70" creationId="{36AB945C-B067-EFEB-F8C0-06799B81FEEF}"/>
          </ac:cxnSpMkLst>
        </pc:cxnChg>
      </pc:sldChg>
      <pc:sldChg chg="modSp">
        <pc:chgData name="Guest User" userId="S::urn:spo:anon#c437c167f923f422528aee73b5e70e5726914197d2dec7f210a84ae49e8498a7::" providerId="AD" clId="Web-{7EABE0F2-3043-D0FC-1CF5-ABD441C0FF4E}" dt="2022-04-04T20:54:56.831" v="7" actId="20577"/>
        <pc:sldMkLst>
          <pc:docMk/>
          <pc:sldMk cId="3762238417" sldId="367"/>
        </pc:sldMkLst>
        <pc:spChg chg="mod">
          <ac:chgData name="Guest User" userId="S::urn:spo:anon#c437c167f923f422528aee73b5e70e5726914197d2dec7f210a84ae49e8498a7::" providerId="AD" clId="Web-{7EABE0F2-3043-D0FC-1CF5-ABD441C0FF4E}" dt="2022-04-04T20:54:56.831" v="7" actId="20577"/>
          <ac:spMkLst>
            <pc:docMk/>
            <pc:sldMk cId="3762238417" sldId="367"/>
            <ac:spMk id="11" creationId="{CBD3480E-29E4-CF16-7FAC-4FDE84110F7D}"/>
          </ac:spMkLst>
        </pc:spChg>
      </pc:sldChg>
      <pc:sldChg chg="modSp">
        <pc:chgData name="Guest User" userId="S::urn:spo:anon#c437c167f923f422528aee73b5e70e5726914197d2dec7f210a84ae49e8498a7::" providerId="AD" clId="Web-{7EABE0F2-3043-D0FC-1CF5-ABD441C0FF4E}" dt="2022-04-04T20:54:27.612" v="4" actId="20577"/>
        <pc:sldMkLst>
          <pc:docMk/>
          <pc:sldMk cId="3514561185" sldId="374"/>
        </pc:sldMkLst>
        <pc:spChg chg="mod">
          <ac:chgData name="Guest User" userId="S::urn:spo:anon#c437c167f923f422528aee73b5e70e5726914197d2dec7f210a84ae49e8498a7::" providerId="AD" clId="Web-{7EABE0F2-3043-D0FC-1CF5-ABD441C0FF4E}" dt="2022-04-04T20:54:27.612" v="4" actId="20577"/>
          <ac:spMkLst>
            <pc:docMk/>
            <pc:sldMk cId="3514561185" sldId="374"/>
            <ac:spMk id="331" creationId="{00000000-0000-0000-0000-000000000000}"/>
          </ac:spMkLst>
        </pc:spChg>
      </pc:sldChg>
    </pc:docChg>
  </pc:docChgLst>
  <pc:docChgLst>
    <pc:chgData name="Guest User" userId="S::urn:spo:anon#bc72e6c931b442e1b83d9d7baffb28dcb7bee849e2d9a5e2bb7cc25170a1c113::" providerId="AD" clId="Web-{E0874A1B-6D3F-C41B-1158-0DAA47D3620F}"/>
    <pc:docChg chg="modSld">
      <pc:chgData name="Guest User" userId="S::urn:spo:anon#bc72e6c931b442e1b83d9d7baffb28dcb7bee849e2d9a5e2bb7cc25170a1c113::" providerId="AD" clId="Web-{E0874A1B-6D3F-C41B-1158-0DAA47D3620F}" dt="2022-03-21T16:20:05.524" v="20" actId="1076"/>
      <pc:docMkLst>
        <pc:docMk/>
      </pc:docMkLst>
      <pc:sldChg chg="addSp modSp">
        <pc:chgData name="Guest User" userId="S::urn:spo:anon#bc72e6c931b442e1b83d9d7baffb28dcb7bee849e2d9a5e2bb7cc25170a1c113::" providerId="AD" clId="Web-{E0874A1B-6D3F-C41B-1158-0DAA47D3620F}" dt="2022-03-21T16:20:05.524" v="20" actId="1076"/>
        <pc:sldMkLst>
          <pc:docMk/>
          <pc:sldMk cId="3720673345" sldId="336"/>
        </pc:sldMkLst>
        <pc:spChg chg="mod">
          <ac:chgData name="Guest User" userId="S::urn:spo:anon#bc72e6c931b442e1b83d9d7baffb28dcb7bee849e2d9a5e2bb7cc25170a1c113::" providerId="AD" clId="Web-{E0874A1B-6D3F-C41B-1158-0DAA47D3620F}" dt="2022-03-21T16:20:05.524" v="20" actId="1076"/>
          <ac:spMkLst>
            <pc:docMk/>
            <pc:sldMk cId="3720673345" sldId="336"/>
            <ac:spMk id="7" creationId="{1129B7BA-4DD2-4F48-8014-45C471497F3B}"/>
          </ac:spMkLst>
        </pc:spChg>
        <pc:spChg chg="ord">
          <ac:chgData name="Guest User" userId="S::urn:spo:anon#bc72e6c931b442e1b83d9d7baffb28dcb7bee849e2d9a5e2bb7cc25170a1c113::" providerId="AD" clId="Web-{E0874A1B-6D3F-C41B-1158-0DAA47D3620F}" dt="2022-03-21T16:19:50.086" v="8"/>
          <ac:spMkLst>
            <pc:docMk/>
            <pc:sldMk cId="3720673345" sldId="336"/>
            <ac:spMk id="16" creationId="{8A8E2FB6-A608-4B9E-A208-3AABA014F4B7}"/>
          </ac:spMkLst>
        </pc:spChg>
        <pc:picChg chg="add mod ord">
          <ac:chgData name="Guest User" userId="S::urn:spo:anon#bc72e6c931b442e1b83d9d7baffb28dcb7bee849e2d9a5e2bb7cc25170a1c113::" providerId="AD" clId="Web-{E0874A1B-6D3F-C41B-1158-0DAA47D3620F}" dt="2022-03-21T16:19:59.649" v="19" actId="1076"/>
          <ac:picMkLst>
            <pc:docMk/>
            <pc:sldMk cId="3720673345" sldId="336"/>
            <ac:picMk id="2" creationId="{076398DA-6924-4535-9B44-BDDF42024E00}"/>
          </ac:picMkLst>
        </pc:picChg>
      </pc:sldChg>
    </pc:docChg>
  </pc:docChgLst>
  <pc:docChgLst>
    <pc:chgData name="Guest User" userId="S::urn:spo:anon#c437c167f923f422528aee73b5e70e5726914197d2dec7f210a84ae49e8498a7::" providerId="AD" clId="Web-{61E2CC05-A81E-D6D7-99A6-13CD4867B46D}"/>
    <pc:docChg chg="modSld">
      <pc:chgData name="Guest User" userId="S::urn:spo:anon#c437c167f923f422528aee73b5e70e5726914197d2dec7f210a84ae49e8498a7::" providerId="AD" clId="Web-{61E2CC05-A81E-D6D7-99A6-13CD4867B46D}" dt="2022-04-04T14:42:59.532" v="98"/>
      <pc:docMkLst>
        <pc:docMk/>
      </pc:docMkLst>
      <pc:sldChg chg="addSp delSp">
        <pc:chgData name="Guest User" userId="S::urn:spo:anon#c437c167f923f422528aee73b5e70e5726914197d2dec7f210a84ae49e8498a7::" providerId="AD" clId="Web-{61E2CC05-A81E-D6D7-99A6-13CD4867B46D}" dt="2022-04-04T14:42:59.532" v="98"/>
        <pc:sldMkLst>
          <pc:docMk/>
          <pc:sldMk cId="0" sldId="256"/>
        </pc:sldMkLst>
        <pc:spChg chg="add del">
          <ac:chgData name="Guest User" userId="S::urn:spo:anon#c437c167f923f422528aee73b5e70e5726914197d2dec7f210a84ae49e8498a7::" providerId="AD" clId="Web-{61E2CC05-A81E-D6D7-99A6-13CD4867B46D}" dt="2022-04-04T14:42:59.532" v="98"/>
          <ac:spMkLst>
            <pc:docMk/>
            <pc:sldMk cId="0" sldId="256"/>
            <ac:spMk id="3" creationId="{B0238991-4556-F277-0C05-9F462522ACC4}"/>
          </ac:spMkLst>
        </pc:spChg>
      </pc:sldChg>
      <pc:sldChg chg="modSp">
        <pc:chgData name="Guest User" userId="S::urn:spo:anon#c437c167f923f422528aee73b5e70e5726914197d2dec7f210a84ae49e8498a7::" providerId="AD" clId="Web-{61E2CC05-A81E-D6D7-99A6-13CD4867B46D}" dt="2022-04-04T14:05:05.307" v="26" actId="14100"/>
        <pc:sldMkLst>
          <pc:docMk/>
          <pc:sldMk cId="2576879601" sldId="365"/>
        </pc:sldMkLst>
        <pc:spChg chg="mod">
          <ac:chgData name="Guest User" userId="S::urn:spo:anon#c437c167f923f422528aee73b5e70e5726914197d2dec7f210a84ae49e8498a7::" providerId="AD" clId="Web-{61E2CC05-A81E-D6D7-99A6-13CD4867B46D}" dt="2022-04-04T14:05:05.307" v="26" actId="14100"/>
          <ac:spMkLst>
            <pc:docMk/>
            <pc:sldMk cId="2576879601" sldId="365"/>
            <ac:spMk id="6" creationId="{74F8F5B6-6C79-278D-D3C6-E2F59AC9C58B}"/>
          </ac:spMkLst>
        </pc:spChg>
      </pc:sldChg>
      <pc:sldChg chg="addSp delSp modSp">
        <pc:chgData name="Guest User" userId="S::urn:spo:anon#c437c167f923f422528aee73b5e70e5726914197d2dec7f210a84ae49e8498a7::" providerId="AD" clId="Web-{61E2CC05-A81E-D6D7-99A6-13CD4867B46D}" dt="2022-04-04T14:42:24.828" v="96" actId="1076"/>
        <pc:sldMkLst>
          <pc:docMk/>
          <pc:sldMk cId="1695560817" sldId="366"/>
        </pc:sldMkLst>
        <pc:spChg chg="mod">
          <ac:chgData name="Guest User" userId="S::urn:spo:anon#c437c167f923f422528aee73b5e70e5726914197d2dec7f210a84ae49e8498a7::" providerId="AD" clId="Web-{61E2CC05-A81E-D6D7-99A6-13CD4867B46D}" dt="2022-04-04T14:41:19.155" v="78" actId="1076"/>
          <ac:spMkLst>
            <pc:docMk/>
            <pc:sldMk cId="1695560817" sldId="366"/>
            <ac:spMk id="3" creationId="{F1048966-CD25-3754-6E9D-DB4371B1B8BB}"/>
          </ac:spMkLst>
        </pc:spChg>
        <pc:spChg chg="add del mod">
          <ac:chgData name="Guest User" userId="S::urn:spo:anon#c437c167f923f422528aee73b5e70e5726914197d2dec7f210a84ae49e8498a7::" providerId="AD" clId="Web-{61E2CC05-A81E-D6D7-99A6-13CD4867B46D}" dt="2022-04-04T14:41:34.562" v="81"/>
          <ac:spMkLst>
            <pc:docMk/>
            <pc:sldMk cId="1695560817" sldId="366"/>
            <ac:spMk id="4" creationId="{AD818B5A-51A7-9EBD-C3B2-2E26BE5284D1}"/>
          </ac:spMkLst>
        </pc:spChg>
        <pc:spChg chg="del">
          <ac:chgData name="Guest User" userId="S::urn:spo:anon#c437c167f923f422528aee73b5e70e5726914197d2dec7f210a84ae49e8498a7::" providerId="AD" clId="Web-{61E2CC05-A81E-D6D7-99A6-13CD4867B46D}" dt="2022-04-04T14:40:41.717" v="71"/>
          <ac:spMkLst>
            <pc:docMk/>
            <pc:sldMk cId="1695560817" sldId="366"/>
            <ac:spMk id="5" creationId="{0A512D6F-DF46-9968-F0BB-A3D859B3FC70}"/>
          </ac:spMkLst>
        </pc:spChg>
        <pc:spChg chg="mod">
          <ac:chgData name="Guest User" userId="S::urn:spo:anon#c437c167f923f422528aee73b5e70e5726914197d2dec7f210a84ae49e8498a7::" providerId="AD" clId="Web-{61E2CC05-A81E-D6D7-99A6-13CD4867B46D}" dt="2022-04-04T14:42:24.828" v="96" actId="1076"/>
          <ac:spMkLst>
            <pc:docMk/>
            <pc:sldMk cId="1695560817" sldId="366"/>
            <ac:spMk id="7" creationId="{13934D1C-6E4A-EDA6-05C5-4249C9B8C8B5}"/>
          </ac:spMkLst>
        </pc:spChg>
        <pc:spChg chg="del">
          <ac:chgData name="Guest User" userId="S::urn:spo:anon#c437c167f923f422528aee73b5e70e5726914197d2dec7f210a84ae49e8498a7::" providerId="AD" clId="Web-{61E2CC05-A81E-D6D7-99A6-13CD4867B46D}" dt="2022-04-04T14:41:01.639" v="76"/>
          <ac:spMkLst>
            <pc:docMk/>
            <pc:sldMk cId="1695560817" sldId="366"/>
            <ac:spMk id="43" creationId="{FFB81ECA-772E-68F4-8228-B55348D36206}"/>
          </ac:spMkLst>
        </pc:spChg>
        <pc:spChg chg="mod">
          <ac:chgData name="Guest User" userId="S::urn:spo:anon#c437c167f923f422528aee73b5e70e5726914197d2dec7f210a84ae49e8498a7::" providerId="AD" clId="Web-{61E2CC05-A81E-D6D7-99A6-13CD4867B46D}" dt="2022-04-04T14:09:42.846" v="31" actId="20577"/>
          <ac:spMkLst>
            <pc:docMk/>
            <pc:sldMk cId="1695560817" sldId="366"/>
            <ac:spMk id="47" creationId="{635EA343-E326-C59A-DD60-9A2325E5F077}"/>
          </ac:spMkLst>
        </pc:spChg>
        <pc:spChg chg="mod">
          <ac:chgData name="Guest User" userId="S::urn:spo:anon#c437c167f923f422528aee73b5e70e5726914197d2dec7f210a84ae49e8498a7::" providerId="AD" clId="Web-{61E2CC05-A81E-D6D7-99A6-13CD4867B46D}" dt="2022-04-04T14:42:08.703" v="93" actId="1076"/>
          <ac:spMkLst>
            <pc:docMk/>
            <pc:sldMk cId="1695560817" sldId="366"/>
            <ac:spMk id="55" creationId="{848D1D00-5AAC-E43D-57E3-DF6A3967DF99}"/>
          </ac:spMkLst>
        </pc:spChg>
      </pc:sldChg>
      <pc:sldChg chg="modSp">
        <pc:chgData name="Guest User" userId="S::urn:spo:anon#c437c167f923f422528aee73b5e70e5726914197d2dec7f210a84ae49e8498a7::" providerId="AD" clId="Web-{61E2CC05-A81E-D6D7-99A6-13CD4867B46D}" dt="2022-04-04T14:38:37.292" v="68" actId="20577"/>
        <pc:sldMkLst>
          <pc:docMk/>
          <pc:sldMk cId="3762238417" sldId="367"/>
        </pc:sldMkLst>
        <pc:spChg chg="mod">
          <ac:chgData name="Guest User" userId="S::urn:spo:anon#c437c167f923f422528aee73b5e70e5726914197d2dec7f210a84ae49e8498a7::" providerId="AD" clId="Web-{61E2CC05-A81E-D6D7-99A6-13CD4867B46D}" dt="2022-04-04T14:38:37.292" v="68" actId="20577"/>
          <ac:spMkLst>
            <pc:docMk/>
            <pc:sldMk cId="3762238417" sldId="367"/>
            <ac:spMk id="9" creationId="{A559BC09-4387-488E-85BC-CBE75B1CE17C}"/>
          </ac:spMkLst>
        </pc:spChg>
      </pc:sldChg>
      <pc:sldChg chg="modSp">
        <pc:chgData name="Guest User" userId="S::urn:spo:anon#c437c167f923f422528aee73b5e70e5726914197d2dec7f210a84ae49e8498a7::" providerId="AD" clId="Web-{61E2CC05-A81E-D6D7-99A6-13CD4867B46D}" dt="2022-04-04T14:00:09.939" v="9" actId="20577"/>
        <pc:sldMkLst>
          <pc:docMk/>
          <pc:sldMk cId="3514561185" sldId="374"/>
        </pc:sldMkLst>
        <pc:spChg chg="mod">
          <ac:chgData name="Guest User" userId="S::urn:spo:anon#c437c167f923f422528aee73b5e70e5726914197d2dec7f210a84ae49e8498a7::" providerId="AD" clId="Web-{61E2CC05-A81E-D6D7-99A6-13CD4867B46D}" dt="2022-04-04T14:00:09.939" v="9" actId="20577"/>
          <ac:spMkLst>
            <pc:docMk/>
            <pc:sldMk cId="3514561185" sldId="374"/>
            <ac:spMk id="331" creationId="{00000000-0000-0000-0000-000000000000}"/>
          </ac:spMkLst>
        </pc:spChg>
      </pc:sldChg>
      <pc:sldChg chg="addSp delSp modSp">
        <pc:chgData name="Guest User" userId="S::urn:spo:anon#c437c167f923f422528aee73b5e70e5726914197d2dec7f210a84ae49e8498a7::" providerId="AD" clId="Web-{61E2CC05-A81E-D6D7-99A6-13CD4867B46D}" dt="2022-04-04T14:38:03.198" v="65"/>
        <pc:sldMkLst>
          <pc:docMk/>
          <pc:sldMk cId="3117050842" sldId="377"/>
        </pc:sldMkLst>
        <pc:spChg chg="mod">
          <ac:chgData name="Guest User" userId="S::urn:spo:anon#c437c167f923f422528aee73b5e70e5726914197d2dec7f210a84ae49e8498a7::" providerId="AD" clId="Web-{61E2CC05-A81E-D6D7-99A6-13CD4867B46D}" dt="2022-04-04T14:35:01.320" v="32" actId="14100"/>
          <ac:spMkLst>
            <pc:docMk/>
            <pc:sldMk cId="3117050842" sldId="377"/>
            <ac:spMk id="2" creationId="{AB52A157-2CB8-6DCB-8D3B-00713BF25DCA}"/>
          </ac:spMkLst>
        </pc:spChg>
        <pc:spChg chg="mod">
          <ac:chgData name="Guest User" userId="S::urn:spo:anon#c437c167f923f422528aee73b5e70e5726914197d2dec7f210a84ae49e8498a7::" providerId="AD" clId="Web-{61E2CC05-A81E-D6D7-99A6-13CD4867B46D}" dt="2022-04-04T14:35:06.413" v="33" actId="1076"/>
          <ac:spMkLst>
            <pc:docMk/>
            <pc:sldMk cId="3117050842" sldId="377"/>
            <ac:spMk id="5" creationId="{36D64229-262E-4A6E-9C18-00F422DCB439}"/>
          </ac:spMkLst>
        </pc:spChg>
        <pc:spChg chg="mod">
          <ac:chgData name="Guest User" userId="S::urn:spo:anon#c437c167f923f422528aee73b5e70e5726914197d2dec7f210a84ae49e8498a7::" providerId="AD" clId="Web-{61E2CC05-A81E-D6D7-99A6-13CD4867B46D}" dt="2022-04-04T14:37:53.901" v="62" actId="1076"/>
          <ac:spMkLst>
            <pc:docMk/>
            <pc:sldMk cId="3117050842" sldId="377"/>
            <ac:spMk id="9" creationId="{A559BC09-4387-488E-85BC-CBE75B1CE17C}"/>
          </ac:spMkLst>
        </pc:spChg>
        <pc:spChg chg="add mod">
          <ac:chgData name="Guest User" userId="S::urn:spo:anon#c437c167f923f422528aee73b5e70e5726914197d2dec7f210a84ae49e8498a7::" providerId="AD" clId="Web-{61E2CC05-A81E-D6D7-99A6-13CD4867B46D}" dt="2022-04-04T14:37:45.620" v="60" actId="14100"/>
          <ac:spMkLst>
            <pc:docMk/>
            <pc:sldMk cId="3117050842" sldId="377"/>
            <ac:spMk id="11" creationId="{C1418990-22FB-4D1F-EAB1-69EB1F676AC0}"/>
          </ac:spMkLst>
        </pc:spChg>
        <pc:spChg chg="add del mod">
          <ac:chgData name="Guest User" userId="S::urn:spo:anon#c437c167f923f422528aee73b5e70e5726914197d2dec7f210a84ae49e8498a7::" providerId="AD" clId="Web-{61E2CC05-A81E-D6D7-99A6-13CD4867B46D}" dt="2022-04-04T14:38:03.198" v="65"/>
          <ac:spMkLst>
            <pc:docMk/>
            <pc:sldMk cId="3117050842" sldId="377"/>
            <ac:spMk id="12" creationId="{63B4C014-284B-1902-63A0-674CB001A678}"/>
          </ac:spMkLst>
        </pc:spChg>
      </pc:sldChg>
    </pc:docChg>
  </pc:docChgLst>
  <pc:docChgLst>
    <pc:chgData name="Guest User" userId="S::urn:spo:anon#6bbc8ad3065cd11d92081721a572e8f9c9b85cc64084c82913bb48609c033f69::" providerId="AD" clId="Web-{81A8E810-A772-4F40-A97E-29FFC89DE642}"/>
    <pc:docChg chg="modSld">
      <pc:chgData name="Guest User" userId="S::urn:spo:anon#6bbc8ad3065cd11d92081721a572e8f9c9b85cc64084c82913bb48609c033f69::" providerId="AD" clId="Web-{81A8E810-A772-4F40-A97E-29FFC89DE642}" dt="2022-04-18T20:37:19.853" v="571" actId="1076"/>
      <pc:docMkLst>
        <pc:docMk/>
      </pc:docMkLst>
      <pc:sldChg chg="modSp">
        <pc:chgData name="Guest User" userId="S::urn:spo:anon#6bbc8ad3065cd11d92081721a572e8f9c9b85cc64084c82913bb48609c033f69::" providerId="AD" clId="Web-{81A8E810-A772-4F40-A97E-29FFC89DE642}" dt="2022-04-18T18:10:20.106" v="231" actId="20577"/>
        <pc:sldMkLst>
          <pc:docMk/>
          <pc:sldMk cId="0" sldId="264"/>
        </pc:sldMkLst>
        <pc:spChg chg="mod">
          <ac:chgData name="Guest User" userId="S::urn:spo:anon#6bbc8ad3065cd11d92081721a572e8f9c9b85cc64084c82913bb48609c033f69::" providerId="AD" clId="Web-{81A8E810-A772-4F40-A97E-29FFC89DE642}" dt="2022-04-18T16:04:57.590" v="225" actId="20577"/>
          <ac:spMkLst>
            <pc:docMk/>
            <pc:sldMk cId="0" sldId="264"/>
            <ac:spMk id="26" creationId="{63D5B65A-793E-4E79-B52C-834340BABD85}"/>
          </ac:spMkLst>
        </pc:spChg>
        <pc:spChg chg="mod">
          <ac:chgData name="Guest User" userId="S::urn:spo:anon#6bbc8ad3065cd11d92081721a572e8f9c9b85cc64084c82913bb48609c033f69::" providerId="AD" clId="Web-{81A8E810-A772-4F40-A97E-29FFC89DE642}" dt="2022-04-18T18:10:20.106" v="231" actId="20577"/>
          <ac:spMkLst>
            <pc:docMk/>
            <pc:sldMk cId="0" sldId="264"/>
            <ac:spMk id="29" creationId="{CE4534C1-122C-4584-960F-B0117C9A488A}"/>
          </ac:spMkLst>
        </pc:spChg>
        <pc:spChg chg="mod">
          <ac:chgData name="Guest User" userId="S::urn:spo:anon#6bbc8ad3065cd11d92081721a572e8f9c9b85cc64084c82913bb48609c033f69::" providerId="AD" clId="Web-{81A8E810-A772-4F40-A97E-29FFC89DE642}" dt="2022-04-18T16:04:31.261" v="197" actId="20577"/>
          <ac:spMkLst>
            <pc:docMk/>
            <pc:sldMk cId="0" sldId="264"/>
            <ac:spMk id="30" creationId="{100AEE39-1F64-4466-ACEE-5B01ED088536}"/>
          </ac:spMkLst>
        </pc:spChg>
        <pc:spChg chg="mod">
          <ac:chgData name="Guest User" userId="S::urn:spo:anon#6bbc8ad3065cd11d92081721a572e8f9c9b85cc64084c82913bb48609c033f69::" providerId="AD" clId="Web-{81A8E810-A772-4F40-A97E-29FFC89DE642}" dt="2022-04-18T15:31:56.733" v="41" actId="20577"/>
          <ac:spMkLst>
            <pc:docMk/>
            <pc:sldMk cId="0" sldId="264"/>
            <ac:spMk id="472" creationId="{00000000-0000-0000-0000-000000000000}"/>
          </ac:spMkLst>
        </pc:spChg>
      </pc:sldChg>
      <pc:sldChg chg="addSp delSp modSp">
        <pc:chgData name="Guest User" userId="S::urn:spo:anon#6bbc8ad3065cd11d92081721a572e8f9c9b85cc64084c82913bb48609c033f69::" providerId="AD" clId="Web-{81A8E810-A772-4F40-A97E-29FFC89DE642}" dt="2022-04-18T18:55:00.753" v="564" actId="14100"/>
        <pc:sldMkLst>
          <pc:docMk/>
          <pc:sldMk cId="3720673345" sldId="336"/>
        </pc:sldMkLst>
        <pc:spChg chg="del">
          <ac:chgData name="Guest User" userId="S::urn:spo:anon#6bbc8ad3065cd11d92081721a572e8f9c9b85cc64084c82913bb48609c033f69::" providerId="AD" clId="Web-{81A8E810-A772-4F40-A97E-29FFC89DE642}" dt="2022-04-18T18:14:48.769" v="248"/>
          <ac:spMkLst>
            <pc:docMk/>
            <pc:sldMk cId="3720673345" sldId="336"/>
            <ac:spMk id="2" creationId="{1A6EA402-E1F1-9D58-80BB-66A95B672865}"/>
          </ac:spMkLst>
        </pc:spChg>
        <pc:spChg chg="add mod">
          <ac:chgData name="Guest User" userId="S::urn:spo:anon#6bbc8ad3065cd11d92081721a572e8f9c9b85cc64084c82913bb48609c033f69::" providerId="AD" clId="Web-{81A8E810-A772-4F40-A97E-29FFC89DE642}" dt="2022-04-18T18:19:32.980" v="374" actId="20577"/>
          <ac:spMkLst>
            <pc:docMk/>
            <pc:sldMk cId="3720673345" sldId="336"/>
            <ac:spMk id="4" creationId="{B25D378A-79B3-65AA-DC9F-01048A344D42}"/>
          </ac:spMkLst>
        </pc:spChg>
        <pc:spChg chg="mod">
          <ac:chgData name="Guest User" userId="S::urn:spo:anon#6bbc8ad3065cd11d92081721a572e8f9c9b85cc64084c82913bb48609c033f69::" providerId="AD" clId="Web-{81A8E810-A772-4F40-A97E-29FFC89DE642}" dt="2022-04-18T18:30:09.996" v="453" actId="20577"/>
          <ac:spMkLst>
            <pc:docMk/>
            <pc:sldMk cId="3720673345" sldId="336"/>
            <ac:spMk id="616" creationId="{00000000-0000-0000-0000-000000000000}"/>
          </ac:spMkLst>
        </pc:spChg>
        <pc:picChg chg="add del mod">
          <ac:chgData name="Guest User" userId="S::urn:spo:anon#6bbc8ad3065cd11d92081721a572e8f9c9b85cc64084c82913bb48609c033f69::" providerId="AD" clId="Web-{81A8E810-A772-4F40-A97E-29FFC89DE642}" dt="2022-04-18T18:37:50.399" v="555"/>
          <ac:picMkLst>
            <pc:docMk/>
            <pc:sldMk cId="3720673345" sldId="336"/>
            <ac:picMk id="3" creationId="{A93BA319-DCA8-DF24-3736-371745133B51}"/>
          </ac:picMkLst>
        </pc:picChg>
        <pc:picChg chg="add mod">
          <ac:chgData name="Guest User" userId="S::urn:spo:anon#6bbc8ad3065cd11d92081721a572e8f9c9b85cc64084c82913bb48609c033f69::" providerId="AD" clId="Web-{81A8E810-A772-4F40-A97E-29FFC89DE642}" dt="2022-04-18T18:55:00.753" v="564" actId="14100"/>
          <ac:picMkLst>
            <pc:docMk/>
            <pc:sldMk cId="3720673345" sldId="336"/>
            <ac:picMk id="5" creationId="{C8255192-308F-71AE-7F55-805D8CAF929B}"/>
          </ac:picMkLst>
        </pc:picChg>
        <pc:picChg chg="add mod">
          <ac:chgData name="Guest User" userId="S::urn:spo:anon#6bbc8ad3065cd11d92081721a572e8f9c9b85cc64084c82913bb48609c033f69::" providerId="AD" clId="Web-{81A8E810-A772-4F40-A97E-29FFC89DE642}" dt="2022-04-18T18:54:49.065" v="562" actId="1076"/>
          <ac:picMkLst>
            <pc:docMk/>
            <pc:sldMk cId="3720673345" sldId="336"/>
            <ac:picMk id="6" creationId="{AE5C0E55-70AC-1F15-A92B-02C62068F4FC}"/>
          </ac:picMkLst>
        </pc:picChg>
      </pc:sldChg>
      <pc:sldChg chg="modSp">
        <pc:chgData name="Guest User" userId="S::urn:spo:anon#6bbc8ad3065cd11d92081721a572e8f9c9b85cc64084c82913bb48609c033f69::" providerId="AD" clId="Web-{81A8E810-A772-4F40-A97E-29FFC89DE642}" dt="2022-04-18T18:34:18.221" v="548" actId="20577"/>
        <pc:sldMkLst>
          <pc:docMk/>
          <pc:sldMk cId="1209993513" sldId="338"/>
        </pc:sldMkLst>
        <pc:spChg chg="mod">
          <ac:chgData name="Guest User" userId="S::urn:spo:anon#6bbc8ad3065cd11d92081721a572e8f9c9b85cc64084c82913bb48609c033f69::" providerId="AD" clId="Web-{81A8E810-A772-4F40-A97E-29FFC89DE642}" dt="2022-04-18T18:34:18.221" v="548" actId="20577"/>
          <ac:spMkLst>
            <pc:docMk/>
            <pc:sldMk cId="1209993513" sldId="338"/>
            <ac:spMk id="16" creationId="{F29BBF2D-5F15-45EC-BE2A-14ABF1E18DB5}"/>
          </ac:spMkLst>
        </pc:spChg>
        <pc:spChg chg="mod">
          <ac:chgData name="Guest User" userId="S::urn:spo:anon#6bbc8ad3065cd11d92081721a572e8f9c9b85cc64084c82913bb48609c033f69::" providerId="AD" clId="Web-{81A8E810-A772-4F40-A97E-29FFC89DE642}" dt="2022-04-18T18:34:15.909" v="547" actId="20577"/>
          <ac:spMkLst>
            <pc:docMk/>
            <pc:sldMk cId="1209993513" sldId="338"/>
            <ac:spMk id="601" creationId="{00000000-0000-0000-0000-000000000000}"/>
          </ac:spMkLst>
        </pc:spChg>
      </pc:sldChg>
      <pc:sldChg chg="delSp modSp">
        <pc:chgData name="Guest User" userId="S::urn:spo:anon#6bbc8ad3065cd11d92081721a572e8f9c9b85cc64084c82913bb48609c033f69::" providerId="AD" clId="Web-{81A8E810-A772-4F40-A97E-29FFC89DE642}" dt="2022-04-18T18:27:05.054" v="396"/>
        <pc:sldMkLst>
          <pc:docMk/>
          <pc:sldMk cId="4114424017" sldId="342"/>
        </pc:sldMkLst>
        <pc:spChg chg="del mod">
          <ac:chgData name="Guest User" userId="S::urn:spo:anon#6bbc8ad3065cd11d92081721a572e8f9c9b85cc64084c82913bb48609c033f69::" providerId="AD" clId="Web-{81A8E810-A772-4F40-A97E-29FFC89DE642}" dt="2022-04-18T18:27:05.054" v="396"/>
          <ac:spMkLst>
            <pc:docMk/>
            <pc:sldMk cId="4114424017" sldId="342"/>
            <ac:spMk id="3" creationId="{AD3B325A-7230-4592-A6DD-FB5D3A58728A}"/>
          </ac:spMkLst>
        </pc:spChg>
        <pc:graphicFrameChg chg="mod modGraphic">
          <ac:chgData name="Guest User" userId="S::urn:spo:anon#6bbc8ad3065cd11d92081721a572e8f9c9b85cc64084c82913bb48609c033f69::" providerId="AD" clId="Web-{81A8E810-A772-4F40-A97E-29FFC89DE642}" dt="2022-04-18T15:32:53.438" v="81"/>
          <ac:graphicFrameMkLst>
            <pc:docMk/>
            <pc:sldMk cId="4114424017" sldId="342"/>
            <ac:graphicFrameMk id="23" creationId="{F4A84191-3BFB-48AA-A343-19DE4EA3891C}"/>
          </ac:graphicFrameMkLst>
        </pc:graphicFrameChg>
      </pc:sldChg>
      <pc:sldChg chg="delSp">
        <pc:chgData name="Guest User" userId="S::urn:spo:anon#6bbc8ad3065cd11d92081721a572e8f9c9b85cc64084c82913bb48609c033f69::" providerId="AD" clId="Web-{81A8E810-A772-4F40-A97E-29FFC89DE642}" dt="2022-04-18T18:27:08.148" v="397"/>
        <pc:sldMkLst>
          <pc:docMk/>
          <pc:sldMk cId="754587697" sldId="352"/>
        </pc:sldMkLst>
        <pc:spChg chg="del">
          <ac:chgData name="Guest User" userId="S::urn:spo:anon#6bbc8ad3065cd11d92081721a572e8f9c9b85cc64084c82913bb48609c033f69::" providerId="AD" clId="Web-{81A8E810-A772-4F40-A97E-29FFC89DE642}" dt="2022-04-18T18:27:08.148" v="397"/>
          <ac:spMkLst>
            <pc:docMk/>
            <pc:sldMk cId="754587697" sldId="352"/>
            <ac:spMk id="8" creationId="{2EB41360-E158-4118-855D-5FC8A22B5B1A}"/>
          </ac:spMkLst>
        </pc:spChg>
      </pc:sldChg>
      <pc:sldChg chg="addSp delSp modSp">
        <pc:chgData name="Guest User" userId="S::urn:spo:anon#6bbc8ad3065cd11d92081721a572e8f9c9b85cc64084c82913bb48609c033f69::" providerId="AD" clId="Web-{81A8E810-A772-4F40-A97E-29FFC89DE642}" dt="2022-04-18T20:37:19.853" v="571" actId="1076"/>
        <pc:sldMkLst>
          <pc:docMk/>
          <pc:sldMk cId="1746873201" sldId="380"/>
        </pc:sldMkLst>
        <pc:spChg chg="del">
          <ac:chgData name="Guest User" userId="S::urn:spo:anon#6bbc8ad3065cd11d92081721a572e8f9c9b85cc64084c82913bb48609c033f69::" providerId="AD" clId="Web-{81A8E810-A772-4F40-A97E-29FFC89DE642}" dt="2022-04-18T18:28:24.181" v="398"/>
          <ac:spMkLst>
            <pc:docMk/>
            <pc:sldMk cId="1746873201" sldId="380"/>
            <ac:spMk id="2" creationId="{6DE5BCA7-B310-A987-A1DF-481957A90A09}"/>
          </ac:spMkLst>
        </pc:spChg>
        <pc:spChg chg="mod">
          <ac:chgData name="Guest User" userId="S::urn:spo:anon#6bbc8ad3065cd11d92081721a572e8f9c9b85cc64084c82913bb48609c033f69::" providerId="AD" clId="Web-{81A8E810-A772-4F40-A97E-29FFC89DE642}" dt="2022-04-18T18:28:35.681" v="400" actId="20577"/>
          <ac:spMkLst>
            <pc:docMk/>
            <pc:sldMk cId="1746873201" sldId="380"/>
            <ac:spMk id="12" creationId="{2A18C4E8-C461-494D-81E4-7EB6C08B7B32}"/>
          </ac:spMkLst>
        </pc:spChg>
        <pc:spChg chg="mod">
          <ac:chgData name="Guest User" userId="S::urn:spo:anon#6bbc8ad3065cd11d92081721a572e8f9c9b85cc64084c82913bb48609c033f69::" providerId="AD" clId="Web-{81A8E810-A772-4F40-A97E-29FFC89DE642}" dt="2022-04-18T18:37:42.742" v="553" actId="20577"/>
          <ac:spMkLst>
            <pc:docMk/>
            <pc:sldMk cId="1746873201" sldId="380"/>
            <ac:spMk id="616" creationId="{00000000-0000-0000-0000-000000000000}"/>
          </ac:spMkLst>
        </pc:spChg>
        <pc:picChg chg="add mod">
          <ac:chgData name="Guest User" userId="S::urn:spo:anon#6bbc8ad3065cd11d92081721a572e8f9c9b85cc64084c82913bb48609c033f69::" providerId="AD" clId="Web-{81A8E810-A772-4F40-A97E-29FFC89DE642}" dt="2022-04-18T20:37:19.853" v="571" actId="1076"/>
          <ac:picMkLst>
            <pc:docMk/>
            <pc:sldMk cId="1746873201" sldId="380"/>
            <ac:picMk id="2" creationId="{AC99CBE9-BA0A-FE13-1DA3-F406066DD23B}"/>
          </ac:picMkLst>
        </pc:picChg>
        <pc:picChg chg="add del mod">
          <ac:chgData name="Guest User" userId="S::urn:spo:anon#6bbc8ad3065cd11d92081721a572e8f9c9b85cc64084c82913bb48609c033f69::" providerId="AD" clId="Web-{81A8E810-A772-4F40-A97E-29FFC89DE642}" dt="2022-04-18T20:36:50.024" v="565"/>
          <ac:picMkLst>
            <pc:docMk/>
            <pc:sldMk cId="1746873201" sldId="380"/>
            <ac:picMk id="3" creationId="{E136BAD7-A5D0-0317-9258-3F06EA832FB2}"/>
          </ac:picMkLst>
        </pc:picChg>
      </pc:sldChg>
      <pc:sldChg chg="modSp">
        <pc:chgData name="Guest User" userId="S::urn:spo:anon#6bbc8ad3065cd11d92081721a572e8f9c9b85cc64084c82913bb48609c033f69::" providerId="AD" clId="Web-{81A8E810-A772-4F40-A97E-29FFC89DE642}" dt="2022-04-18T15:29:12.416" v="4" actId="20577"/>
        <pc:sldMkLst>
          <pc:docMk/>
          <pc:sldMk cId="0" sldId="384"/>
        </pc:sldMkLst>
        <pc:spChg chg="mod">
          <ac:chgData name="Guest User" userId="S::urn:spo:anon#6bbc8ad3065cd11d92081721a572e8f9c9b85cc64084c82913bb48609c033f69::" providerId="AD" clId="Web-{81A8E810-A772-4F40-A97E-29FFC89DE642}" dt="2022-04-18T15:29:12.416" v="4" actId="20577"/>
          <ac:spMkLst>
            <pc:docMk/>
            <pc:sldMk cId="0" sldId="384"/>
            <ac:spMk id="41" creationId="{D7465A85-8A15-4EAD-96FC-B47DC0EA8700}"/>
          </ac:spMkLst>
        </pc:spChg>
      </pc:sldChg>
      <pc:sldChg chg="delSp modSp">
        <pc:chgData name="Guest User" userId="S::urn:spo:anon#6bbc8ad3065cd11d92081721a572e8f9c9b85cc64084c82913bb48609c033f69::" providerId="AD" clId="Web-{81A8E810-A772-4F40-A97E-29FFC89DE642}" dt="2022-04-18T18:32:49.703" v="490"/>
        <pc:sldMkLst>
          <pc:docMk/>
          <pc:sldMk cId="2994314061" sldId="385"/>
        </pc:sldMkLst>
        <pc:spChg chg="del">
          <ac:chgData name="Guest User" userId="S::urn:spo:anon#6bbc8ad3065cd11d92081721a572e8f9c9b85cc64084c82913bb48609c033f69::" providerId="AD" clId="Web-{81A8E810-A772-4F40-A97E-29FFC89DE642}" dt="2022-04-18T18:32:49.703" v="490"/>
          <ac:spMkLst>
            <pc:docMk/>
            <pc:sldMk cId="2994314061" sldId="385"/>
            <ac:spMk id="2" creationId="{B130319A-7C89-FDA7-FEA0-E56930B0A73C}"/>
          </ac:spMkLst>
        </pc:spChg>
        <pc:spChg chg="mod">
          <ac:chgData name="Guest User" userId="S::urn:spo:anon#6bbc8ad3065cd11d92081721a572e8f9c9b85cc64084c82913bb48609c033f69::" providerId="AD" clId="Web-{81A8E810-A772-4F40-A97E-29FFC89DE642}" dt="2022-04-18T18:32:44.250" v="489" actId="20577"/>
          <ac:spMkLst>
            <pc:docMk/>
            <pc:sldMk cId="2994314061" sldId="385"/>
            <ac:spMk id="616" creationId="{00000000-0000-0000-0000-000000000000}"/>
          </ac:spMkLst>
        </pc:spChg>
      </pc:sldChg>
    </pc:docChg>
  </pc:docChgLst>
  <pc:docChgLst>
    <pc:chgData name="Tami Corson" userId="17b03132-2f21-4edf-a2df-f25c30f43233" providerId="ADAL" clId="{DE91C734-911C-4AEA-859B-D1325E341CA2}"/>
    <pc:docChg chg="undo redo custSel addSld delSld modSld sldOrd">
      <pc:chgData name="Tami Corson" userId="17b03132-2f21-4edf-a2df-f25c30f43233" providerId="ADAL" clId="{DE91C734-911C-4AEA-859B-D1325E341CA2}" dt="2022-04-05T19:18:23.024" v="12862" actId="3626"/>
      <pc:docMkLst>
        <pc:docMk/>
      </pc:docMkLst>
      <pc:sldChg chg="delSp modSp mod">
        <pc:chgData name="Tami Corson" userId="17b03132-2f21-4edf-a2df-f25c30f43233" providerId="ADAL" clId="{DE91C734-911C-4AEA-859B-D1325E341CA2}" dt="2022-04-05T17:37:42.563" v="12858" actId="478"/>
        <pc:sldMkLst>
          <pc:docMk/>
          <pc:sldMk cId="0" sldId="256"/>
        </pc:sldMkLst>
        <pc:spChg chg="del mod">
          <ac:chgData name="Tami Corson" userId="17b03132-2f21-4edf-a2df-f25c30f43233" providerId="ADAL" clId="{DE91C734-911C-4AEA-859B-D1325E341CA2}" dt="2022-04-05T17:37:42.563" v="12858" actId="478"/>
          <ac:spMkLst>
            <pc:docMk/>
            <pc:sldMk cId="0" sldId="256"/>
            <ac:spMk id="3" creationId="{B0238991-4556-F277-0C05-9F462522ACC4}"/>
          </ac:spMkLst>
        </pc:spChg>
        <pc:spChg chg="mod">
          <ac:chgData name="Tami Corson" userId="17b03132-2f21-4edf-a2df-f25c30f43233" providerId="ADAL" clId="{DE91C734-911C-4AEA-859B-D1325E341CA2}" dt="2022-03-26T13:03:00.444" v="1" actId="20577"/>
          <ac:spMkLst>
            <pc:docMk/>
            <pc:sldMk cId="0" sldId="256"/>
            <ac:spMk id="184" creationId="{00000000-0000-0000-0000-000000000000}"/>
          </ac:spMkLst>
        </pc:spChg>
        <pc:spChg chg="mod">
          <ac:chgData name="Tami Corson" userId="17b03132-2f21-4edf-a2df-f25c30f43233" providerId="ADAL" clId="{DE91C734-911C-4AEA-859B-D1325E341CA2}" dt="2022-03-26T13:03:21.678" v="23" actId="20577"/>
          <ac:spMkLst>
            <pc:docMk/>
            <pc:sldMk cId="0" sldId="256"/>
            <ac:spMk id="185" creationId="{00000000-0000-0000-0000-000000000000}"/>
          </ac:spMkLst>
        </pc:spChg>
      </pc:sldChg>
      <pc:sldChg chg="modSp mod">
        <pc:chgData name="Tami Corson" userId="17b03132-2f21-4edf-a2df-f25c30f43233" providerId="ADAL" clId="{DE91C734-911C-4AEA-859B-D1325E341CA2}" dt="2022-04-05T17:16:32.262" v="12844" actId="2"/>
        <pc:sldMkLst>
          <pc:docMk/>
          <pc:sldMk cId="0" sldId="257"/>
        </pc:sldMkLst>
        <pc:spChg chg="mod">
          <ac:chgData name="Tami Corson" userId="17b03132-2f21-4edf-a2df-f25c30f43233" providerId="ADAL" clId="{DE91C734-911C-4AEA-859B-D1325E341CA2}" dt="2022-03-26T13:03:33.364" v="28" actId="20577"/>
          <ac:spMkLst>
            <pc:docMk/>
            <pc:sldMk cId="0" sldId="257"/>
            <ac:spMk id="4" creationId="{8570B07F-C2EE-4D23-B889-B458FC8A4A4A}"/>
          </ac:spMkLst>
        </pc:spChg>
        <pc:spChg chg="mod">
          <ac:chgData name="Tami Corson" userId="17b03132-2f21-4edf-a2df-f25c30f43233" providerId="ADAL" clId="{DE91C734-911C-4AEA-859B-D1325E341CA2}" dt="2022-03-28T13:41:24.703" v="5841" actId="20577"/>
          <ac:spMkLst>
            <pc:docMk/>
            <pc:sldMk cId="0" sldId="257"/>
            <ac:spMk id="44" creationId="{28E8AA2B-7E30-48CF-86E4-5464130C7279}"/>
          </ac:spMkLst>
        </pc:spChg>
        <pc:spChg chg="mod">
          <ac:chgData name="Tami Corson" userId="17b03132-2f21-4edf-a2df-f25c30f43233" providerId="ADAL" clId="{DE91C734-911C-4AEA-859B-D1325E341CA2}" dt="2022-03-26T13:04:33.128" v="48" actId="20577"/>
          <ac:spMkLst>
            <pc:docMk/>
            <pc:sldMk cId="0" sldId="257"/>
            <ac:spMk id="195" creationId="{00000000-0000-0000-0000-000000000000}"/>
          </ac:spMkLst>
        </pc:spChg>
        <pc:spChg chg="mod">
          <ac:chgData name="Tami Corson" userId="17b03132-2f21-4edf-a2df-f25c30f43233" providerId="ADAL" clId="{DE91C734-911C-4AEA-859B-D1325E341CA2}" dt="2022-04-05T17:16:32.262" v="12844" actId="2"/>
          <ac:spMkLst>
            <pc:docMk/>
            <pc:sldMk cId="0" sldId="257"/>
            <ac:spMk id="218" creationId="{00000000-0000-0000-0000-000000000000}"/>
          </ac:spMkLst>
        </pc:spChg>
      </pc:sldChg>
      <pc:sldChg chg="modSp mod">
        <pc:chgData name="Tami Corson" userId="17b03132-2f21-4edf-a2df-f25c30f43233" providerId="ADAL" clId="{DE91C734-911C-4AEA-859B-D1325E341CA2}" dt="2022-03-26T13:04:21.604" v="46" actId="20577"/>
        <pc:sldMkLst>
          <pc:docMk/>
          <pc:sldMk cId="0" sldId="258"/>
        </pc:sldMkLst>
        <pc:spChg chg="mod">
          <ac:chgData name="Tami Corson" userId="17b03132-2f21-4edf-a2df-f25c30f43233" providerId="ADAL" clId="{DE91C734-911C-4AEA-859B-D1325E341CA2}" dt="2022-03-26T13:04:21.604" v="46" actId="20577"/>
          <ac:spMkLst>
            <pc:docMk/>
            <pc:sldMk cId="0" sldId="258"/>
            <ac:spMk id="244" creationId="{00000000-0000-0000-0000-000000000000}"/>
          </ac:spMkLst>
        </pc:spChg>
      </pc:sldChg>
      <pc:sldChg chg="addSp delSp modSp mod">
        <pc:chgData name="Tami Corson" userId="17b03132-2f21-4edf-a2df-f25c30f43233" providerId="ADAL" clId="{DE91C734-911C-4AEA-859B-D1325E341CA2}" dt="2022-04-05T15:29:43.203" v="12389" actId="1076"/>
        <pc:sldMkLst>
          <pc:docMk/>
          <pc:sldMk cId="0" sldId="259"/>
        </pc:sldMkLst>
        <pc:spChg chg="add del mod">
          <ac:chgData name="Tami Corson" userId="17b03132-2f21-4edf-a2df-f25c30f43233" providerId="ADAL" clId="{DE91C734-911C-4AEA-859B-D1325E341CA2}" dt="2022-03-26T14:05:10.666" v="5778" actId="767"/>
          <ac:spMkLst>
            <pc:docMk/>
            <pc:sldMk cId="0" sldId="259"/>
            <ac:spMk id="2" creationId="{29FE6A70-95E1-4AB3-85B8-1DB8ABCBDF4F}"/>
          </ac:spMkLst>
        </pc:spChg>
        <pc:spChg chg="add del mod">
          <ac:chgData name="Tami Corson" userId="17b03132-2f21-4edf-a2df-f25c30f43233" providerId="ADAL" clId="{DE91C734-911C-4AEA-859B-D1325E341CA2}" dt="2022-03-31T18:44:11.516" v="9476" actId="478"/>
          <ac:spMkLst>
            <pc:docMk/>
            <pc:sldMk cId="0" sldId="259"/>
            <ac:spMk id="61" creationId="{4BA3EC63-1DC5-486F-98BD-5666DBC31E58}"/>
          </ac:spMkLst>
        </pc:spChg>
        <pc:spChg chg="mod">
          <ac:chgData name="Tami Corson" userId="17b03132-2f21-4edf-a2df-f25c30f43233" providerId="ADAL" clId="{DE91C734-911C-4AEA-859B-D1325E341CA2}" dt="2022-03-26T13:05:30.135" v="58" actId="20577"/>
          <ac:spMkLst>
            <pc:docMk/>
            <pc:sldMk cId="0" sldId="259"/>
            <ac:spMk id="265" creationId="{00000000-0000-0000-0000-000000000000}"/>
          </ac:spMkLst>
        </pc:spChg>
        <pc:spChg chg="mod">
          <ac:chgData name="Tami Corson" userId="17b03132-2f21-4edf-a2df-f25c30f43233" providerId="ADAL" clId="{DE91C734-911C-4AEA-859B-D1325E341CA2}" dt="2022-03-26T13:05:05.949" v="50" actId="14100"/>
          <ac:spMkLst>
            <pc:docMk/>
            <pc:sldMk cId="0" sldId="259"/>
            <ac:spMk id="311" creationId="{00000000-0000-0000-0000-000000000000}"/>
          </ac:spMkLst>
        </pc:spChg>
        <pc:spChg chg="mod">
          <ac:chgData name="Tami Corson" userId="17b03132-2f21-4edf-a2df-f25c30f43233" providerId="ADAL" clId="{DE91C734-911C-4AEA-859B-D1325E341CA2}" dt="2022-04-05T15:29:43.203" v="12389" actId="1076"/>
          <ac:spMkLst>
            <pc:docMk/>
            <pc:sldMk cId="0" sldId="259"/>
            <ac:spMk id="312" creationId="{00000000-0000-0000-0000-000000000000}"/>
          </ac:spMkLst>
        </pc:spChg>
        <pc:grpChg chg="mod">
          <ac:chgData name="Tami Corson" userId="17b03132-2f21-4edf-a2df-f25c30f43233" providerId="ADAL" clId="{DE91C734-911C-4AEA-859B-D1325E341CA2}" dt="2022-04-05T01:52:45.294" v="11396" actId="1076"/>
          <ac:grpSpMkLst>
            <pc:docMk/>
            <pc:sldMk cId="0" sldId="259"/>
            <ac:grpSpMk id="315" creationId="{00000000-0000-0000-0000-000000000000}"/>
          </ac:grpSpMkLst>
        </pc:grpChg>
      </pc:sldChg>
      <pc:sldChg chg="modSp mod">
        <pc:chgData name="Tami Corson" userId="17b03132-2f21-4edf-a2df-f25c30f43233" providerId="ADAL" clId="{DE91C734-911C-4AEA-859B-D1325E341CA2}" dt="2022-03-26T13:06:25.763" v="70" actId="20577"/>
        <pc:sldMkLst>
          <pc:docMk/>
          <pc:sldMk cId="0" sldId="260"/>
        </pc:sldMkLst>
        <pc:spChg chg="mod">
          <ac:chgData name="Tami Corson" userId="17b03132-2f21-4edf-a2df-f25c30f43233" providerId="ADAL" clId="{DE91C734-911C-4AEA-859B-D1325E341CA2}" dt="2022-03-26T13:06:25.763" v="70" actId="20577"/>
          <ac:spMkLst>
            <pc:docMk/>
            <pc:sldMk cId="0" sldId="260"/>
            <ac:spMk id="2" creationId="{F23191FC-7B29-89F5-21F1-7FF0E32525D9}"/>
          </ac:spMkLst>
        </pc:spChg>
        <pc:spChg chg="mod">
          <ac:chgData name="Tami Corson" userId="17b03132-2f21-4edf-a2df-f25c30f43233" providerId="ADAL" clId="{DE91C734-911C-4AEA-859B-D1325E341CA2}" dt="2022-03-26T13:05:55.141" v="60" actId="20577"/>
          <ac:spMkLst>
            <pc:docMk/>
            <pc:sldMk cId="0" sldId="260"/>
            <ac:spMk id="325" creationId="{00000000-0000-0000-0000-000000000000}"/>
          </ac:spMkLst>
        </pc:spChg>
      </pc:sldChg>
      <pc:sldChg chg="modSp mod">
        <pc:chgData name="Tami Corson" userId="17b03132-2f21-4edf-a2df-f25c30f43233" providerId="ADAL" clId="{DE91C734-911C-4AEA-859B-D1325E341CA2}" dt="2022-03-26T13:06:59.465" v="81" actId="20577"/>
        <pc:sldMkLst>
          <pc:docMk/>
          <pc:sldMk cId="0" sldId="261"/>
        </pc:sldMkLst>
        <pc:spChg chg="mod">
          <ac:chgData name="Tami Corson" userId="17b03132-2f21-4edf-a2df-f25c30f43233" providerId="ADAL" clId="{DE91C734-911C-4AEA-859B-D1325E341CA2}" dt="2022-03-26T13:06:48.701" v="71" actId="13926"/>
          <ac:spMkLst>
            <pc:docMk/>
            <pc:sldMk cId="0" sldId="261"/>
            <ac:spMk id="331" creationId="{00000000-0000-0000-0000-000000000000}"/>
          </ac:spMkLst>
        </pc:spChg>
        <pc:spChg chg="mod">
          <ac:chgData name="Tami Corson" userId="17b03132-2f21-4edf-a2df-f25c30f43233" providerId="ADAL" clId="{DE91C734-911C-4AEA-859B-D1325E341CA2}" dt="2022-03-26T13:06:59.465" v="81" actId="20577"/>
          <ac:spMkLst>
            <pc:docMk/>
            <pc:sldMk cId="0" sldId="261"/>
            <ac:spMk id="337" creationId="{00000000-0000-0000-0000-000000000000}"/>
          </ac:spMkLst>
        </pc:spChg>
      </pc:sldChg>
      <pc:sldChg chg="ord">
        <pc:chgData name="Tami Corson" userId="17b03132-2f21-4edf-a2df-f25c30f43233" providerId="ADAL" clId="{DE91C734-911C-4AEA-859B-D1325E341CA2}" dt="2022-03-26T13:12:33.437" v="123"/>
        <pc:sldMkLst>
          <pc:docMk/>
          <pc:sldMk cId="0" sldId="262"/>
        </pc:sldMkLst>
      </pc:sldChg>
      <pc:sldChg chg="modSp mod">
        <pc:chgData name="Tami Corson" userId="17b03132-2f21-4edf-a2df-f25c30f43233" providerId="ADAL" clId="{DE91C734-911C-4AEA-859B-D1325E341CA2}" dt="2022-03-26T13:14:33.780" v="144" actId="20577"/>
        <pc:sldMkLst>
          <pc:docMk/>
          <pc:sldMk cId="0" sldId="263"/>
        </pc:sldMkLst>
        <pc:spChg chg="mod">
          <ac:chgData name="Tami Corson" userId="17b03132-2f21-4edf-a2df-f25c30f43233" providerId="ADAL" clId="{DE91C734-911C-4AEA-859B-D1325E341CA2}" dt="2022-03-26T13:14:33.780" v="144" actId="20577"/>
          <ac:spMkLst>
            <pc:docMk/>
            <pc:sldMk cId="0" sldId="263"/>
            <ac:spMk id="2" creationId="{820A4734-2A64-812C-44F5-9C35D9905FB2}"/>
          </ac:spMkLst>
        </pc:spChg>
        <pc:spChg chg="mod">
          <ac:chgData name="Tami Corson" userId="17b03132-2f21-4edf-a2df-f25c30f43233" providerId="ADAL" clId="{DE91C734-911C-4AEA-859B-D1325E341CA2}" dt="2022-03-26T13:14:20.960" v="134" actId="20577"/>
          <ac:spMkLst>
            <pc:docMk/>
            <pc:sldMk cId="0" sldId="263"/>
            <ac:spMk id="460" creationId="{00000000-0000-0000-0000-000000000000}"/>
          </ac:spMkLst>
        </pc:spChg>
        <pc:spChg chg="mod">
          <ac:chgData name="Tami Corson" userId="17b03132-2f21-4edf-a2df-f25c30f43233" providerId="ADAL" clId="{DE91C734-911C-4AEA-859B-D1325E341CA2}" dt="2022-03-26T13:14:18.299" v="132" actId="20577"/>
          <ac:spMkLst>
            <pc:docMk/>
            <pc:sldMk cId="0" sldId="263"/>
            <ac:spMk id="461" creationId="{00000000-0000-0000-0000-000000000000}"/>
          </ac:spMkLst>
        </pc:spChg>
      </pc:sldChg>
      <pc:sldChg chg="addSp delSp modSp mod">
        <pc:chgData name="Tami Corson" userId="17b03132-2f21-4edf-a2df-f25c30f43233" providerId="ADAL" clId="{DE91C734-911C-4AEA-859B-D1325E341CA2}" dt="2022-04-05T15:33:24.665" v="12459" actId="1076"/>
        <pc:sldMkLst>
          <pc:docMk/>
          <pc:sldMk cId="0" sldId="264"/>
        </pc:sldMkLst>
        <pc:spChg chg="add mod">
          <ac:chgData name="Tami Corson" userId="17b03132-2f21-4edf-a2df-f25c30f43233" providerId="ADAL" clId="{DE91C734-911C-4AEA-859B-D1325E341CA2}" dt="2022-03-26T14:03:55.182" v="5710" actId="20577"/>
          <ac:spMkLst>
            <pc:docMk/>
            <pc:sldMk cId="0" sldId="264"/>
            <ac:spMk id="2" creationId="{602D9FA4-F15C-4D1D-AEB7-B89F3D495002}"/>
          </ac:spMkLst>
        </pc:spChg>
        <pc:spChg chg="add mod">
          <ac:chgData name="Tami Corson" userId="17b03132-2f21-4edf-a2df-f25c30f43233" providerId="ADAL" clId="{DE91C734-911C-4AEA-859B-D1325E341CA2}" dt="2022-04-05T15:33:06.002" v="12458" actId="207"/>
          <ac:spMkLst>
            <pc:docMk/>
            <pc:sldMk cId="0" sldId="264"/>
            <ac:spMk id="2" creationId="{F6BBEB41-92FB-4F29-AAB3-55FCF4F92B4B}"/>
          </ac:spMkLst>
        </pc:spChg>
        <pc:spChg chg="del">
          <ac:chgData name="Tami Corson" userId="17b03132-2f21-4edf-a2df-f25c30f43233" providerId="ADAL" clId="{DE91C734-911C-4AEA-859B-D1325E341CA2}" dt="2022-04-04T17:28:32.693" v="11053" actId="478"/>
          <ac:spMkLst>
            <pc:docMk/>
            <pc:sldMk cId="0" sldId="264"/>
            <ac:spMk id="4" creationId="{2A7D3A66-4741-5C35-EDF0-07C9E0489A88}"/>
          </ac:spMkLst>
        </pc:spChg>
        <pc:spChg chg="mod">
          <ac:chgData name="Tami Corson" userId="17b03132-2f21-4edf-a2df-f25c30f43233" providerId="ADAL" clId="{DE91C734-911C-4AEA-859B-D1325E341CA2}" dt="2022-04-04T17:27:49.384" v="11051" actId="1076"/>
          <ac:spMkLst>
            <pc:docMk/>
            <pc:sldMk cId="0" sldId="264"/>
            <ac:spMk id="26" creationId="{63D5B65A-793E-4E79-B52C-834340BABD85}"/>
          </ac:spMkLst>
        </pc:spChg>
        <pc:spChg chg="add del mod">
          <ac:chgData name="Tami Corson" userId="17b03132-2f21-4edf-a2df-f25c30f43233" providerId="ADAL" clId="{DE91C734-911C-4AEA-859B-D1325E341CA2}" dt="2022-04-04T17:28:38.829" v="11054" actId="478"/>
          <ac:spMkLst>
            <pc:docMk/>
            <pc:sldMk cId="0" sldId="264"/>
            <ac:spMk id="27" creationId="{5326A9EE-D7DA-42EE-827F-1C7E490483EE}"/>
          </ac:spMkLst>
        </pc:spChg>
        <pc:spChg chg="mod">
          <ac:chgData name="Tami Corson" userId="17b03132-2f21-4edf-a2df-f25c30f43233" providerId="ADAL" clId="{DE91C734-911C-4AEA-859B-D1325E341CA2}" dt="2022-04-04T17:26:13.864" v="11019" actId="20577"/>
          <ac:spMkLst>
            <pc:docMk/>
            <pc:sldMk cId="0" sldId="264"/>
            <ac:spMk id="29" creationId="{CE4534C1-122C-4584-960F-B0117C9A488A}"/>
          </ac:spMkLst>
        </pc:spChg>
        <pc:spChg chg="mod">
          <ac:chgData name="Tami Corson" userId="17b03132-2f21-4edf-a2df-f25c30f43233" providerId="ADAL" clId="{DE91C734-911C-4AEA-859B-D1325E341CA2}" dt="2022-04-04T17:27:26.274" v="11049" actId="20577"/>
          <ac:spMkLst>
            <pc:docMk/>
            <pc:sldMk cId="0" sldId="264"/>
            <ac:spMk id="30" creationId="{100AEE39-1F64-4466-ACEE-5B01ED088536}"/>
          </ac:spMkLst>
        </pc:spChg>
        <pc:spChg chg="mod">
          <ac:chgData name="Tami Corson" userId="17b03132-2f21-4edf-a2df-f25c30f43233" providerId="ADAL" clId="{DE91C734-911C-4AEA-859B-D1325E341CA2}" dt="2022-03-26T13:17:31.116" v="378" actId="6549"/>
          <ac:spMkLst>
            <pc:docMk/>
            <pc:sldMk cId="0" sldId="264"/>
            <ac:spMk id="471" creationId="{00000000-0000-0000-0000-000000000000}"/>
          </ac:spMkLst>
        </pc:spChg>
        <pc:spChg chg="mod">
          <ac:chgData name="Tami Corson" userId="17b03132-2f21-4edf-a2df-f25c30f43233" providerId="ADAL" clId="{DE91C734-911C-4AEA-859B-D1325E341CA2}" dt="2022-03-26T13:53:42.182" v="5159" actId="13926"/>
          <ac:spMkLst>
            <pc:docMk/>
            <pc:sldMk cId="0" sldId="264"/>
            <ac:spMk id="472" creationId="{00000000-0000-0000-0000-000000000000}"/>
          </ac:spMkLst>
        </pc:spChg>
        <pc:grpChg chg="mod">
          <ac:chgData name="Tami Corson" userId="17b03132-2f21-4edf-a2df-f25c30f43233" providerId="ADAL" clId="{DE91C734-911C-4AEA-859B-D1325E341CA2}" dt="2022-04-05T15:33:24.665" v="12459" actId="1076"/>
          <ac:grpSpMkLst>
            <pc:docMk/>
            <pc:sldMk cId="0" sldId="264"/>
            <ac:grpSpMk id="71" creationId="{6AE99249-61B0-4010-A9C3-CCC1E2A6D758}"/>
          </ac:grpSpMkLst>
        </pc:grpChg>
        <pc:grpChg chg="mod">
          <ac:chgData name="Tami Corson" userId="17b03132-2f21-4edf-a2df-f25c30f43233" providerId="ADAL" clId="{DE91C734-911C-4AEA-859B-D1325E341CA2}" dt="2022-04-04T17:27:55.781" v="11052" actId="1076"/>
          <ac:grpSpMkLst>
            <pc:docMk/>
            <pc:sldMk cId="0" sldId="264"/>
            <ac:grpSpMk id="75" creationId="{2F4C0EEE-B2A5-4F5F-BA6D-5346F5BDD0C0}"/>
          </ac:grpSpMkLst>
        </pc:grpChg>
        <pc:graphicFrameChg chg="mod">
          <ac:chgData name="Tami Corson" userId="17b03132-2f21-4edf-a2df-f25c30f43233" providerId="ADAL" clId="{DE91C734-911C-4AEA-859B-D1325E341CA2}" dt="2022-04-04T17:11:14.538" v="10856" actId="1076"/>
          <ac:graphicFrameMkLst>
            <pc:docMk/>
            <pc:sldMk cId="0" sldId="264"/>
            <ac:graphicFrameMk id="488" creationId="{00000000-0000-0000-0000-000000000000}"/>
          </ac:graphicFrameMkLst>
        </pc:graphicFrameChg>
        <pc:cxnChg chg="mod">
          <ac:chgData name="Tami Corson" userId="17b03132-2f21-4edf-a2df-f25c30f43233" providerId="ADAL" clId="{DE91C734-911C-4AEA-859B-D1325E341CA2}" dt="2022-04-04T17:11:21.279" v="10857" actId="1076"/>
          <ac:cxnSpMkLst>
            <pc:docMk/>
            <pc:sldMk cId="0" sldId="264"/>
            <ac:cxnSpMk id="24" creationId="{9895C561-40F6-FFF0-1D13-CF25703C5BED}"/>
          </ac:cxnSpMkLst>
        </pc:cxnChg>
        <pc:cxnChg chg="mod">
          <ac:chgData name="Tami Corson" userId="17b03132-2f21-4edf-a2df-f25c30f43233" providerId="ADAL" clId="{DE91C734-911C-4AEA-859B-D1325E341CA2}" dt="2022-04-04T17:27:41.277" v="11050" actId="1076"/>
          <ac:cxnSpMkLst>
            <pc:docMk/>
            <pc:sldMk cId="0" sldId="264"/>
            <ac:cxnSpMk id="83" creationId="{8A2F6C26-81D3-43E5-B4BE-4DD32D42E75D}"/>
          </ac:cxnSpMkLst>
        </pc:cxnChg>
        <pc:cxnChg chg="mod">
          <ac:chgData name="Tami Corson" userId="17b03132-2f21-4edf-a2df-f25c30f43233" providerId="ADAL" clId="{DE91C734-911C-4AEA-859B-D1325E341CA2}" dt="2022-04-04T17:11:55.868" v="10861" actId="1076"/>
          <ac:cxnSpMkLst>
            <pc:docMk/>
            <pc:sldMk cId="0" sldId="264"/>
            <ac:cxnSpMk id="84" creationId="{AC6210DF-562A-41C9-9E37-6F2588D8CA5A}"/>
          </ac:cxnSpMkLst>
        </pc:cxnChg>
      </pc:sldChg>
      <pc:sldChg chg="addSp delSp modSp mod">
        <pc:chgData name="Tami Corson" userId="17b03132-2f21-4edf-a2df-f25c30f43233" providerId="ADAL" clId="{DE91C734-911C-4AEA-859B-D1325E341CA2}" dt="2022-04-05T17:16:38.025" v="12846"/>
        <pc:sldMkLst>
          <pc:docMk/>
          <pc:sldMk cId="0" sldId="267"/>
        </pc:sldMkLst>
        <pc:spChg chg="del mod">
          <ac:chgData name="Tami Corson" userId="17b03132-2f21-4edf-a2df-f25c30f43233" providerId="ADAL" clId="{DE91C734-911C-4AEA-859B-D1325E341CA2}" dt="2022-03-26T13:33:49.843" v="3391" actId="478"/>
          <ac:spMkLst>
            <pc:docMk/>
            <pc:sldMk cId="0" sldId="267"/>
            <ac:spMk id="6" creationId="{D1B67900-A55A-49E3-9F1F-6FA28D277895}"/>
          </ac:spMkLst>
        </pc:spChg>
        <pc:spChg chg="mod">
          <ac:chgData name="Tami Corson" userId="17b03132-2f21-4edf-a2df-f25c30f43233" providerId="ADAL" clId="{DE91C734-911C-4AEA-859B-D1325E341CA2}" dt="2022-03-26T13:32:21.547" v="3200" actId="20577"/>
          <ac:spMkLst>
            <pc:docMk/>
            <pc:sldMk cId="0" sldId="267"/>
            <ac:spMk id="7" creationId="{C840A1AA-DEE9-4A69-BC08-B46800497F9A}"/>
          </ac:spMkLst>
        </pc:spChg>
        <pc:spChg chg="add del mod">
          <ac:chgData name="Tami Corson" userId="17b03132-2f21-4edf-a2df-f25c30f43233" providerId="ADAL" clId="{DE91C734-911C-4AEA-859B-D1325E341CA2}" dt="2022-03-26T13:45:14.697" v="4675" actId="478"/>
          <ac:spMkLst>
            <pc:docMk/>
            <pc:sldMk cId="0" sldId="267"/>
            <ac:spMk id="9" creationId="{60FFE6A5-D18B-4D33-8AFD-1622F20415D5}"/>
          </ac:spMkLst>
        </pc:spChg>
        <pc:spChg chg="add mod">
          <ac:chgData name="Tami Corson" userId="17b03132-2f21-4edf-a2df-f25c30f43233" providerId="ADAL" clId="{DE91C734-911C-4AEA-859B-D1325E341CA2}" dt="2022-04-05T17:16:38.025" v="12846"/>
          <ac:spMkLst>
            <pc:docMk/>
            <pc:sldMk cId="0" sldId="267"/>
            <ac:spMk id="15" creationId="{0FE28857-EB53-498A-9EED-560FE4996A1D}"/>
          </ac:spMkLst>
        </pc:spChg>
        <pc:spChg chg="add mod">
          <ac:chgData name="Tami Corson" userId="17b03132-2f21-4edf-a2df-f25c30f43233" providerId="ADAL" clId="{DE91C734-911C-4AEA-859B-D1325E341CA2}" dt="2022-03-31T18:46:11.085" v="9555" actId="20577"/>
          <ac:spMkLst>
            <pc:docMk/>
            <pc:sldMk cId="0" sldId="267"/>
            <ac:spMk id="15" creationId="{1E4F1338-17C9-4FF2-9D25-BE5608D8C1F6}"/>
          </ac:spMkLst>
        </pc:spChg>
        <pc:spChg chg="add mod">
          <ac:chgData name="Tami Corson" userId="17b03132-2f21-4edf-a2df-f25c30f43233" providerId="ADAL" clId="{DE91C734-911C-4AEA-859B-D1325E341CA2}" dt="2022-03-26T13:45:09.009" v="4674"/>
          <ac:spMkLst>
            <pc:docMk/>
            <pc:sldMk cId="0" sldId="267"/>
            <ac:spMk id="16" creationId="{06D1BAE6-275A-40C2-ABFA-22E1B96BE960}"/>
          </ac:spMkLst>
        </pc:spChg>
        <pc:spChg chg="add del mod">
          <ac:chgData name="Tami Corson" userId="17b03132-2f21-4edf-a2df-f25c30f43233" providerId="ADAL" clId="{DE91C734-911C-4AEA-859B-D1325E341CA2}" dt="2022-04-05T13:57:58.262" v="11876" actId="478"/>
          <ac:spMkLst>
            <pc:docMk/>
            <pc:sldMk cId="0" sldId="267"/>
            <ac:spMk id="17" creationId="{1372D36F-9451-4CFC-B839-E2B9F755D355}"/>
          </ac:spMkLst>
        </pc:spChg>
        <pc:spChg chg="mod">
          <ac:chgData name="Tami Corson" userId="17b03132-2f21-4edf-a2df-f25c30f43233" providerId="ADAL" clId="{DE91C734-911C-4AEA-859B-D1325E341CA2}" dt="2022-03-31T18:46:41.417" v="9558" actId="14100"/>
          <ac:spMkLst>
            <pc:docMk/>
            <pc:sldMk cId="0" sldId="267"/>
            <ac:spMk id="572" creationId="{00000000-0000-0000-0000-000000000000}"/>
          </ac:spMkLst>
        </pc:spChg>
        <pc:spChg chg="mod">
          <ac:chgData name="Tami Corson" userId="17b03132-2f21-4edf-a2df-f25c30f43233" providerId="ADAL" clId="{DE91C734-911C-4AEA-859B-D1325E341CA2}" dt="2022-03-26T13:32:10.942" v="3192" actId="20577"/>
          <ac:spMkLst>
            <pc:docMk/>
            <pc:sldMk cId="0" sldId="267"/>
            <ac:spMk id="575" creationId="{00000000-0000-0000-0000-000000000000}"/>
          </ac:spMkLst>
        </pc:spChg>
        <pc:spChg chg="mod">
          <ac:chgData name="Tami Corson" userId="17b03132-2f21-4edf-a2df-f25c30f43233" providerId="ADAL" clId="{DE91C734-911C-4AEA-859B-D1325E341CA2}" dt="2022-04-05T13:26:28.061" v="11753" actId="14100"/>
          <ac:spMkLst>
            <pc:docMk/>
            <pc:sldMk cId="0" sldId="267"/>
            <ac:spMk id="579" creationId="{00000000-0000-0000-0000-000000000000}"/>
          </ac:spMkLst>
        </pc:spChg>
        <pc:picChg chg="mod modCrop">
          <ac:chgData name="Tami Corson" userId="17b03132-2f21-4edf-a2df-f25c30f43233" providerId="ADAL" clId="{DE91C734-911C-4AEA-859B-D1325E341CA2}" dt="2022-04-05T14:02:51.377" v="11962" actId="1076"/>
          <ac:picMkLst>
            <pc:docMk/>
            <pc:sldMk cId="0" sldId="267"/>
            <ac:picMk id="4" creationId="{42EA391A-1865-00F6-A513-7451C70F9F89}"/>
          </ac:picMkLst>
        </pc:picChg>
        <pc:picChg chg="del">
          <ac:chgData name="Tami Corson" userId="17b03132-2f21-4edf-a2df-f25c30f43233" providerId="ADAL" clId="{DE91C734-911C-4AEA-859B-D1325E341CA2}" dt="2022-03-26T13:31:53.959" v="3137" actId="478"/>
          <ac:picMkLst>
            <pc:docMk/>
            <pc:sldMk cId="0" sldId="267"/>
            <ac:picMk id="4" creationId="{E963C357-8F83-411B-B523-2791ED6459DC}"/>
          </ac:picMkLst>
        </pc:picChg>
      </pc:sldChg>
      <pc:sldChg chg="delSp modSp del mod">
        <pc:chgData name="Tami Corson" userId="17b03132-2f21-4edf-a2df-f25c30f43233" providerId="ADAL" clId="{DE91C734-911C-4AEA-859B-D1325E341CA2}" dt="2022-03-30T02:07:18.578" v="8295" actId="47"/>
        <pc:sldMkLst>
          <pc:docMk/>
          <pc:sldMk cId="0" sldId="269"/>
        </pc:sldMkLst>
        <pc:spChg chg="mod">
          <ac:chgData name="Tami Corson" userId="17b03132-2f21-4edf-a2df-f25c30f43233" providerId="ADAL" clId="{DE91C734-911C-4AEA-859B-D1325E341CA2}" dt="2022-03-26T13:24:20.899" v="1522" actId="20577"/>
          <ac:spMkLst>
            <pc:docMk/>
            <pc:sldMk cId="0" sldId="269"/>
            <ac:spMk id="3" creationId="{AC311647-2B4D-4E6C-81D1-9F8580567C0E}"/>
          </ac:spMkLst>
        </pc:spChg>
        <pc:spChg chg="mod">
          <ac:chgData name="Tami Corson" userId="17b03132-2f21-4edf-a2df-f25c30f43233" providerId="ADAL" clId="{DE91C734-911C-4AEA-859B-D1325E341CA2}" dt="2022-03-26T13:22:37.203" v="1123" actId="20577"/>
          <ac:spMkLst>
            <pc:docMk/>
            <pc:sldMk cId="0" sldId="269"/>
            <ac:spMk id="601" creationId="{00000000-0000-0000-0000-000000000000}"/>
          </ac:spMkLst>
        </pc:spChg>
        <pc:spChg chg="mod">
          <ac:chgData name="Tami Corson" userId="17b03132-2f21-4edf-a2df-f25c30f43233" providerId="ADAL" clId="{DE91C734-911C-4AEA-859B-D1325E341CA2}" dt="2022-03-26T13:23:39.591" v="1441" actId="20577"/>
          <ac:spMkLst>
            <pc:docMk/>
            <pc:sldMk cId="0" sldId="269"/>
            <ac:spMk id="605" creationId="{00000000-0000-0000-0000-000000000000}"/>
          </ac:spMkLst>
        </pc:spChg>
        <pc:spChg chg="mod">
          <ac:chgData name="Tami Corson" userId="17b03132-2f21-4edf-a2df-f25c30f43233" providerId="ADAL" clId="{DE91C734-911C-4AEA-859B-D1325E341CA2}" dt="2022-03-26T13:24:04.683" v="1510" actId="6549"/>
          <ac:spMkLst>
            <pc:docMk/>
            <pc:sldMk cId="0" sldId="269"/>
            <ac:spMk id="609" creationId="{00000000-0000-0000-0000-000000000000}"/>
          </ac:spMkLst>
        </pc:spChg>
        <pc:picChg chg="del">
          <ac:chgData name="Tami Corson" userId="17b03132-2f21-4edf-a2df-f25c30f43233" providerId="ADAL" clId="{DE91C734-911C-4AEA-859B-D1325E341CA2}" dt="2022-03-26T13:23:42.895" v="1442" actId="478"/>
          <ac:picMkLst>
            <pc:docMk/>
            <pc:sldMk cId="0" sldId="269"/>
            <ac:picMk id="4" creationId="{A3DE1E23-4D91-4A14-B3F7-C67C5D0DD7A5}"/>
          </ac:picMkLst>
        </pc:picChg>
        <pc:picChg chg="del">
          <ac:chgData name="Tami Corson" userId="17b03132-2f21-4edf-a2df-f25c30f43233" providerId="ADAL" clId="{DE91C734-911C-4AEA-859B-D1325E341CA2}" dt="2022-03-26T13:23:45.588" v="1443" actId="478"/>
          <ac:picMkLst>
            <pc:docMk/>
            <pc:sldMk cId="0" sldId="269"/>
            <ac:picMk id="5" creationId="{9E943CF7-D578-4861-B11C-4ED484043137}"/>
          </ac:picMkLst>
        </pc:picChg>
        <pc:picChg chg="del">
          <ac:chgData name="Tami Corson" userId="17b03132-2f21-4edf-a2df-f25c30f43233" providerId="ADAL" clId="{DE91C734-911C-4AEA-859B-D1325E341CA2}" dt="2022-03-26T13:23:47.998" v="1444" actId="478"/>
          <ac:picMkLst>
            <pc:docMk/>
            <pc:sldMk cId="0" sldId="269"/>
            <ac:picMk id="6" creationId="{7320460E-7625-44AD-8A44-09D8797A39CC}"/>
          </ac:picMkLst>
        </pc:picChg>
      </pc:sldChg>
      <pc:sldChg chg="addSp delSp modSp mod">
        <pc:chgData name="Tami Corson" userId="17b03132-2f21-4edf-a2df-f25c30f43233" providerId="ADAL" clId="{DE91C734-911C-4AEA-859B-D1325E341CA2}" dt="2022-04-05T17:13:54.213" v="12820" actId="478"/>
        <pc:sldMkLst>
          <pc:docMk/>
          <pc:sldMk cId="0" sldId="275"/>
        </pc:sldMkLst>
        <pc:spChg chg="mod">
          <ac:chgData name="Tami Corson" userId="17b03132-2f21-4edf-a2df-f25c30f43233" providerId="ADAL" clId="{DE91C734-911C-4AEA-859B-D1325E341CA2}" dt="2022-03-26T13:50:42.021" v="4978" actId="20577"/>
          <ac:spMkLst>
            <pc:docMk/>
            <pc:sldMk cId="0" sldId="275"/>
            <ac:spMk id="4" creationId="{9AFC4AAF-F922-425A-B866-F54294711148}"/>
          </ac:spMkLst>
        </pc:spChg>
        <pc:spChg chg="del">
          <ac:chgData name="Tami Corson" userId="17b03132-2f21-4edf-a2df-f25c30f43233" providerId="ADAL" clId="{DE91C734-911C-4AEA-859B-D1325E341CA2}" dt="2022-04-05T14:32:26.594" v="12164" actId="478"/>
          <ac:spMkLst>
            <pc:docMk/>
            <pc:sldMk cId="0" sldId="275"/>
            <ac:spMk id="9" creationId="{0FBC84A6-EDCC-927D-4D8D-DFA9A4DCE659}"/>
          </ac:spMkLst>
        </pc:spChg>
        <pc:spChg chg="del mod">
          <ac:chgData name="Tami Corson" userId="17b03132-2f21-4edf-a2df-f25c30f43233" providerId="ADAL" clId="{DE91C734-911C-4AEA-859B-D1325E341CA2}" dt="2022-03-29T23:35:08.724" v="6618" actId="478"/>
          <ac:spMkLst>
            <pc:docMk/>
            <pc:sldMk cId="0" sldId="275"/>
            <ac:spMk id="9" creationId="{89461D6D-F79F-4EDF-961F-0584EC3D92D7}"/>
          </ac:spMkLst>
        </pc:spChg>
        <pc:spChg chg="add del mod">
          <ac:chgData name="Tami Corson" userId="17b03132-2f21-4edf-a2df-f25c30f43233" providerId="ADAL" clId="{DE91C734-911C-4AEA-859B-D1325E341CA2}" dt="2022-04-05T17:13:54.213" v="12820" actId="478"/>
          <ac:spMkLst>
            <pc:docMk/>
            <pc:sldMk cId="0" sldId="275"/>
            <ac:spMk id="10" creationId="{A698D7F4-3A03-4266-B816-9503033CB2A4}"/>
          </ac:spMkLst>
        </pc:spChg>
        <pc:spChg chg="mod">
          <ac:chgData name="Tami Corson" userId="17b03132-2f21-4edf-a2df-f25c30f43233" providerId="ADAL" clId="{DE91C734-911C-4AEA-859B-D1325E341CA2}" dt="2022-03-30T01:25:48.557" v="6933" actId="20577"/>
          <ac:spMkLst>
            <pc:docMk/>
            <pc:sldMk cId="0" sldId="275"/>
            <ac:spMk id="692" creationId="{00000000-0000-0000-0000-000000000000}"/>
          </ac:spMkLst>
        </pc:spChg>
        <pc:spChg chg="mod">
          <ac:chgData name="Tami Corson" userId="17b03132-2f21-4edf-a2df-f25c30f43233" providerId="ADAL" clId="{DE91C734-911C-4AEA-859B-D1325E341CA2}" dt="2022-03-26T13:50:45.554" v="4980" actId="20577"/>
          <ac:spMkLst>
            <pc:docMk/>
            <pc:sldMk cId="0" sldId="275"/>
            <ac:spMk id="695" creationId="{00000000-0000-0000-0000-000000000000}"/>
          </ac:spMkLst>
        </pc:spChg>
        <pc:graphicFrameChg chg="mod modGraphic">
          <ac:chgData name="Tami Corson" userId="17b03132-2f21-4edf-a2df-f25c30f43233" providerId="ADAL" clId="{DE91C734-911C-4AEA-859B-D1325E341CA2}" dt="2022-04-05T17:01:19.716" v="12671" actId="20577"/>
          <ac:graphicFrameMkLst>
            <pc:docMk/>
            <pc:sldMk cId="0" sldId="275"/>
            <ac:graphicFrameMk id="694" creationId="{00000000-0000-0000-0000-000000000000}"/>
          </ac:graphicFrameMkLst>
        </pc:graphicFrameChg>
      </pc:sldChg>
      <pc:sldChg chg="modSp mod">
        <pc:chgData name="Tami Corson" userId="17b03132-2f21-4edf-a2df-f25c30f43233" providerId="ADAL" clId="{DE91C734-911C-4AEA-859B-D1325E341CA2}" dt="2022-03-26T13:51:12.937" v="4994" actId="20577"/>
        <pc:sldMkLst>
          <pc:docMk/>
          <pc:sldMk cId="0" sldId="276"/>
        </pc:sldMkLst>
        <pc:spChg chg="mod">
          <ac:chgData name="Tami Corson" userId="17b03132-2f21-4edf-a2df-f25c30f43233" providerId="ADAL" clId="{DE91C734-911C-4AEA-859B-D1325E341CA2}" dt="2022-03-26T13:51:12.937" v="4994" actId="20577"/>
          <ac:spMkLst>
            <pc:docMk/>
            <pc:sldMk cId="0" sldId="276"/>
            <ac:spMk id="2" creationId="{218A2BF7-C208-A0CB-E88F-A3CA5FD0CE37}"/>
          </ac:spMkLst>
        </pc:spChg>
        <pc:spChg chg="mod">
          <ac:chgData name="Tami Corson" userId="17b03132-2f21-4edf-a2df-f25c30f43233" providerId="ADAL" clId="{DE91C734-911C-4AEA-859B-D1325E341CA2}" dt="2022-03-26T13:50:59.869" v="4982" actId="20577"/>
          <ac:spMkLst>
            <pc:docMk/>
            <pc:sldMk cId="0" sldId="276"/>
            <ac:spMk id="704" creationId="{00000000-0000-0000-0000-000000000000}"/>
          </ac:spMkLst>
        </pc:spChg>
        <pc:spChg chg="mod">
          <ac:chgData name="Tami Corson" userId="17b03132-2f21-4edf-a2df-f25c30f43233" providerId="ADAL" clId="{DE91C734-911C-4AEA-859B-D1325E341CA2}" dt="2022-03-26T13:51:03.349" v="4984" actId="20577"/>
          <ac:spMkLst>
            <pc:docMk/>
            <pc:sldMk cId="0" sldId="276"/>
            <ac:spMk id="705" creationId="{00000000-0000-0000-0000-000000000000}"/>
          </ac:spMkLst>
        </pc:spChg>
      </pc:sldChg>
      <pc:sldChg chg="modSp mod">
        <pc:chgData name="Tami Corson" userId="17b03132-2f21-4edf-a2df-f25c30f43233" providerId="ADAL" clId="{DE91C734-911C-4AEA-859B-D1325E341CA2}" dt="2022-03-26T13:57:12.728" v="5493" actId="20577"/>
        <pc:sldMkLst>
          <pc:docMk/>
          <pc:sldMk cId="0" sldId="279"/>
        </pc:sldMkLst>
        <pc:spChg chg="mod">
          <ac:chgData name="Tami Corson" userId="17b03132-2f21-4edf-a2df-f25c30f43233" providerId="ADAL" clId="{DE91C734-911C-4AEA-859B-D1325E341CA2}" dt="2022-03-26T13:57:12.728" v="5493" actId="20577"/>
          <ac:spMkLst>
            <pc:docMk/>
            <pc:sldMk cId="0" sldId="279"/>
            <ac:spMk id="852" creationId="{00000000-0000-0000-0000-000000000000}"/>
          </ac:spMkLst>
        </pc:spChg>
      </pc:sldChg>
      <pc:sldChg chg="addSp delSp modSp mod">
        <pc:chgData name="Tami Corson" userId="17b03132-2f21-4edf-a2df-f25c30f43233" providerId="ADAL" clId="{DE91C734-911C-4AEA-859B-D1325E341CA2}" dt="2022-04-05T17:16:14.488" v="12843" actId="1076"/>
        <pc:sldMkLst>
          <pc:docMk/>
          <pc:sldMk cId="0" sldId="280"/>
        </pc:sldMkLst>
        <pc:spChg chg="add del mod">
          <ac:chgData name="Tami Corson" userId="17b03132-2f21-4edf-a2df-f25c30f43233" providerId="ADAL" clId="{DE91C734-911C-4AEA-859B-D1325E341CA2}" dt="2022-03-31T19:02:46.788" v="10364" actId="478"/>
          <ac:spMkLst>
            <pc:docMk/>
            <pc:sldMk cId="0" sldId="280"/>
            <ac:spMk id="2" creationId="{8EFB2B33-4D58-4898-9906-DFE768770CEE}"/>
          </ac:spMkLst>
        </pc:spChg>
        <pc:spChg chg="mod">
          <ac:chgData name="Tami Corson" userId="17b03132-2f21-4edf-a2df-f25c30f43233" providerId="ADAL" clId="{DE91C734-911C-4AEA-859B-D1325E341CA2}" dt="2022-03-26T13:57:36.389" v="5503" actId="20577"/>
          <ac:spMkLst>
            <pc:docMk/>
            <pc:sldMk cId="0" sldId="280"/>
            <ac:spMk id="861" creationId="{00000000-0000-0000-0000-000000000000}"/>
          </ac:spMkLst>
        </pc:spChg>
        <pc:spChg chg="mod ord">
          <ac:chgData name="Tami Corson" userId="17b03132-2f21-4edf-a2df-f25c30f43233" providerId="ADAL" clId="{DE91C734-911C-4AEA-859B-D1325E341CA2}" dt="2022-04-04T16:01:28.455" v="10607" actId="1076"/>
          <ac:spMkLst>
            <pc:docMk/>
            <pc:sldMk cId="0" sldId="280"/>
            <ac:spMk id="863" creationId="{00000000-0000-0000-0000-000000000000}"/>
          </ac:spMkLst>
        </pc:spChg>
        <pc:graphicFrameChg chg="mod modGraphic">
          <ac:chgData name="Tami Corson" userId="17b03132-2f21-4edf-a2df-f25c30f43233" providerId="ADAL" clId="{DE91C734-911C-4AEA-859B-D1325E341CA2}" dt="2022-04-05T17:16:14.488" v="12843" actId="1076"/>
          <ac:graphicFrameMkLst>
            <pc:docMk/>
            <pc:sldMk cId="0" sldId="280"/>
            <ac:graphicFrameMk id="858" creationId="{00000000-0000-0000-0000-000000000000}"/>
          </ac:graphicFrameMkLst>
        </pc:graphicFrameChg>
        <pc:picChg chg="add mod">
          <ac:chgData name="Tami Corson" userId="17b03132-2f21-4edf-a2df-f25c30f43233" providerId="ADAL" clId="{DE91C734-911C-4AEA-859B-D1325E341CA2}" dt="2022-04-04T16:01:24.213" v="10606" actId="1076"/>
          <ac:picMkLst>
            <pc:docMk/>
            <pc:sldMk cId="0" sldId="280"/>
            <ac:picMk id="3" creationId="{BF51D7E1-305B-471D-B2E7-58EAE7B022E5}"/>
          </ac:picMkLst>
        </pc:picChg>
        <pc:picChg chg="del mod">
          <ac:chgData name="Tami Corson" userId="17b03132-2f21-4edf-a2df-f25c30f43233" providerId="ADAL" clId="{DE91C734-911C-4AEA-859B-D1325E341CA2}" dt="2022-03-31T18:51:22.250" v="9624" actId="478"/>
          <ac:picMkLst>
            <pc:docMk/>
            <pc:sldMk cId="0" sldId="280"/>
            <ac:picMk id="4" creationId="{CD1668F7-949E-4C30-A027-3AAFA2D68AA5}"/>
          </ac:picMkLst>
        </pc:picChg>
        <pc:picChg chg="add del mod">
          <ac:chgData name="Tami Corson" userId="17b03132-2f21-4edf-a2df-f25c30f43233" providerId="ADAL" clId="{DE91C734-911C-4AEA-859B-D1325E341CA2}" dt="2022-04-04T15:54:34.086" v="10365" actId="478"/>
          <ac:picMkLst>
            <pc:docMk/>
            <pc:sldMk cId="0" sldId="280"/>
            <ac:picMk id="5" creationId="{B529602E-5A52-4D63-9E5E-84E2268E3F12}"/>
          </ac:picMkLst>
        </pc:picChg>
        <pc:cxnChg chg="mod ord">
          <ac:chgData name="Tami Corson" userId="17b03132-2f21-4edf-a2df-f25c30f43233" providerId="ADAL" clId="{DE91C734-911C-4AEA-859B-D1325E341CA2}" dt="2022-04-04T16:01:31.799" v="10608" actId="14100"/>
          <ac:cxnSpMkLst>
            <pc:docMk/>
            <pc:sldMk cId="0" sldId="280"/>
            <ac:cxnSpMk id="864" creationId="{00000000-0000-0000-0000-000000000000}"/>
          </ac:cxnSpMkLst>
        </pc:cxnChg>
      </pc:sldChg>
      <pc:sldChg chg="addSp modSp mod">
        <pc:chgData name="Tami Corson" userId="17b03132-2f21-4edf-a2df-f25c30f43233" providerId="ADAL" clId="{DE91C734-911C-4AEA-859B-D1325E341CA2}" dt="2022-03-26T13:59:57.339" v="5602" actId="1076"/>
        <pc:sldMkLst>
          <pc:docMk/>
          <pc:sldMk cId="0" sldId="283"/>
        </pc:sldMkLst>
        <pc:spChg chg="add mod">
          <ac:chgData name="Tami Corson" userId="17b03132-2f21-4edf-a2df-f25c30f43233" providerId="ADAL" clId="{DE91C734-911C-4AEA-859B-D1325E341CA2}" dt="2022-03-26T13:59:57.339" v="5602" actId="1076"/>
          <ac:spMkLst>
            <pc:docMk/>
            <pc:sldMk cId="0" sldId="283"/>
            <ac:spMk id="20" creationId="{4B2456FF-B645-463D-855D-7AC4CB451808}"/>
          </ac:spMkLst>
        </pc:spChg>
        <pc:spChg chg="mod">
          <ac:chgData name="Tami Corson" userId="17b03132-2f21-4edf-a2df-f25c30f43233" providerId="ADAL" clId="{DE91C734-911C-4AEA-859B-D1325E341CA2}" dt="2022-03-26T13:58:57.232" v="5556" actId="20577"/>
          <ac:spMkLst>
            <pc:docMk/>
            <pc:sldMk cId="0" sldId="283"/>
            <ac:spMk id="929" creationId="{00000000-0000-0000-0000-000000000000}"/>
          </ac:spMkLst>
        </pc:spChg>
        <pc:graphicFrameChg chg="mod modGraphic">
          <ac:chgData name="Tami Corson" userId="17b03132-2f21-4edf-a2df-f25c30f43233" providerId="ADAL" clId="{DE91C734-911C-4AEA-859B-D1325E341CA2}" dt="2022-03-26T13:59:03.685" v="5557" actId="14100"/>
          <ac:graphicFrameMkLst>
            <pc:docMk/>
            <pc:sldMk cId="0" sldId="283"/>
            <ac:graphicFrameMk id="930" creationId="{00000000-0000-0000-0000-000000000000}"/>
          </ac:graphicFrameMkLst>
        </pc:graphicFrameChg>
      </pc:sldChg>
      <pc:sldChg chg="addSp modSp mod">
        <pc:chgData name="Tami Corson" userId="17b03132-2f21-4edf-a2df-f25c30f43233" providerId="ADAL" clId="{DE91C734-911C-4AEA-859B-D1325E341CA2}" dt="2022-04-05T17:15:33.287" v="12838" actId="1076"/>
        <pc:sldMkLst>
          <pc:docMk/>
          <pc:sldMk cId="3210015788" sldId="303"/>
        </pc:sldMkLst>
        <pc:spChg chg="mod">
          <ac:chgData name="Tami Corson" userId="17b03132-2f21-4edf-a2df-f25c30f43233" providerId="ADAL" clId="{DE91C734-911C-4AEA-859B-D1325E341CA2}" dt="2022-03-26T13:53:07.253" v="5085" actId="6549"/>
          <ac:spMkLst>
            <pc:docMk/>
            <pc:sldMk cId="3210015788" sldId="303"/>
            <ac:spMk id="7" creationId="{BE7F7455-B913-4524-B9A1-CFE51EA4FDC0}"/>
          </ac:spMkLst>
        </pc:spChg>
        <pc:spChg chg="mod">
          <ac:chgData name="Tami Corson" userId="17b03132-2f21-4edf-a2df-f25c30f43233" providerId="ADAL" clId="{DE91C734-911C-4AEA-859B-D1325E341CA2}" dt="2022-03-26T13:55:56.338" v="5464" actId="20577"/>
          <ac:spMkLst>
            <pc:docMk/>
            <pc:sldMk cId="3210015788" sldId="303"/>
            <ac:spMk id="8" creationId="{A19485DD-AF7A-4DC6-9406-74037D209156}"/>
          </ac:spMkLst>
        </pc:spChg>
        <pc:spChg chg="add mod">
          <ac:chgData name="Tami Corson" userId="17b03132-2f21-4edf-a2df-f25c30f43233" providerId="ADAL" clId="{DE91C734-911C-4AEA-859B-D1325E341CA2}" dt="2022-03-26T14:02:43.752" v="5629" actId="20577"/>
          <ac:spMkLst>
            <pc:docMk/>
            <pc:sldMk cId="3210015788" sldId="303"/>
            <ac:spMk id="25" creationId="{33379683-EB1F-4B6F-948D-4D47193E44D8}"/>
          </ac:spMkLst>
        </pc:spChg>
        <pc:spChg chg="mod">
          <ac:chgData name="Tami Corson" userId="17b03132-2f21-4edf-a2df-f25c30f43233" providerId="ADAL" clId="{DE91C734-911C-4AEA-859B-D1325E341CA2}" dt="2022-04-05T17:15:08.643" v="12833" actId="6549"/>
          <ac:spMkLst>
            <pc:docMk/>
            <pc:sldMk cId="3210015788" sldId="303"/>
            <ac:spMk id="29" creationId="{9EDE1D44-C442-44A3-A246-C666D0FC9506}"/>
          </ac:spMkLst>
        </pc:spChg>
        <pc:spChg chg="mod">
          <ac:chgData name="Tami Corson" userId="17b03132-2f21-4edf-a2df-f25c30f43233" providerId="ADAL" clId="{DE91C734-911C-4AEA-859B-D1325E341CA2}" dt="2022-04-05T17:15:33.287" v="12838" actId="1076"/>
          <ac:spMkLst>
            <pc:docMk/>
            <pc:sldMk cId="3210015788" sldId="303"/>
            <ac:spMk id="30" creationId="{F5E6A857-939B-428F-8E38-79E7432F9239}"/>
          </ac:spMkLst>
        </pc:spChg>
        <pc:spChg chg="mod">
          <ac:chgData name="Tami Corson" userId="17b03132-2f21-4edf-a2df-f25c30f43233" providerId="ADAL" clId="{DE91C734-911C-4AEA-859B-D1325E341CA2}" dt="2022-03-26T13:55:52.441" v="5462" actId="20577"/>
          <ac:spMkLst>
            <pc:docMk/>
            <pc:sldMk cId="3210015788" sldId="303"/>
            <ac:spMk id="471" creationId="{00000000-0000-0000-0000-000000000000}"/>
          </ac:spMkLst>
        </pc:spChg>
        <pc:spChg chg="mod">
          <ac:chgData name="Tami Corson" userId="17b03132-2f21-4edf-a2df-f25c30f43233" providerId="ADAL" clId="{DE91C734-911C-4AEA-859B-D1325E341CA2}" dt="2022-04-05T17:14:04.823" v="12821" actId="20577"/>
          <ac:spMkLst>
            <pc:docMk/>
            <pc:sldMk cId="3210015788" sldId="303"/>
            <ac:spMk id="482" creationId="{00000000-0000-0000-0000-000000000000}"/>
          </ac:spMkLst>
        </pc:spChg>
        <pc:grpChg chg="mod">
          <ac:chgData name="Tami Corson" userId="17b03132-2f21-4edf-a2df-f25c30f43233" providerId="ADAL" clId="{DE91C734-911C-4AEA-859B-D1325E341CA2}" dt="2022-04-05T17:15:23.859" v="12836" actId="1076"/>
          <ac:grpSpMkLst>
            <pc:docMk/>
            <pc:sldMk cId="3210015788" sldId="303"/>
            <ac:grpSpMk id="5" creationId="{B4748D22-10CC-4855-AD20-21CA97C1DB4C}"/>
          </ac:grpSpMkLst>
        </pc:grpChg>
        <pc:graphicFrameChg chg="modGraphic">
          <ac:chgData name="Tami Corson" userId="17b03132-2f21-4edf-a2df-f25c30f43233" providerId="ADAL" clId="{DE91C734-911C-4AEA-859B-D1325E341CA2}" dt="2022-03-26T13:54:03.900" v="5162" actId="20577"/>
          <ac:graphicFrameMkLst>
            <pc:docMk/>
            <pc:sldMk cId="3210015788" sldId="303"/>
            <ac:graphicFrameMk id="488" creationId="{00000000-0000-0000-0000-000000000000}"/>
          </ac:graphicFrameMkLst>
        </pc:graphicFrameChg>
        <pc:cxnChg chg="mod">
          <ac:chgData name="Tami Corson" userId="17b03132-2f21-4edf-a2df-f25c30f43233" providerId="ADAL" clId="{DE91C734-911C-4AEA-859B-D1325E341CA2}" dt="2022-04-05T17:15:13.701" v="12834" actId="1076"/>
          <ac:cxnSpMkLst>
            <pc:docMk/>
            <pc:sldMk cId="3210015788" sldId="303"/>
            <ac:cxnSpMk id="486" creationId="{00000000-0000-0000-0000-000000000000}"/>
          </ac:cxnSpMkLst>
        </pc:cxnChg>
        <pc:cxnChg chg="mod">
          <ac:chgData name="Tami Corson" userId="17b03132-2f21-4edf-a2df-f25c30f43233" providerId="ADAL" clId="{DE91C734-911C-4AEA-859B-D1325E341CA2}" dt="2022-04-05T17:15:29.967" v="12837" actId="1076"/>
          <ac:cxnSpMkLst>
            <pc:docMk/>
            <pc:sldMk cId="3210015788" sldId="303"/>
            <ac:cxnSpMk id="487" creationId="{00000000-0000-0000-0000-000000000000}"/>
          </ac:cxnSpMkLst>
        </pc:cxnChg>
      </pc:sldChg>
      <pc:sldChg chg="addSp delSp modSp mod">
        <pc:chgData name="Tami Corson" userId="17b03132-2f21-4edf-a2df-f25c30f43233" providerId="ADAL" clId="{DE91C734-911C-4AEA-859B-D1325E341CA2}" dt="2022-04-05T16:51:47.632" v="12499" actId="478"/>
        <pc:sldMkLst>
          <pc:docMk/>
          <pc:sldMk cId="1756389301" sldId="323"/>
        </pc:sldMkLst>
        <pc:spChg chg="del mod">
          <ac:chgData name="Tami Corson" userId="17b03132-2f21-4edf-a2df-f25c30f43233" providerId="ADAL" clId="{DE91C734-911C-4AEA-859B-D1325E341CA2}" dt="2022-04-05T16:51:47.632" v="12499" actId="478"/>
          <ac:spMkLst>
            <pc:docMk/>
            <pc:sldMk cId="1756389301" sldId="323"/>
            <ac:spMk id="4" creationId="{BF92DADF-CA80-4220-B99B-6FEB90716CCD}"/>
          </ac:spMkLst>
        </pc:spChg>
        <pc:spChg chg="add del mod">
          <ac:chgData name="Tami Corson" userId="17b03132-2f21-4edf-a2df-f25c30f43233" providerId="ADAL" clId="{DE91C734-911C-4AEA-859B-D1325E341CA2}" dt="2022-04-05T13:23:49.726" v="11739" actId="478"/>
          <ac:spMkLst>
            <pc:docMk/>
            <pc:sldMk cId="1756389301" sldId="323"/>
            <ac:spMk id="6" creationId="{32BC3E67-B227-4B69-9623-026BE4649DFB}"/>
          </ac:spMkLst>
        </pc:spChg>
        <pc:spChg chg="mod">
          <ac:chgData name="Tami Corson" userId="17b03132-2f21-4edf-a2df-f25c30f43233" providerId="ADAL" clId="{DE91C734-911C-4AEA-859B-D1325E341CA2}" dt="2022-03-26T13:30:18.424" v="2858" actId="6549"/>
          <ac:spMkLst>
            <pc:docMk/>
            <pc:sldMk cId="1756389301" sldId="323"/>
            <ac:spMk id="7" creationId="{5EDFEF76-4A9B-4615-A291-9A3C8D686D4A}"/>
          </ac:spMkLst>
        </pc:spChg>
        <pc:spChg chg="mod">
          <ac:chgData name="Tami Corson" userId="17b03132-2f21-4edf-a2df-f25c30f43233" providerId="ADAL" clId="{DE91C734-911C-4AEA-859B-D1325E341CA2}" dt="2022-04-05T14:16:47.741" v="12106" actId="6549"/>
          <ac:spMkLst>
            <pc:docMk/>
            <pc:sldMk cId="1756389301" sldId="323"/>
            <ac:spMk id="14" creationId="{D5AFD166-FDA5-49D0-9503-A4D355EE3E78}"/>
          </ac:spMkLst>
        </pc:spChg>
        <pc:spChg chg="mod">
          <ac:chgData name="Tami Corson" userId="17b03132-2f21-4edf-a2df-f25c30f43233" providerId="ADAL" clId="{DE91C734-911C-4AEA-859B-D1325E341CA2}" dt="2022-04-05T13:24:58.486" v="11749" actId="1076"/>
          <ac:spMkLst>
            <pc:docMk/>
            <pc:sldMk cId="1756389301" sldId="323"/>
            <ac:spMk id="15" creationId="{9C4A17CE-EF6F-4ED7-ADC1-9CEE9825B750}"/>
          </ac:spMkLst>
        </pc:spChg>
        <pc:spChg chg="add mod">
          <ac:chgData name="Tami Corson" userId="17b03132-2f21-4edf-a2df-f25c30f43233" providerId="ADAL" clId="{DE91C734-911C-4AEA-859B-D1325E341CA2}" dt="2022-03-26T13:45:03.748" v="4673"/>
          <ac:spMkLst>
            <pc:docMk/>
            <pc:sldMk cId="1756389301" sldId="323"/>
            <ac:spMk id="16" creationId="{8F0CA37A-B6EB-4A17-9D52-2FBB285889D0}"/>
          </ac:spMkLst>
        </pc:spChg>
        <pc:spChg chg="add mod">
          <ac:chgData name="Tami Corson" userId="17b03132-2f21-4edf-a2df-f25c30f43233" providerId="ADAL" clId="{DE91C734-911C-4AEA-859B-D1325E341CA2}" dt="2022-03-31T18:45:50.813" v="9541" actId="20577"/>
          <ac:spMkLst>
            <pc:docMk/>
            <pc:sldMk cId="1756389301" sldId="323"/>
            <ac:spMk id="17" creationId="{740FA3E6-F331-4E37-B121-EE2C3B7FFACC}"/>
          </ac:spMkLst>
        </pc:spChg>
        <pc:spChg chg="add del mod">
          <ac:chgData name="Tami Corson" userId="17b03132-2f21-4edf-a2df-f25c30f43233" providerId="ADAL" clId="{DE91C734-911C-4AEA-859B-D1325E341CA2}" dt="2022-04-05T13:24:50.793" v="11748" actId="478"/>
          <ac:spMkLst>
            <pc:docMk/>
            <pc:sldMk cId="1756389301" sldId="323"/>
            <ac:spMk id="17" creationId="{F3FA3658-0EF8-48C6-B4E1-5101D2A3E836}"/>
          </ac:spMkLst>
        </pc:spChg>
        <pc:spChg chg="mod">
          <ac:chgData name="Tami Corson" userId="17b03132-2f21-4edf-a2df-f25c30f43233" providerId="ADAL" clId="{DE91C734-911C-4AEA-859B-D1325E341CA2}" dt="2022-03-31T18:46:30.347" v="9556" actId="14100"/>
          <ac:spMkLst>
            <pc:docMk/>
            <pc:sldMk cId="1756389301" sldId="323"/>
            <ac:spMk id="651" creationId="{00000000-0000-0000-0000-000000000000}"/>
          </ac:spMkLst>
        </pc:spChg>
        <pc:picChg chg="del">
          <ac:chgData name="Tami Corson" userId="17b03132-2f21-4edf-a2df-f25c30f43233" providerId="ADAL" clId="{DE91C734-911C-4AEA-859B-D1325E341CA2}" dt="2022-03-26T13:29:53.477" v="2790" actId="478"/>
          <ac:picMkLst>
            <pc:docMk/>
            <pc:sldMk cId="1756389301" sldId="323"/>
            <ac:picMk id="2" creationId="{06FB615F-F8A3-43BA-A287-B8535775C676}"/>
          </ac:picMkLst>
        </pc:picChg>
        <pc:picChg chg="add mod modCrop">
          <ac:chgData name="Tami Corson" userId="17b03132-2f21-4edf-a2df-f25c30f43233" providerId="ADAL" clId="{DE91C734-911C-4AEA-859B-D1325E341CA2}" dt="2022-04-05T14:17:08.449" v="12108" actId="1076"/>
          <ac:picMkLst>
            <pc:docMk/>
            <pc:sldMk cId="1756389301" sldId="323"/>
            <ac:picMk id="8" creationId="{785988DC-4B70-4B83-AFED-79E89CF52FB3}"/>
          </ac:picMkLst>
        </pc:picChg>
        <pc:picChg chg="add mod modCrop">
          <ac:chgData name="Tami Corson" userId="17b03132-2f21-4edf-a2df-f25c30f43233" providerId="ADAL" clId="{DE91C734-911C-4AEA-859B-D1325E341CA2}" dt="2022-04-05T14:17:58.572" v="12114" actId="732"/>
          <ac:picMkLst>
            <pc:docMk/>
            <pc:sldMk cId="1756389301" sldId="323"/>
            <ac:picMk id="10" creationId="{37E5AC81-5941-4702-87D9-892EEDC46324}"/>
          </ac:picMkLst>
        </pc:picChg>
      </pc:sldChg>
      <pc:sldChg chg="modSp del mod">
        <pc:chgData name="Tami Corson" userId="17b03132-2f21-4edf-a2df-f25c30f43233" providerId="ADAL" clId="{DE91C734-911C-4AEA-859B-D1325E341CA2}" dt="2022-03-26T13:50:28.736" v="4969" actId="47"/>
        <pc:sldMkLst>
          <pc:docMk/>
          <pc:sldMk cId="1295029711" sldId="333"/>
        </pc:sldMkLst>
        <pc:graphicFrameChg chg="mod modGraphic">
          <ac:chgData name="Tami Corson" userId="17b03132-2f21-4edf-a2df-f25c30f43233" providerId="ADAL" clId="{DE91C734-911C-4AEA-859B-D1325E341CA2}" dt="2022-03-26T13:47:03.313" v="4724" actId="6549"/>
          <ac:graphicFrameMkLst>
            <pc:docMk/>
            <pc:sldMk cId="1295029711" sldId="333"/>
            <ac:graphicFrameMk id="694" creationId="{00000000-0000-0000-0000-000000000000}"/>
          </ac:graphicFrameMkLst>
        </pc:graphicFrameChg>
      </pc:sldChg>
      <pc:sldChg chg="del">
        <pc:chgData name="Tami Corson" userId="17b03132-2f21-4edf-a2df-f25c30f43233" providerId="ADAL" clId="{DE91C734-911C-4AEA-859B-D1325E341CA2}" dt="2022-03-26T13:50:29.874" v="4970" actId="47"/>
        <pc:sldMkLst>
          <pc:docMk/>
          <pc:sldMk cId="130301299" sldId="334"/>
        </pc:sldMkLst>
      </pc:sldChg>
      <pc:sldChg chg="addSp delSp modSp mod">
        <pc:chgData name="Tami Corson" userId="17b03132-2f21-4edf-a2df-f25c30f43233" providerId="ADAL" clId="{DE91C734-911C-4AEA-859B-D1325E341CA2}" dt="2022-04-05T17:09:43.242" v="12802" actId="1076"/>
        <pc:sldMkLst>
          <pc:docMk/>
          <pc:sldMk cId="3720673345" sldId="336"/>
        </pc:sldMkLst>
        <pc:spChg chg="add del mod">
          <ac:chgData name="Tami Corson" userId="17b03132-2f21-4edf-a2df-f25c30f43233" providerId="ADAL" clId="{DE91C734-911C-4AEA-859B-D1325E341CA2}" dt="2022-04-05T17:09:39.725" v="12801" actId="478"/>
          <ac:spMkLst>
            <pc:docMk/>
            <pc:sldMk cId="3720673345" sldId="336"/>
            <ac:spMk id="2" creationId="{6C172565-63B1-4E2C-9215-A68168DD0AED}"/>
          </ac:spMkLst>
        </pc:spChg>
        <pc:spChg chg="add mod">
          <ac:chgData name="Tami Corson" userId="17b03132-2f21-4edf-a2df-f25c30f43233" providerId="ADAL" clId="{DE91C734-911C-4AEA-859B-D1325E341CA2}" dt="2022-03-31T18:45:21.610" v="9523" actId="20577"/>
          <ac:spMkLst>
            <pc:docMk/>
            <pc:sldMk cId="3720673345" sldId="336"/>
            <ac:spMk id="2" creationId="{8590B0AD-CF71-4028-AE61-68B4F1150A4F}"/>
          </ac:spMkLst>
        </pc:spChg>
        <pc:spChg chg="mod">
          <ac:chgData name="Tami Corson" userId="17b03132-2f21-4edf-a2df-f25c30f43233" providerId="ADAL" clId="{DE91C734-911C-4AEA-859B-D1325E341CA2}" dt="2022-04-05T17:09:43.242" v="12802" actId="1076"/>
          <ac:spMkLst>
            <pc:docMk/>
            <pc:sldMk cId="3720673345" sldId="336"/>
            <ac:spMk id="5" creationId="{F9234196-FD9F-0245-3D15-9CAC8C82146D}"/>
          </ac:spMkLst>
        </pc:spChg>
        <pc:spChg chg="mod">
          <ac:chgData name="Tami Corson" userId="17b03132-2f21-4edf-a2df-f25c30f43233" providerId="ADAL" clId="{DE91C734-911C-4AEA-859B-D1325E341CA2}" dt="2022-03-26T13:19:44.024" v="646" actId="20577"/>
          <ac:spMkLst>
            <pc:docMk/>
            <pc:sldMk cId="3720673345" sldId="336"/>
            <ac:spMk id="11" creationId="{B8747EB6-5160-4889-A9E1-0A810192FC7B}"/>
          </ac:spMkLst>
        </pc:spChg>
        <pc:spChg chg="add mod">
          <ac:chgData name="Tami Corson" userId="17b03132-2f21-4edf-a2df-f25c30f43233" providerId="ADAL" clId="{DE91C734-911C-4AEA-859B-D1325E341CA2}" dt="2022-03-30T23:00:51.159" v="8384" actId="20577"/>
          <ac:spMkLst>
            <pc:docMk/>
            <pc:sldMk cId="3720673345" sldId="336"/>
            <ac:spMk id="12" creationId="{2A18C4E8-C461-494D-81E4-7EB6C08B7B32}"/>
          </ac:spMkLst>
        </pc:spChg>
        <pc:spChg chg="mod">
          <ac:chgData name="Tami Corson" userId="17b03132-2f21-4edf-a2df-f25c30f43233" providerId="ADAL" clId="{DE91C734-911C-4AEA-859B-D1325E341CA2}" dt="2022-03-29T23:15:56.002" v="6377" actId="14100"/>
          <ac:spMkLst>
            <pc:docMk/>
            <pc:sldMk cId="3720673345" sldId="336"/>
            <ac:spMk id="616" creationId="{00000000-0000-0000-0000-000000000000}"/>
          </ac:spMkLst>
        </pc:spChg>
        <pc:spChg chg="del mod">
          <ac:chgData name="Tami Corson" userId="17b03132-2f21-4edf-a2df-f25c30f43233" providerId="ADAL" clId="{DE91C734-911C-4AEA-859B-D1325E341CA2}" dt="2022-03-29T23:16:23.319" v="6378" actId="478"/>
          <ac:spMkLst>
            <pc:docMk/>
            <pc:sldMk cId="3720673345" sldId="336"/>
            <ac:spMk id="620" creationId="{00000000-0000-0000-0000-000000000000}"/>
          </ac:spMkLst>
        </pc:spChg>
        <pc:picChg chg="mod">
          <ac:chgData name="Tami Corson" userId="17b03132-2f21-4edf-a2df-f25c30f43233" providerId="ADAL" clId="{DE91C734-911C-4AEA-859B-D1325E341CA2}" dt="2022-04-04T17:44:31.469" v="11137" actId="1076"/>
          <ac:picMkLst>
            <pc:docMk/>
            <pc:sldMk cId="3720673345" sldId="336"/>
            <ac:picMk id="3" creationId="{B724F98D-FF1B-BCB1-E2C4-E208C15BF35F}"/>
          </ac:picMkLst>
        </pc:picChg>
        <pc:picChg chg="mod">
          <ac:chgData name="Tami Corson" userId="17b03132-2f21-4edf-a2df-f25c30f43233" providerId="ADAL" clId="{DE91C734-911C-4AEA-859B-D1325E341CA2}" dt="2022-04-04T17:44:01.808" v="11133" actId="1076"/>
          <ac:picMkLst>
            <pc:docMk/>
            <pc:sldMk cId="3720673345" sldId="336"/>
            <ac:picMk id="4" creationId="{09CA8A60-BBAA-9446-D21F-66F43DA127B3}"/>
          </ac:picMkLst>
        </pc:picChg>
        <pc:picChg chg="del">
          <ac:chgData name="Tami Corson" userId="17b03132-2f21-4edf-a2df-f25c30f43233" providerId="ADAL" clId="{DE91C734-911C-4AEA-859B-D1325E341CA2}" dt="2022-03-26T13:19:24.185" v="638" actId="478"/>
          <ac:picMkLst>
            <pc:docMk/>
            <pc:sldMk cId="3720673345" sldId="336"/>
            <ac:picMk id="4" creationId="{8D3C64D2-1D2C-40BE-9360-7D7368CC172E}"/>
          </ac:picMkLst>
        </pc:picChg>
        <pc:picChg chg="mod">
          <ac:chgData name="Tami Corson" userId="17b03132-2f21-4edf-a2df-f25c30f43233" providerId="ADAL" clId="{DE91C734-911C-4AEA-859B-D1325E341CA2}" dt="2022-04-04T17:44:24.563" v="11136" actId="1076"/>
          <ac:picMkLst>
            <pc:docMk/>
            <pc:sldMk cId="3720673345" sldId="336"/>
            <ac:picMk id="6" creationId="{C960AA0D-8A45-1E16-84E3-8E85DDC162F3}"/>
          </ac:picMkLst>
        </pc:picChg>
      </pc:sldChg>
      <pc:sldChg chg="addSp delSp modSp mod">
        <pc:chgData name="Tami Corson" userId="17b03132-2f21-4edf-a2df-f25c30f43233" providerId="ADAL" clId="{DE91C734-911C-4AEA-859B-D1325E341CA2}" dt="2022-04-05T17:16:34.191" v="12845" actId="2"/>
        <pc:sldMkLst>
          <pc:docMk/>
          <pc:sldMk cId="1209993513" sldId="338"/>
        </pc:sldMkLst>
        <pc:spChg chg="mod">
          <ac:chgData name="Tami Corson" userId="17b03132-2f21-4edf-a2df-f25c30f43233" providerId="ADAL" clId="{DE91C734-911C-4AEA-859B-D1325E341CA2}" dt="2022-03-26T13:21:48.268" v="1036" actId="20577"/>
          <ac:spMkLst>
            <pc:docMk/>
            <pc:sldMk cId="1209993513" sldId="338"/>
            <ac:spMk id="3" creationId="{AC311647-2B4D-4E6C-81D1-9F8580567C0E}"/>
          </ac:spMkLst>
        </pc:spChg>
        <pc:spChg chg="add mod">
          <ac:chgData name="Tami Corson" userId="17b03132-2f21-4edf-a2df-f25c30f43233" providerId="ADAL" clId="{DE91C734-911C-4AEA-859B-D1325E341CA2}" dt="2022-03-30T01:17:00.060" v="6760" actId="20577"/>
          <ac:spMkLst>
            <pc:docMk/>
            <pc:sldMk cId="1209993513" sldId="338"/>
            <ac:spMk id="13" creationId="{7CB40364-C6DD-4E16-B46E-08A1E44306A9}"/>
          </ac:spMkLst>
        </pc:spChg>
        <pc:spChg chg="mod">
          <ac:chgData name="Tami Corson" userId="17b03132-2f21-4edf-a2df-f25c30f43233" providerId="ADAL" clId="{DE91C734-911C-4AEA-859B-D1325E341CA2}" dt="2022-04-05T17:16:34.191" v="12845" actId="2"/>
          <ac:spMkLst>
            <pc:docMk/>
            <pc:sldMk cId="1209993513" sldId="338"/>
            <ac:spMk id="16" creationId="{F29BBF2D-5F15-45EC-BE2A-14ABF1E18DB5}"/>
          </ac:spMkLst>
        </pc:spChg>
        <pc:spChg chg="mod">
          <ac:chgData name="Tami Corson" userId="17b03132-2f21-4edf-a2df-f25c30f43233" providerId="ADAL" clId="{DE91C734-911C-4AEA-859B-D1325E341CA2}" dt="2022-03-30T01:15:21.535" v="6718" actId="6549"/>
          <ac:spMkLst>
            <pc:docMk/>
            <pc:sldMk cId="1209993513" sldId="338"/>
            <ac:spMk id="601" creationId="{00000000-0000-0000-0000-000000000000}"/>
          </ac:spMkLst>
        </pc:spChg>
        <pc:spChg chg="mod">
          <ac:chgData name="Tami Corson" userId="17b03132-2f21-4edf-a2df-f25c30f43233" providerId="ADAL" clId="{DE91C734-911C-4AEA-859B-D1325E341CA2}" dt="2022-03-30T23:03:51.900" v="8444" actId="14100"/>
          <ac:spMkLst>
            <pc:docMk/>
            <pc:sldMk cId="1209993513" sldId="338"/>
            <ac:spMk id="605" creationId="{00000000-0000-0000-0000-000000000000}"/>
          </ac:spMkLst>
        </pc:spChg>
        <pc:spChg chg="mod">
          <ac:chgData name="Tami Corson" userId="17b03132-2f21-4edf-a2df-f25c30f43233" providerId="ADAL" clId="{DE91C734-911C-4AEA-859B-D1325E341CA2}" dt="2022-04-05T14:12:59.776" v="12056" actId="20577"/>
          <ac:spMkLst>
            <pc:docMk/>
            <pc:sldMk cId="1209993513" sldId="338"/>
            <ac:spMk id="609" creationId="{00000000-0000-0000-0000-000000000000}"/>
          </ac:spMkLst>
        </pc:spChg>
        <pc:picChg chg="del">
          <ac:chgData name="Tami Corson" userId="17b03132-2f21-4edf-a2df-f25c30f43233" providerId="ADAL" clId="{DE91C734-911C-4AEA-859B-D1325E341CA2}" dt="2022-03-26T13:21:27.615" v="1014" actId="478"/>
          <ac:picMkLst>
            <pc:docMk/>
            <pc:sldMk cId="1209993513" sldId="338"/>
            <ac:picMk id="7" creationId="{E167ADDA-3304-42B9-9524-97BE6D27840F}"/>
          </ac:picMkLst>
        </pc:picChg>
        <pc:picChg chg="del">
          <ac:chgData name="Tami Corson" userId="17b03132-2f21-4edf-a2df-f25c30f43233" providerId="ADAL" clId="{DE91C734-911C-4AEA-859B-D1325E341CA2}" dt="2022-03-26T13:21:23.567" v="1012" actId="478"/>
          <ac:picMkLst>
            <pc:docMk/>
            <pc:sldMk cId="1209993513" sldId="338"/>
            <ac:picMk id="8" creationId="{A7F49EF5-7FD2-4E24-8DC7-5A70F582CFE8}"/>
          </ac:picMkLst>
        </pc:picChg>
        <pc:picChg chg="del">
          <ac:chgData name="Tami Corson" userId="17b03132-2f21-4edf-a2df-f25c30f43233" providerId="ADAL" clId="{DE91C734-911C-4AEA-859B-D1325E341CA2}" dt="2022-03-26T13:21:25.682" v="1013" actId="478"/>
          <ac:picMkLst>
            <pc:docMk/>
            <pc:sldMk cId="1209993513" sldId="338"/>
            <ac:picMk id="9" creationId="{9237B7FB-437B-4F8D-8925-192D1CF2D458}"/>
          </ac:picMkLst>
        </pc:picChg>
        <pc:picChg chg="del">
          <ac:chgData name="Tami Corson" userId="17b03132-2f21-4edf-a2df-f25c30f43233" providerId="ADAL" clId="{DE91C734-911C-4AEA-859B-D1325E341CA2}" dt="2022-03-26T13:21:21.811" v="1011" actId="478"/>
          <ac:picMkLst>
            <pc:docMk/>
            <pc:sldMk cId="1209993513" sldId="338"/>
            <ac:picMk id="11" creationId="{7884BA36-C9C9-41F8-AF4A-AC1388B7BC31}"/>
          </ac:picMkLst>
        </pc:picChg>
      </pc:sldChg>
      <pc:sldChg chg="addSp delSp modSp mod">
        <pc:chgData name="Tami Corson" userId="17b03132-2f21-4edf-a2df-f25c30f43233" providerId="ADAL" clId="{DE91C734-911C-4AEA-859B-D1325E341CA2}" dt="2022-04-05T15:31:48.976" v="12398" actId="1076"/>
        <pc:sldMkLst>
          <pc:docMk/>
          <pc:sldMk cId="2486721525" sldId="341"/>
        </pc:sldMkLst>
        <pc:spChg chg="mod">
          <ac:chgData name="Tami Corson" userId="17b03132-2f21-4edf-a2df-f25c30f43233" providerId="ADAL" clId="{DE91C734-911C-4AEA-859B-D1325E341CA2}" dt="2022-03-26T13:51:48.405" v="5000" actId="20577"/>
          <ac:spMkLst>
            <pc:docMk/>
            <pc:sldMk cId="2486721525" sldId="341"/>
            <ac:spMk id="94" creationId="{E31314A6-B11D-4476-9803-2FB49A1BD625}"/>
          </ac:spMkLst>
        </pc:spChg>
        <pc:spChg chg="add mod">
          <ac:chgData name="Tami Corson" userId="17b03132-2f21-4edf-a2df-f25c30f43233" providerId="ADAL" clId="{DE91C734-911C-4AEA-859B-D1325E341CA2}" dt="2022-03-26T14:03:02.062" v="5632" actId="1035"/>
          <ac:spMkLst>
            <pc:docMk/>
            <pc:sldMk cId="2486721525" sldId="341"/>
            <ac:spMk id="100" creationId="{523D7184-991A-457B-AD7E-9585D81AD188}"/>
          </ac:spMkLst>
        </pc:spChg>
        <pc:spChg chg="mod">
          <ac:chgData name="Tami Corson" userId="17b03132-2f21-4edf-a2df-f25c30f43233" providerId="ADAL" clId="{DE91C734-911C-4AEA-859B-D1325E341CA2}" dt="2022-04-05T15:30:28.097" v="12390" actId="14100"/>
          <ac:spMkLst>
            <pc:docMk/>
            <pc:sldMk cId="2486721525" sldId="341"/>
            <ac:spMk id="101" creationId="{C490854A-3705-D3C2-CB0B-CA528B8E7892}"/>
          </ac:spMkLst>
        </pc:spChg>
        <pc:spChg chg="mod">
          <ac:chgData name="Tami Corson" userId="17b03132-2f21-4edf-a2df-f25c30f43233" providerId="ADAL" clId="{DE91C734-911C-4AEA-859B-D1325E341CA2}" dt="2022-04-05T15:30:41.198" v="12392" actId="20577"/>
          <ac:spMkLst>
            <pc:docMk/>
            <pc:sldMk cId="2486721525" sldId="341"/>
            <ac:spMk id="102" creationId="{1A6A5D54-4780-E7F1-2C5A-B261190E065C}"/>
          </ac:spMkLst>
        </pc:spChg>
        <pc:spChg chg="mod">
          <ac:chgData name="Tami Corson" userId="17b03132-2f21-4edf-a2df-f25c30f43233" providerId="ADAL" clId="{DE91C734-911C-4AEA-859B-D1325E341CA2}" dt="2022-03-26T13:51:33.873" v="4997" actId="1076"/>
          <ac:spMkLst>
            <pc:docMk/>
            <pc:sldMk cId="2486721525" sldId="341"/>
            <ac:spMk id="343" creationId="{00000000-0000-0000-0000-000000000000}"/>
          </ac:spMkLst>
        </pc:spChg>
        <pc:spChg chg="mod">
          <ac:chgData name="Tami Corson" userId="17b03132-2f21-4edf-a2df-f25c30f43233" providerId="ADAL" clId="{DE91C734-911C-4AEA-859B-D1325E341CA2}" dt="2022-03-26T13:52:29.354" v="5034" actId="20577"/>
          <ac:spMkLst>
            <pc:docMk/>
            <pc:sldMk cId="2486721525" sldId="341"/>
            <ac:spMk id="344" creationId="{00000000-0000-0000-0000-000000000000}"/>
          </ac:spMkLst>
        </pc:spChg>
        <pc:spChg chg="mod">
          <ac:chgData name="Tami Corson" userId="17b03132-2f21-4edf-a2df-f25c30f43233" providerId="ADAL" clId="{DE91C734-911C-4AEA-859B-D1325E341CA2}" dt="2022-04-04T17:07:16.807" v="10842" actId="1076"/>
          <ac:spMkLst>
            <pc:docMk/>
            <pc:sldMk cId="2486721525" sldId="341"/>
            <ac:spMk id="416" creationId="{00000000-0000-0000-0000-000000000000}"/>
          </ac:spMkLst>
        </pc:spChg>
        <pc:spChg chg="mod">
          <ac:chgData name="Tami Corson" userId="17b03132-2f21-4edf-a2df-f25c30f43233" providerId="ADAL" clId="{DE91C734-911C-4AEA-859B-D1325E341CA2}" dt="2022-04-04T17:08:14.339" v="10843" actId="1076"/>
          <ac:spMkLst>
            <pc:docMk/>
            <pc:sldMk cId="2486721525" sldId="341"/>
            <ac:spMk id="417" creationId="{00000000-0000-0000-0000-000000000000}"/>
          </ac:spMkLst>
        </pc:spChg>
        <pc:spChg chg="mod">
          <ac:chgData name="Tami Corson" userId="17b03132-2f21-4edf-a2df-f25c30f43233" providerId="ADAL" clId="{DE91C734-911C-4AEA-859B-D1325E341CA2}" dt="2022-04-04T17:06:56.361" v="10840" actId="1076"/>
          <ac:spMkLst>
            <pc:docMk/>
            <pc:sldMk cId="2486721525" sldId="341"/>
            <ac:spMk id="436" creationId="{00000000-0000-0000-0000-000000000000}"/>
          </ac:spMkLst>
        </pc:spChg>
        <pc:spChg chg="mod">
          <ac:chgData name="Tami Corson" userId="17b03132-2f21-4edf-a2df-f25c30f43233" providerId="ADAL" clId="{DE91C734-911C-4AEA-859B-D1325E341CA2}" dt="2022-04-04T17:07:07.436" v="10841" actId="1076"/>
          <ac:spMkLst>
            <pc:docMk/>
            <pc:sldMk cId="2486721525" sldId="341"/>
            <ac:spMk id="441" creationId="{00000000-0000-0000-0000-000000000000}"/>
          </ac:spMkLst>
        </pc:spChg>
        <pc:spChg chg="mod">
          <ac:chgData name="Tami Corson" userId="17b03132-2f21-4edf-a2df-f25c30f43233" providerId="ADAL" clId="{DE91C734-911C-4AEA-859B-D1325E341CA2}" dt="2022-04-04T17:09:30.641" v="10853" actId="1076"/>
          <ac:spMkLst>
            <pc:docMk/>
            <pc:sldMk cId="2486721525" sldId="341"/>
            <ac:spMk id="446" creationId="{00000000-0000-0000-0000-000000000000}"/>
          </ac:spMkLst>
        </pc:spChg>
        <pc:spChg chg="mod">
          <ac:chgData name="Tami Corson" userId="17b03132-2f21-4edf-a2df-f25c30f43233" providerId="ADAL" clId="{DE91C734-911C-4AEA-859B-D1325E341CA2}" dt="2022-04-04T17:09:41.450" v="10854" actId="1076"/>
          <ac:spMkLst>
            <pc:docMk/>
            <pc:sldMk cId="2486721525" sldId="341"/>
            <ac:spMk id="447" creationId="{00000000-0000-0000-0000-000000000000}"/>
          </ac:spMkLst>
        </pc:spChg>
        <pc:grpChg chg="mod">
          <ac:chgData name="Tami Corson" userId="17b03132-2f21-4edf-a2df-f25c30f43233" providerId="ADAL" clId="{DE91C734-911C-4AEA-859B-D1325E341CA2}" dt="2022-03-26T13:51:41.352" v="4998" actId="1076"/>
          <ac:grpSpMkLst>
            <pc:docMk/>
            <pc:sldMk cId="2486721525" sldId="341"/>
            <ac:grpSpMk id="3" creationId="{04B4B9EF-39BF-81F3-070D-703E1C6BC8C8}"/>
          </ac:grpSpMkLst>
        </pc:grpChg>
        <pc:cxnChg chg="mod">
          <ac:chgData name="Tami Corson" userId="17b03132-2f21-4edf-a2df-f25c30f43233" providerId="ADAL" clId="{DE91C734-911C-4AEA-859B-D1325E341CA2}" dt="2022-03-26T13:51:24.065" v="4996" actId="1076"/>
          <ac:cxnSpMkLst>
            <pc:docMk/>
            <pc:sldMk cId="2486721525" sldId="341"/>
            <ac:cxnSpMk id="119" creationId="{BE5967B3-C8EE-4DCD-9A67-1ED6C8099880}"/>
          </ac:cxnSpMkLst>
        </pc:cxnChg>
        <pc:cxnChg chg="mod">
          <ac:chgData name="Tami Corson" userId="17b03132-2f21-4edf-a2df-f25c30f43233" providerId="ADAL" clId="{DE91C734-911C-4AEA-859B-D1325E341CA2}" dt="2022-04-05T15:31:48.976" v="12398" actId="1076"/>
          <ac:cxnSpMkLst>
            <pc:docMk/>
            <pc:sldMk cId="2486721525" sldId="341"/>
            <ac:cxnSpMk id="120" creationId="{55FA9FF7-4455-4B47-9023-FF6BDA918F8C}"/>
          </ac:cxnSpMkLst>
        </pc:cxnChg>
        <pc:cxnChg chg="mod">
          <ac:chgData name="Tami Corson" userId="17b03132-2f21-4edf-a2df-f25c30f43233" providerId="ADAL" clId="{DE91C734-911C-4AEA-859B-D1325E341CA2}" dt="2022-04-04T17:09:08.983" v="10851" actId="1076"/>
          <ac:cxnSpMkLst>
            <pc:docMk/>
            <pc:sldMk cId="2486721525" sldId="341"/>
            <ac:cxnSpMk id="138" creationId="{72CD5195-4FCE-4FC8-B037-A7E561D0D2AA}"/>
          </ac:cxnSpMkLst>
        </pc:cxnChg>
        <pc:cxnChg chg="del">
          <ac:chgData name="Tami Corson" userId="17b03132-2f21-4edf-a2df-f25c30f43233" providerId="ADAL" clId="{DE91C734-911C-4AEA-859B-D1325E341CA2}" dt="2022-04-05T15:31:16.167" v="12394" actId="478"/>
          <ac:cxnSpMkLst>
            <pc:docMk/>
            <pc:sldMk cId="2486721525" sldId="341"/>
            <ac:cxnSpMk id="423" creationId="{00000000-0000-0000-0000-000000000000}"/>
          </ac:cxnSpMkLst>
        </pc:cxnChg>
      </pc:sldChg>
      <pc:sldChg chg="addSp modSp mod">
        <pc:chgData name="Tami Corson" userId="17b03132-2f21-4edf-a2df-f25c30f43233" providerId="ADAL" clId="{DE91C734-911C-4AEA-859B-D1325E341CA2}" dt="2022-04-05T17:16:45.341" v="12848" actId="2"/>
        <pc:sldMkLst>
          <pc:docMk/>
          <pc:sldMk cId="4114424017" sldId="342"/>
        </pc:sldMkLst>
        <pc:spChg chg="mod">
          <ac:chgData name="Tami Corson" userId="17b03132-2f21-4edf-a2df-f25c30f43233" providerId="ADAL" clId="{DE91C734-911C-4AEA-859B-D1325E341CA2}" dt="2022-03-26T14:00:51.762" v="5608" actId="14100"/>
          <ac:spMkLst>
            <pc:docMk/>
            <pc:sldMk cId="4114424017" sldId="342"/>
            <ac:spMk id="2" creationId="{4D5921D8-9182-46DA-BF73-3160B3589AF0}"/>
          </ac:spMkLst>
        </pc:spChg>
        <pc:spChg chg="mod">
          <ac:chgData name="Tami Corson" userId="17b03132-2f21-4edf-a2df-f25c30f43233" providerId="ADAL" clId="{DE91C734-911C-4AEA-859B-D1325E341CA2}" dt="2022-03-26T13:56:27.260" v="5467" actId="20577"/>
          <ac:spMkLst>
            <pc:docMk/>
            <pc:sldMk cId="4114424017" sldId="342"/>
            <ac:spMk id="6" creationId="{27A3C5F9-CE7F-4416-9B0D-9A54A7CAF05D}"/>
          </ac:spMkLst>
        </pc:spChg>
        <pc:spChg chg="mod">
          <ac:chgData name="Tami Corson" userId="17b03132-2f21-4edf-a2df-f25c30f43233" providerId="ADAL" clId="{DE91C734-911C-4AEA-859B-D1325E341CA2}" dt="2022-03-26T13:56:38.038" v="5477" actId="6549"/>
          <ac:spMkLst>
            <pc:docMk/>
            <pc:sldMk cId="4114424017" sldId="342"/>
            <ac:spMk id="7" creationId="{3A459B18-D705-4DD6-8A98-83D381B62CE4}"/>
          </ac:spMkLst>
        </pc:spChg>
        <pc:spChg chg="add mod">
          <ac:chgData name="Tami Corson" userId="17b03132-2f21-4edf-a2df-f25c30f43233" providerId="ADAL" clId="{DE91C734-911C-4AEA-859B-D1325E341CA2}" dt="2022-03-26T14:00:58.060" v="5609"/>
          <ac:spMkLst>
            <pc:docMk/>
            <pc:sldMk cId="4114424017" sldId="342"/>
            <ac:spMk id="11" creationId="{32873532-4DAB-46C2-9B1C-F38B26BCDC39}"/>
          </ac:spMkLst>
        </pc:spChg>
        <pc:graphicFrameChg chg="mod modGraphic">
          <ac:chgData name="Tami Corson" userId="17b03132-2f21-4edf-a2df-f25c30f43233" providerId="ADAL" clId="{DE91C734-911C-4AEA-859B-D1325E341CA2}" dt="2022-04-05T17:16:45.341" v="12848" actId="2"/>
          <ac:graphicFrameMkLst>
            <pc:docMk/>
            <pc:sldMk cId="4114424017" sldId="342"/>
            <ac:graphicFrameMk id="23" creationId="{F4A84191-3BFB-48AA-A343-19DE4EA3891C}"/>
          </ac:graphicFrameMkLst>
        </pc:graphicFrameChg>
      </pc:sldChg>
      <pc:sldChg chg="addSp delSp modSp mod">
        <pc:chgData name="Tami Corson" userId="17b03132-2f21-4edf-a2df-f25c30f43233" providerId="ADAL" clId="{DE91C734-911C-4AEA-859B-D1325E341CA2}" dt="2022-03-31T18:46:59.054" v="9578" actId="20577"/>
        <pc:sldMkLst>
          <pc:docMk/>
          <pc:sldMk cId="211703589" sldId="343"/>
        </pc:sldMkLst>
        <pc:spChg chg="del">
          <ac:chgData name="Tami Corson" userId="17b03132-2f21-4edf-a2df-f25c30f43233" providerId="ADAL" clId="{DE91C734-911C-4AEA-859B-D1325E341CA2}" dt="2022-03-26T13:44:40.577" v="4672" actId="478"/>
          <ac:spMkLst>
            <pc:docMk/>
            <pc:sldMk cId="211703589" sldId="343"/>
            <ac:spMk id="6" creationId="{D1B67900-A55A-49E3-9F1F-6FA28D277895}"/>
          </ac:spMkLst>
        </pc:spChg>
        <pc:spChg chg="mod">
          <ac:chgData name="Tami Corson" userId="17b03132-2f21-4edf-a2df-f25c30f43233" providerId="ADAL" clId="{DE91C734-911C-4AEA-859B-D1325E341CA2}" dt="2022-03-26T13:45:46.003" v="4687" actId="20577"/>
          <ac:spMkLst>
            <pc:docMk/>
            <pc:sldMk cId="211703589" sldId="343"/>
            <ac:spMk id="7" creationId="{C840A1AA-DEE9-4A69-BC08-B46800497F9A}"/>
          </ac:spMkLst>
        </pc:spChg>
        <pc:spChg chg="add del mod">
          <ac:chgData name="Tami Corson" userId="17b03132-2f21-4edf-a2df-f25c30f43233" providerId="ADAL" clId="{DE91C734-911C-4AEA-859B-D1325E341CA2}" dt="2022-03-26T13:45:27.288" v="4676" actId="478"/>
          <ac:spMkLst>
            <pc:docMk/>
            <pc:sldMk cId="211703589" sldId="343"/>
            <ac:spMk id="8" creationId="{D5BFB122-2333-479B-8DFB-15E95015289E}"/>
          </ac:spMkLst>
        </pc:spChg>
        <pc:spChg chg="add mod">
          <ac:chgData name="Tami Corson" userId="17b03132-2f21-4edf-a2df-f25c30f43233" providerId="ADAL" clId="{DE91C734-911C-4AEA-859B-D1325E341CA2}" dt="2022-03-26T13:45:29.326" v="4677"/>
          <ac:spMkLst>
            <pc:docMk/>
            <pc:sldMk cId="211703589" sldId="343"/>
            <ac:spMk id="15" creationId="{C4C62486-463F-4FC0-B499-CE49552602ED}"/>
          </ac:spMkLst>
        </pc:spChg>
        <pc:spChg chg="add mod">
          <ac:chgData name="Tami Corson" userId="17b03132-2f21-4edf-a2df-f25c30f43233" providerId="ADAL" clId="{DE91C734-911C-4AEA-859B-D1325E341CA2}" dt="2022-03-31T18:46:59.054" v="9578" actId="20577"/>
          <ac:spMkLst>
            <pc:docMk/>
            <pc:sldMk cId="211703589" sldId="343"/>
            <ac:spMk id="16" creationId="{F617743E-3F94-469A-92C2-0B08E1ECAF4E}"/>
          </ac:spMkLst>
        </pc:spChg>
        <pc:spChg chg="mod">
          <ac:chgData name="Tami Corson" userId="17b03132-2f21-4edf-a2df-f25c30f43233" providerId="ADAL" clId="{DE91C734-911C-4AEA-859B-D1325E341CA2}" dt="2022-03-31T18:18:19.438" v="9011" actId="20577"/>
          <ac:spMkLst>
            <pc:docMk/>
            <pc:sldMk cId="211703589" sldId="343"/>
            <ac:spMk id="572" creationId="{00000000-0000-0000-0000-000000000000}"/>
          </ac:spMkLst>
        </pc:spChg>
        <pc:spChg chg="mod">
          <ac:chgData name="Tami Corson" userId="17b03132-2f21-4edf-a2df-f25c30f43233" providerId="ADAL" clId="{DE91C734-911C-4AEA-859B-D1325E341CA2}" dt="2022-03-26T13:45:59.114" v="4705" actId="6549"/>
          <ac:spMkLst>
            <pc:docMk/>
            <pc:sldMk cId="211703589" sldId="343"/>
            <ac:spMk id="575" creationId="{00000000-0000-0000-0000-000000000000}"/>
          </ac:spMkLst>
        </pc:spChg>
        <pc:spChg chg="mod">
          <ac:chgData name="Tami Corson" userId="17b03132-2f21-4edf-a2df-f25c30f43233" providerId="ADAL" clId="{DE91C734-911C-4AEA-859B-D1325E341CA2}" dt="2022-03-31T18:18:38.281" v="9017" actId="20577"/>
          <ac:spMkLst>
            <pc:docMk/>
            <pc:sldMk cId="211703589" sldId="343"/>
            <ac:spMk id="579" creationId="{00000000-0000-0000-0000-000000000000}"/>
          </ac:spMkLst>
        </pc:spChg>
      </pc:sldChg>
      <pc:sldChg chg="delSp modSp del mod">
        <pc:chgData name="Tami Corson" userId="17b03132-2f21-4edf-a2df-f25c30f43233" providerId="ADAL" clId="{DE91C734-911C-4AEA-859B-D1325E341CA2}" dt="2022-03-30T02:07:07.081" v="8293" actId="47"/>
        <pc:sldMkLst>
          <pc:docMk/>
          <pc:sldMk cId="1639760722" sldId="344"/>
        </pc:sldMkLst>
        <pc:spChg chg="mod">
          <ac:chgData name="Tami Corson" userId="17b03132-2f21-4edf-a2df-f25c30f43233" providerId="ADAL" clId="{DE91C734-911C-4AEA-859B-D1325E341CA2}" dt="2022-03-26T13:25:55.423" v="1837" actId="20577"/>
          <ac:spMkLst>
            <pc:docMk/>
            <pc:sldMk cId="1639760722" sldId="344"/>
            <ac:spMk id="3" creationId="{AC311647-2B4D-4E6C-81D1-9F8580567C0E}"/>
          </ac:spMkLst>
        </pc:spChg>
        <pc:spChg chg="del">
          <ac:chgData name="Tami Corson" userId="17b03132-2f21-4edf-a2df-f25c30f43233" providerId="ADAL" clId="{DE91C734-911C-4AEA-859B-D1325E341CA2}" dt="2022-03-26T13:25:32.636" v="1778" actId="478"/>
          <ac:spMkLst>
            <pc:docMk/>
            <pc:sldMk cId="1639760722" sldId="344"/>
            <ac:spMk id="15" creationId="{E539B02A-95E4-440D-9E22-F138643D2C89}"/>
          </ac:spMkLst>
        </pc:spChg>
        <pc:spChg chg="del">
          <ac:chgData name="Tami Corson" userId="17b03132-2f21-4edf-a2df-f25c30f43233" providerId="ADAL" clId="{DE91C734-911C-4AEA-859B-D1325E341CA2}" dt="2022-03-26T13:25:29.584" v="1777" actId="478"/>
          <ac:spMkLst>
            <pc:docMk/>
            <pc:sldMk cId="1639760722" sldId="344"/>
            <ac:spMk id="16" creationId="{F29BBF2D-5F15-45EC-BE2A-14ABF1E18DB5}"/>
          </ac:spMkLst>
        </pc:spChg>
        <pc:spChg chg="mod">
          <ac:chgData name="Tami Corson" userId="17b03132-2f21-4edf-a2df-f25c30f43233" providerId="ADAL" clId="{DE91C734-911C-4AEA-859B-D1325E341CA2}" dt="2022-03-26T13:24:44.838" v="1625" actId="20577"/>
          <ac:spMkLst>
            <pc:docMk/>
            <pc:sldMk cId="1639760722" sldId="344"/>
            <ac:spMk id="601" creationId="{00000000-0000-0000-0000-000000000000}"/>
          </ac:spMkLst>
        </pc:spChg>
        <pc:spChg chg="mod">
          <ac:chgData name="Tami Corson" userId="17b03132-2f21-4edf-a2df-f25c30f43233" providerId="ADAL" clId="{DE91C734-911C-4AEA-859B-D1325E341CA2}" dt="2022-03-26T13:25:25.545" v="1776" actId="6549"/>
          <ac:spMkLst>
            <pc:docMk/>
            <pc:sldMk cId="1639760722" sldId="344"/>
            <ac:spMk id="605" creationId="{00000000-0000-0000-0000-000000000000}"/>
          </ac:spMkLst>
        </pc:spChg>
        <pc:spChg chg="mod">
          <ac:chgData name="Tami Corson" userId="17b03132-2f21-4edf-a2df-f25c30f43233" providerId="ADAL" clId="{DE91C734-911C-4AEA-859B-D1325E341CA2}" dt="2022-03-26T13:25:43.658" v="1825" actId="20577"/>
          <ac:spMkLst>
            <pc:docMk/>
            <pc:sldMk cId="1639760722" sldId="344"/>
            <ac:spMk id="609" creationId="{00000000-0000-0000-0000-000000000000}"/>
          </ac:spMkLst>
        </pc:spChg>
      </pc:sldChg>
      <pc:sldChg chg="delSp modSp del mod">
        <pc:chgData name="Tami Corson" userId="17b03132-2f21-4edf-a2df-f25c30f43233" providerId="ADAL" clId="{DE91C734-911C-4AEA-859B-D1325E341CA2}" dt="2022-03-30T02:07:10.167" v="8294" actId="47"/>
        <pc:sldMkLst>
          <pc:docMk/>
          <pc:sldMk cId="2963563579" sldId="348"/>
        </pc:sldMkLst>
        <pc:spChg chg="mod">
          <ac:chgData name="Tami Corson" userId="17b03132-2f21-4edf-a2df-f25c30f43233" providerId="ADAL" clId="{DE91C734-911C-4AEA-859B-D1325E341CA2}" dt="2022-03-26T13:28:28.987" v="2607" actId="20577"/>
          <ac:spMkLst>
            <pc:docMk/>
            <pc:sldMk cId="2963563579" sldId="348"/>
            <ac:spMk id="3" creationId="{AC311647-2B4D-4E6C-81D1-9F8580567C0E}"/>
          </ac:spMkLst>
        </pc:spChg>
        <pc:spChg chg="del mod">
          <ac:chgData name="Tami Corson" userId="17b03132-2f21-4edf-a2df-f25c30f43233" providerId="ADAL" clId="{DE91C734-911C-4AEA-859B-D1325E341CA2}" dt="2022-03-26T13:28:52.583" v="2625" actId="478"/>
          <ac:spMkLst>
            <pc:docMk/>
            <pc:sldMk cId="2963563579" sldId="348"/>
            <ac:spMk id="4" creationId="{7E99DE7C-9F18-B33F-8154-9FB35F971E34}"/>
          </ac:spMkLst>
        </pc:spChg>
        <pc:spChg chg="mod">
          <ac:chgData name="Tami Corson" userId="17b03132-2f21-4edf-a2df-f25c30f43233" providerId="ADAL" clId="{DE91C734-911C-4AEA-859B-D1325E341CA2}" dt="2022-03-26T13:28:17.181" v="2597" actId="20577"/>
          <ac:spMkLst>
            <pc:docMk/>
            <pc:sldMk cId="2963563579" sldId="348"/>
            <ac:spMk id="8" creationId="{63314686-1D13-4553-B700-6ED15E618005}"/>
          </ac:spMkLst>
        </pc:spChg>
        <pc:spChg chg="mod">
          <ac:chgData name="Tami Corson" userId="17b03132-2f21-4edf-a2df-f25c30f43233" providerId="ADAL" clId="{DE91C734-911C-4AEA-859B-D1325E341CA2}" dt="2022-03-26T13:26:59.414" v="2104" actId="20577"/>
          <ac:spMkLst>
            <pc:docMk/>
            <pc:sldMk cId="2963563579" sldId="348"/>
            <ac:spMk id="14" creationId="{314EDFE2-8825-44A8-A59E-C5A6A5FD2E50}"/>
          </ac:spMkLst>
        </pc:spChg>
        <pc:spChg chg="del">
          <ac:chgData name="Tami Corson" userId="17b03132-2f21-4edf-a2df-f25c30f43233" providerId="ADAL" clId="{DE91C734-911C-4AEA-859B-D1325E341CA2}" dt="2022-03-26T13:28:58.724" v="2626" actId="478"/>
          <ac:spMkLst>
            <pc:docMk/>
            <pc:sldMk cId="2963563579" sldId="348"/>
            <ac:spMk id="16" creationId="{F6466A26-FAF8-4506-3FF0-3EF6BF3C065A}"/>
          </ac:spMkLst>
        </pc:spChg>
        <pc:spChg chg="mod">
          <ac:chgData name="Tami Corson" userId="17b03132-2f21-4edf-a2df-f25c30f43233" providerId="ADAL" clId="{DE91C734-911C-4AEA-859B-D1325E341CA2}" dt="2022-03-26T13:26:43.463" v="2041" actId="20577"/>
          <ac:spMkLst>
            <pc:docMk/>
            <pc:sldMk cId="2963563579" sldId="348"/>
            <ac:spMk id="601" creationId="{00000000-0000-0000-0000-000000000000}"/>
          </ac:spMkLst>
        </pc:spChg>
        <pc:spChg chg="mod">
          <ac:chgData name="Tami Corson" userId="17b03132-2f21-4edf-a2df-f25c30f43233" providerId="ADAL" clId="{DE91C734-911C-4AEA-859B-D1325E341CA2}" dt="2022-03-26T13:28:39.311" v="2621" actId="20577"/>
          <ac:spMkLst>
            <pc:docMk/>
            <pc:sldMk cId="2963563579" sldId="348"/>
            <ac:spMk id="609" creationId="{00000000-0000-0000-0000-000000000000}"/>
          </ac:spMkLst>
        </pc:spChg>
        <pc:picChg chg="del">
          <ac:chgData name="Tami Corson" userId="17b03132-2f21-4edf-a2df-f25c30f43233" providerId="ADAL" clId="{DE91C734-911C-4AEA-859B-D1325E341CA2}" dt="2022-03-26T13:28:43.228" v="2623" actId="478"/>
          <ac:picMkLst>
            <pc:docMk/>
            <pc:sldMk cId="2963563579" sldId="348"/>
            <ac:picMk id="5" creationId="{0EC0F891-55BF-4D55-8E8B-B53DA8C4E767}"/>
          </ac:picMkLst>
        </pc:picChg>
        <pc:picChg chg="del">
          <ac:chgData name="Tami Corson" userId="17b03132-2f21-4edf-a2df-f25c30f43233" providerId="ADAL" clId="{DE91C734-911C-4AEA-859B-D1325E341CA2}" dt="2022-03-26T13:28:41.272" v="2622" actId="478"/>
          <ac:picMkLst>
            <pc:docMk/>
            <pc:sldMk cId="2963563579" sldId="348"/>
            <ac:picMk id="6" creationId="{EDE8B35B-47B6-4765-BFAE-21B063BC34CB}"/>
          </ac:picMkLst>
        </pc:picChg>
      </pc:sldChg>
      <pc:sldChg chg="addSp modSp mod">
        <pc:chgData name="Tami Corson" userId="17b03132-2f21-4edf-a2df-f25c30f43233" providerId="ADAL" clId="{DE91C734-911C-4AEA-859B-D1325E341CA2}" dt="2022-03-26T14:00:30.037" v="5605" actId="1035"/>
        <pc:sldMkLst>
          <pc:docMk/>
          <pc:sldMk cId="754587697" sldId="352"/>
        </pc:sldMkLst>
        <pc:spChg chg="mod">
          <ac:chgData name="Tami Corson" userId="17b03132-2f21-4edf-a2df-f25c30f43233" providerId="ADAL" clId="{DE91C734-911C-4AEA-859B-D1325E341CA2}" dt="2022-03-26T13:57:03.999" v="5491" actId="20577"/>
          <ac:spMkLst>
            <pc:docMk/>
            <pc:sldMk cId="754587697" sldId="352"/>
            <ac:spMk id="6" creationId="{7A9BD76F-FB1E-49C3-878D-3DEF96872E9C}"/>
          </ac:spMkLst>
        </pc:spChg>
        <pc:spChg chg="mod">
          <ac:chgData name="Tami Corson" userId="17b03132-2f21-4edf-a2df-f25c30f43233" providerId="ADAL" clId="{DE91C734-911C-4AEA-859B-D1325E341CA2}" dt="2022-03-26T13:56:58.826" v="5489" actId="6549"/>
          <ac:spMkLst>
            <pc:docMk/>
            <pc:sldMk cId="754587697" sldId="352"/>
            <ac:spMk id="7" creationId="{EA31C852-83D3-4FF2-B517-4CB677394908}"/>
          </ac:spMkLst>
        </pc:spChg>
        <pc:spChg chg="add mod">
          <ac:chgData name="Tami Corson" userId="17b03132-2f21-4edf-a2df-f25c30f43233" providerId="ADAL" clId="{DE91C734-911C-4AEA-859B-D1325E341CA2}" dt="2022-03-26T14:00:30.037" v="5605" actId="1035"/>
          <ac:spMkLst>
            <pc:docMk/>
            <pc:sldMk cId="754587697" sldId="352"/>
            <ac:spMk id="8" creationId="{8F69E7F7-DBB9-40B0-9935-C325CC79771F}"/>
          </ac:spMkLst>
        </pc:spChg>
      </pc:sldChg>
      <pc:sldChg chg="addSp modSp mod ord">
        <pc:chgData name="Tami Corson" userId="17b03132-2f21-4edf-a2df-f25c30f43233" providerId="ADAL" clId="{DE91C734-911C-4AEA-859B-D1325E341CA2}" dt="2022-03-30T02:07:36.954" v="8297"/>
        <pc:sldMkLst>
          <pc:docMk/>
          <pc:sldMk cId="2527603155" sldId="353"/>
        </pc:sldMkLst>
        <pc:spChg chg="mod">
          <ac:chgData name="Tami Corson" userId="17b03132-2f21-4edf-a2df-f25c30f43233" providerId="ADAL" clId="{DE91C734-911C-4AEA-859B-D1325E341CA2}" dt="2022-03-26T13:34:25.928" v="3489" actId="20577"/>
          <ac:spMkLst>
            <pc:docMk/>
            <pc:sldMk cId="2527603155" sldId="353"/>
            <ac:spMk id="2" creationId="{608E690F-8CF2-4ABB-BEF4-B86D373DAFAD}"/>
          </ac:spMkLst>
        </pc:spChg>
        <pc:spChg chg="mod">
          <ac:chgData name="Tami Corson" userId="17b03132-2f21-4edf-a2df-f25c30f43233" providerId="ADAL" clId="{DE91C734-911C-4AEA-859B-D1325E341CA2}" dt="2022-03-26T13:34:43.658" v="3540" actId="20577"/>
          <ac:spMkLst>
            <pc:docMk/>
            <pc:sldMk cId="2527603155" sldId="353"/>
            <ac:spMk id="5" creationId="{55559F1F-251F-4635-8A0D-08A7ADA07273}"/>
          </ac:spMkLst>
        </pc:spChg>
        <pc:spChg chg="mod">
          <ac:chgData name="Tami Corson" userId="17b03132-2f21-4edf-a2df-f25c30f43233" providerId="ADAL" clId="{DE91C734-911C-4AEA-859B-D1325E341CA2}" dt="2022-03-26T13:43:32.324" v="4512" actId="20577"/>
          <ac:spMkLst>
            <pc:docMk/>
            <pc:sldMk cId="2527603155" sldId="353"/>
            <ac:spMk id="6" creationId="{381230BA-653D-44CE-9AC8-F83E1E142ED2}"/>
          </ac:spMkLst>
        </pc:spChg>
        <pc:spChg chg="mod">
          <ac:chgData name="Tami Corson" userId="17b03132-2f21-4edf-a2df-f25c30f43233" providerId="ADAL" clId="{DE91C734-911C-4AEA-859B-D1325E341CA2}" dt="2022-03-26T13:43:14.903" v="4472" actId="6549"/>
          <ac:spMkLst>
            <pc:docMk/>
            <pc:sldMk cId="2527603155" sldId="353"/>
            <ac:spMk id="7" creationId="{5CC2109E-2E2D-46CC-B856-A39FE7E1BE02}"/>
          </ac:spMkLst>
        </pc:spChg>
        <pc:spChg chg="mod">
          <ac:chgData name="Tami Corson" userId="17b03132-2f21-4edf-a2df-f25c30f43233" providerId="ADAL" clId="{DE91C734-911C-4AEA-859B-D1325E341CA2}" dt="2022-03-26T13:43:24.252" v="4489" actId="20577"/>
          <ac:spMkLst>
            <pc:docMk/>
            <pc:sldMk cId="2527603155" sldId="353"/>
            <ac:spMk id="8" creationId="{B1EC9CE1-2695-4B56-ABB2-82D9F7DD622C}"/>
          </ac:spMkLst>
        </pc:spChg>
        <pc:spChg chg="mod">
          <ac:chgData name="Tami Corson" userId="17b03132-2f21-4edf-a2df-f25c30f43233" providerId="ADAL" clId="{DE91C734-911C-4AEA-859B-D1325E341CA2}" dt="2022-03-26T13:41:51.731" v="3835" actId="20577"/>
          <ac:spMkLst>
            <pc:docMk/>
            <pc:sldMk cId="2527603155" sldId="353"/>
            <ac:spMk id="9" creationId="{45C04764-F269-4F64-9737-7683A5D0C3C8}"/>
          </ac:spMkLst>
        </pc:spChg>
        <pc:spChg chg="mod">
          <ac:chgData name="Tami Corson" userId="17b03132-2f21-4edf-a2df-f25c30f43233" providerId="ADAL" clId="{DE91C734-911C-4AEA-859B-D1325E341CA2}" dt="2022-03-26T13:43:07.592" v="4448" actId="6549"/>
          <ac:spMkLst>
            <pc:docMk/>
            <pc:sldMk cId="2527603155" sldId="353"/>
            <ac:spMk id="15" creationId="{1F301F17-C695-479F-8C1E-0A4D7A9FF58B}"/>
          </ac:spMkLst>
        </pc:spChg>
        <pc:spChg chg="mod">
          <ac:chgData name="Tami Corson" userId="17b03132-2f21-4edf-a2df-f25c30f43233" providerId="ADAL" clId="{DE91C734-911C-4AEA-859B-D1325E341CA2}" dt="2022-03-26T13:42:34.706" v="4132" actId="6549"/>
          <ac:spMkLst>
            <pc:docMk/>
            <pc:sldMk cId="2527603155" sldId="353"/>
            <ac:spMk id="17" creationId="{1D0F6373-7FF4-F64B-A9FB-FA5D91D110D1}"/>
          </ac:spMkLst>
        </pc:spChg>
        <pc:spChg chg="add mod">
          <ac:chgData name="Tami Corson" userId="17b03132-2f21-4edf-a2df-f25c30f43233" providerId="ADAL" clId="{DE91C734-911C-4AEA-859B-D1325E341CA2}" dt="2022-03-26T13:34:56.678" v="3541"/>
          <ac:spMkLst>
            <pc:docMk/>
            <pc:sldMk cId="2527603155" sldId="353"/>
            <ac:spMk id="18" creationId="{59DC203A-4330-4BED-90A1-291AF3AE5B09}"/>
          </ac:spMkLst>
        </pc:spChg>
        <pc:spChg chg="mod">
          <ac:chgData name="Tami Corson" userId="17b03132-2f21-4edf-a2df-f25c30f43233" providerId="ADAL" clId="{DE91C734-911C-4AEA-859B-D1325E341CA2}" dt="2022-03-26T13:34:10.602" v="3433" actId="20577"/>
          <ac:spMkLst>
            <pc:docMk/>
            <pc:sldMk cId="2527603155" sldId="353"/>
            <ac:spMk id="22" creationId="{5B0F76B3-C679-463B-BB8B-C3595E84DD74}"/>
          </ac:spMkLst>
        </pc:spChg>
      </pc:sldChg>
      <pc:sldChg chg="delSp modSp del mod">
        <pc:chgData name="Tami Corson" userId="17b03132-2f21-4edf-a2df-f25c30f43233" providerId="ADAL" clId="{DE91C734-911C-4AEA-859B-D1325E341CA2}" dt="2022-03-26T13:20:12.749" v="701" actId="47"/>
        <pc:sldMkLst>
          <pc:docMk/>
          <pc:sldMk cId="2060296423" sldId="355"/>
        </pc:sldMkLst>
        <pc:spChg chg="mod">
          <ac:chgData name="Tami Corson" userId="17b03132-2f21-4edf-a2df-f25c30f43233" providerId="ADAL" clId="{DE91C734-911C-4AEA-859B-D1325E341CA2}" dt="2022-03-26T13:20:02.349" v="699" actId="20577"/>
          <ac:spMkLst>
            <pc:docMk/>
            <pc:sldMk cId="2060296423" sldId="355"/>
            <ac:spMk id="2" creationId="{04EDEE64-E746-78F4-1324-7AF433DDB119}"/>
          </ac:spMkLst>
        </pc:spChg>
        <pc:picChg chg="del">
          <ac:chgData name="Tami Corson" userId="17b03132-2f21-4edf-a2df-f25c30f43233" providerId="ADAL" clId="{DE91C734-911C-4AEA-859B-D1325E341CA2}" dt="2022-03-26T13:20:08.065" v="700" actId="478"/>
          <ac:picMkLst>
            <pc:docMk/>
            <pc:sldMk cId="2060296423" sldId="355"/>
            <ac:picMk id="6" creationId="{E218F9C1-6B29-4CDC-805D-1F58BA675490}"/>
          </ac:picMkLst>
        </pc:picChg>
      </pc:sldChg>
      <pc:sldChg chg="delSp modSp del mod">
        <pc:chgData name="Tami Corson" userId="17b03132-2f21-4edf-a2df-f25c30f43233" providerId="ADAL" clId="{DE91C734-911C-4AEA-859B-D1325E341CA2}" dt="2022-03-26T13:26:23.034" v="1942" actId="47"/>
        <pc:sldMkLst>
          <pc:docMk/>
          <pc:sldMk cId="4017139295" sldId="356"/>
        </pc:sldMkLst>
        <pc:spChg chg="del">
          <ac:chgData name="Tami Corson" userId="17b03132-2f21-4edf-a2df-f25c30f43233" providerId="ADAL" clId="{DE91C734-911C-4AEA-859B-D1325E341CA2}" dt="2022-03-26T13:26:18.627" v="1941" actId="478"/>
          <ac:spMkLst>
            <pc:docMk/>
            <pc:sldMk cId="4017139295" sldId="356"/>
            <ac:spMk id="16" creationId="{F29BBF2D-5F15-45EC-BE2A-14ABF1E18DB5}"/>
          </ac:spMkLst>
        </pc:spChg>
        <pc:spChg chg="mod">
          <ac:chgData name="Tami Corson" userId="17b03132-2f21-4edf-a2df-f25c30f43233" providerId="ADAL" clId="{DE91C734-911C-4AEA-859B-D1325E341CA2}" dt="2022-03-26T13:26:14.339" v="1940" actId="20577"/>
          <ac:spMkLst>
            <pc:docMk/>
            <pc:sldMk cId="4017139295" sldId="356"/>
            <ac:spMk id="601" creationId="{00000000-0000-0000-0000-000000000000}"/>
          </ac:spMkLst>
        </pc:spChg>
      </pc:sldChg>
      <pc:sldChg chg="del">
        <pc:chgData name="Tami Corson" userId="17b03132-2f21-4edf-a2df-f25c30f43233" providerId="ADAL" clId="{DE91C734-911C-4AEA-859B-D1325E341CA2}" dt="2022-03-26T13:26:30.394" v="1943" actId="47"/>
        <pc:sldMkLst>
          <pc:docMk/>
          <pc:sldMk cId="73800528" sldId="357"/>
        </pc:sldMkLst>
      </pc:sldChg>
      <pc:sldChg chg="del">
        <pc:chgData name="Tami Corson" userId="17b03132-2f21-4edf-a2df-f25c30f43233" providerId="ADAL" clId="{DE91C734-911C-4AEA-859B-D1325E341CA2}" dt="2022-03-26T13:29:06.253" v="2627" actId="47"/>
        <pc:sldMkLst>
          <pc:docMk/>
          <pc:sldMk cId="2689461321" sldId="358"/>
        </pc:sldMkLst>
      </pc:sldChg>
      <pc:sldChg chg="del">
        <pc:chgData name="Tami Corson" userId="17b03132-2f21-4edf-a2df-f25c30f43233" providerId="ADAL" clId="{DE91C734-911C-4AEA-859B-D1325E341CA2}" dt="2022-03-26T13:29:07.934" v="2628" actId="47"/>
        <pc:sldMkLst>
          <pc:docMk/>
          <pc:sldMk cId="3608811986" sldId="360"/>
        </pc:sldMkLst>
      </pc:sldChg>
      <pc:sldChg chg="addSp delSp modSp add mod">
        <pc:chgData name="Tami Corson" userId="17b03132-2f21-4edf-a2df-f25c30f43233" providerId="ADAL" clId="{DE91C734-911C-4AEA-859B-D1325E341CA2}" dt="2022-03-26T13:11:56.625" v="119"/>
        <pc:sldMkLst>
          <pc:docMk/>
          <pc:sldMk cId="4065509054" sldId="361"/>
        </pc:sldMkLst>
        <pc:spChg chg="add del mod">
          <ac:chgData name="Tami Corson" userId="17b03132-2f21-4edf-a2df-f25c30f43233" providerId="ADAL" clId="{DE91C734-911C-4AEA-859B-D1325E341CA2}" dt="2022-03-26T13:10:27.907" v="95" actId="478"/>
          <ac:spMkLst>
            <pc:docMk/>
            <pc:sldMk cId="4065509054" sldId="361"/>
            <ac:spMk id="5" creationId="{BA701231-C42C-4738-BF59-3542648A1F47}"/>
          </ac:spMkLst>
        </pc:spChg>
        <pc:spChg chg="del mod">
          <ac:chgData name="Tami Corson" userId="17b03132-2f21-4edf-a2df-f25c30f43233" providerId="ADAL" clId="{DE91C734-911C-4AEA-859B-D1325E341CA2}" dt="2022-03-26T13:11:56.625" v="119"/>
          <ac:spMkLst>
            <pc:docMk/>
            <pc:sldMk cId="4065509054" sldId="361"/>
            <ac:spMk id="94" creationId="{E31314A6-B11D-4476-9803-2FB49A1BD625}"/>
          </ac:spMkLst>
        </pc:spChg>
        <pc:spChg chg="add mod">
          <ac:chgData name="Tami Corson" userId="17b03132-2f21-4edf-a2df-f25c30f43233" providerId="ADAL" clId="{DE91C734-911C-4AEA-859B-D1325E341CA2}" dt="2022-03-26T13:09:59.070" v="89"/>
          <ac:spMkLst>
            <pc:docMk/>
            <pc:sldMk cId="4065509054" sldId="361"/>
            <ac:spMk id="100" creationId="{E73B00D2-2AF6-4AE8-9C18-97BF7A438E41}"/>
          </ac:spMkLst>
        </pc:spChg>
        <pc:spChg chg="add mod">
          <ac:chgData name="Tami Corson" userId="17b03132-2f21-4edf-a2df-f25c30f43233" providerId="ADAL" clId="{DE91C734-911C-4AEA-859B-D1325E341CA2}" dt="2022-03-26T13:11:32.998" v="98"/>
          <ac:spMkLst>
            <pc:docMk/>
            <pc:sldMk cId="4065509054" sldId="361"/>
            <ac:spMk id="102" creationId="{AC7972F2-4583-4C30-91B4-8AD95B2DDD20}"/>
          </ac:spMkLst>
        </pc:spChg>
        <pc:spChg chg="add del">
          <ac:chgData name="Tami Corson" userId="17b03132-2f21-4edf-a2df-f25c30f43233" providerId="ADAL" clId="{DE91C734-911C-4AEA-859B-D1325E341CA2}" dt="2022-03-26T13:10:26.407" v="94" actId="478"/>
          <ac:spMkLst>
            <pc:docMk/>
            <pc:sldMk cId="4065509054" sldId="361"/>
            <ac:spMk id="344" creationId="{00000000-0000-0000-0000-000000000000}"/>
          </ac:spMkLst>
        </pc:spChg>
        <pc:spChg chg="mod">
          <ac:chgData name="Tami Corson" userId="17b03132-2f21-4edf-a2df-f25c30f43233" providerId="ADAL" clId="{DE91C734-911C-4AEA-859B-D1325E341CA2}" dt="2022-03-26T13:09:34.335" v="88" actId="14100"/>
          <ac:spMkLst>
            <pc:docMk/>
            <pc:sldMk cId="4065509054" sldId="361"/>
            <ac:spMk id="401" creationId="{00000000-0000-0000-0000-000000000000}"/>
          </ac:spMkLst>
        </pc:spChg>
        <pc:spChg chg="del">
          <ac:chgData name="Tami Corson" userId="17b03132-2f21-4edf-a2df-f25c30f43233" providerId="ADAL" clId="{DE91C734-911C-4AEA-859B-D1325E341CA2}" dt="2022-03-26T13:11:31.638" v="97" actId="478"/>
          <ac:spMkLst>
            <pc:docMk/>
            <pc:sldMk cId="4065509054" sldId="361"/>
            <ac:spMk id="453" creationId="{00000000-0000-0000-0000-000000000000}"/>
          </ac:spMkLst>
        </pc:spChg>
        <pc:grpChg chg="mod">
          <ac:chgData name="Tami Corson" userId="17b03132-2f21-4edf-a2df-f25c30f43233" providerId="ADAL" clId="{DE91C734-911C-4AEA-859B-D1325E341CA2}" dt="2022-03-26T13:10:59.328" v="96" actId="1076"/>
          <ac:grpSpMkLst>
            <pc:docMk/>
            <pc:sldMk cId="4065509054" sldId="361"/>
            <ac:grpSpMk id="3" creationId="{04B4B9EF-39BF-81F3-070D-703E1C6BC8C8}"/>
          </ac:grpSpMkLst>
        </pc:grpChg>
        <pc:cxnChg chg="mod">
          <ac:chgData name="Tami Corson" userId="17b03132-2f21-4edf-a2df-f25c30f43233" providerId="ADAL" clId="{DE91C734-911C-4AEA-859B-D1325E341CA2}" dt="2022-03-26T13:08:55.531" v="84" actId="1076"/>
          <ac:cxnSpMkLst>
            <pc:docMk/>
            <pc:sldMk cId="4065509054" sldId="361"/>
            <ac:cxnSpMk id="119" creationId="{BE5967B3-C8EE-4DCD-9A67-1ED6C8099880}"/>
          </ac:cxnSpMkLst>
        </pc:cxnChg>
      </pc:sldChg>
      <pc:sldChg chg="addSp delSp modSp add mod">
        <pc:chgData name="Tami Corson" userId="17b03132-2f21-4edf-a2df-f25c30f43233" providerId="ADAL" clId="{DE91C734-911C-4AEA-859B-D1325E341CA2}" dt="2022-03-26T13:13:17.834" v="130" actId="207"/>
        <pc:sldMkLst>
          <pc:docMk/>
          <pc:sldMk cId="2901620941" sldId="362"/>
        </pc:sldMkLst>
        <pc:spChg chg="add del mod">
          <ac:chgData name="Tami Corson" userId="17b03132-2f21-4edf-a2df-f25c30f43233" providerId="ADAL" clId="{DE91C734-911C-4AEA-859B-D1325E341CA2}" dt="2022-03-26T13:12:58.897" v="126" actId="478"/>
          <ac:spMkLst>
            <pc:docMk/>
            <pc:sldMk cId="2901620941" sldId="362"/>
            <ac:spMk id="3" creationId="{686DFACA-47C0-4142-BC74-1877F0C4C346}"/>
          </ac:spMkLst>
        </pc:spChg>
        <pc:spChg chg="add mod">
          <ac:chgData name="Tami Corson" userId="17b03132-2f21-4edf-a2df-f25c30f43233" providerId="ADAL" clId="{DE91C734-911C-4AEA-859B-D1325E341CA2}" dt="2022-03-26T13:13:02.934" v="128" actId="27636"/>
          <ac:spMkLst>
            <pc:docMk/>
            <pc:sldMk cId="2901620941" sldId="362"/>
            <ac:spMk id="5" creationId="{EF00F350-911D-4CEC-99F6-BFF3C2177F74}"/>
          </ac:spMkLst>
        </pc:spChg>
        <pc:spChg chg="add mod">
          <ac:chgData name="Tami Corson" userId="17b03132-2f21-4edf-a2df-f25c30f43233" providerId="ADAL" clId="{DE91C734-911C-4AEA-859B-D1325E341CA2}" dt="2022-03-26T13:13:17.834" v="130" actId="207"/>
          <ac:spMkLst>
            <pc:docMk/>
            <pc:sldMk cId="2901620941" sldId="362"/>
            <ac:spMk id="6" creationId="{EF0A4C45-A808-48D3-9F38-89F49AF512FF}"/>
          </ac:spMkLst>
        </pc:spChg>
        <pc:spChg chg="del">
          <ac:chgData name="Tami Corson" userId="17b03132-2f21-4edf-a2df-f25c30f43233" providerId="ADAL" clId="{DE91C734-911C-4AEA-859B-D1325E341CA2}" dt="2022-03-26T13:12:54.760" v="125" actId="478"/>
          <ac:spMkLst>
            <pc:docMk/>
            <pc:sldMk cId="2901620941" sldId="362"/>
            <ac:spMk id="851" creationId="{00000000-0000-0000-0000-000000000000}"/>
          </ac:spMkLst>
        </pc:spChg>
        <pc:spChg chg="del">
          <ac:chgData name="Tami Corson" userId="17b03132-2f21-4edf-a2df-f25c30f43233" providerId="ADAL" clId="{DE91C734-911C-4AEA-859B-D1325E341CA2}" dt="2022-03-26T13:13:02.922" v="127" actId="478"/>
          <ac:spMkLst>
            <pc:docMk/>
            <pc:sldMk cId="2901620941" sldId="362"/>
            <ac:spMk id="852" creationId="{00000000-0000-0000-0000-000000000000}"/>
          </ac:spMkLst>
        </pc:spChg>
      </pc:sldChg>
      <pc:sldChg chg="addSp delSp modSp mod">
        <pc:chgData name="Tami Corson" userId="17b03132-2f21-4edf-a2df-f25c30f43233" providerId="ADAL" clId="{DE91C734-911C-4AEA-859B-D1325E341CA2}" dt="2022-04-05T14:36:53.833" v="12370"/>
        <pc:sldMkLst>
          <pc:docMk/>
          <pc:sldMk cId="2576879601" sldId="365"/>
        </pc:sldMkLst>
        <pc:spChg chg="mod">
          <ac:chgData name="Tami Corson" userId="17b03132-2f21-4edf-a2df-f25c30f43233" providerId="ADAL" clId="{DE91C734-911C-4AEA-859B-D1325E341CA2}" dt="2022-04-05T14:09:43.695" v="12037" actId="1076"/>
          <ac:spMkLst>
            <pc:docMk/>
            <pc:sldMk cId="2576879601" sldId="365"/>
            <ac:spMk id="2" creationId="{AB52A157-2CB8-6DCB-8D3B-00713BF25DCA}"/>
          </ac:spMkLst>
        </pc:spChg>
        <pc:spChg chg="mod">
          <ac:chgData name="Tami Corson" userId="17b03132-2f21-4edf-a2df-f25c30f43233" providerId="ADAL" clId="{DE91C734-911C-4AEA-859B-D1325E341CA2}" dt="2022-04-05T14:09:34.869" v="12036"/>
          <ac:spMkLst>
            <pc:docMk/>
            <pc:sldMk cId="2576879601" sldId="365"/>
            <ac:spMk id="7" creationId="{417FAD84-EE07-46E5-9A94-99C8B80CFF74}"/>
          </ac:spMkLst>
        </pc:spChg>
        <pc:spChg chg="mod">
          <ac:chgData name="Tami Corson" userId="17b03132-2f21-4edf-a2df-f25c30f43233" providerId="ADAL" clId="{DE91C734-911C-4AEA-859B-D1325E341CA2}" dt="2022-04-05T14:09:34.869" v="12036"/>
          <ac:spMkLst>
            <pc:docMk/>
            <pc:sldMk cId="2576879601" sldId="365"/>
            <ac:spMk id="8" creationId="{070525DB-C227-4B2B-9F9B-79902086D8C2}"/>
          </ac:spMkLst>
        </pc:spChg>
        <pc:spChg chg="add del mod">
          <ac:chgData name="Tami Corson" userId="17b03132-2f21-4edf-a2df-f25c30f43233" providerId="ADAL" clId="{DE91C734-911C-4AEA-859B-D1325E341CA2}" dt="2022-04-05T14:36:52.743" v="12369" actId="478"/>
          <ac:spMkLst>
            <pc:docMk/>
            <pc:sldMk cId="2576879601" sldId="365"/>
            <ac:spMk id="11" creationId="{F33CCCFC-59CB-41F8-8273-8EAF0D5D79E8}"/>
          </ac:spMkLst>
        </pc:spChg>
        <pc:spChg chg="add mod">
          <ac:chgData name="Tami Corson" userId="17b03132-2f21-4edf-a2df-f25c30f43233" providerId="ADAL" clId="{DE91C734-911C-4AEA-859B-D1325E341CA2}" dt="2022-04-05T14:36:53.833" v="12370"/>
          <ac:spMkLst>
            <pc:docMk/>
            <pc:sldMk cId="2576879601" sldId="365"/>
            <ac:spMk id="12" creationId="{9FEA076C-4356-439E-8C68-31D207CCC669}"/>
          </ac:spMkLst>
        </pc:spChg>
        <pc:grpChg chg="add mod">
          <ac:chgData name="Tami Corson" userId="17b03132-2f21-4edf-a2df-f25c30f43233" providerId="ADAL" clId="{DE91C734-911C-4AEA-859B-D1325E341CA2}" dt="2022-04-05T14:09:34.869" v="12036"/>
          <ac:grpSpMkLst>
            <pc:docMk/>
            <pc:sldMk cId="2576879601" sldId="365"/>
            <ac:grpSpMk id="6" creationId="{CDA401A3-B5D9-4D8E-8713-1475FCB432D9}"/>
          </ac:grpSpMkLst>
        </pc:grpChg>
      </pc:sldChg>
      <pc:sldChg chg="addSp delSp modSp mod">
        <pc:chgData name="Tami Corson" userId="17b03132-2f21-4edf-a2df-f25c30f43233" providerId="ADAL" clId="{DE91C734-911C-4AEA-859B-D1325E341CA2}" dt="2022-04-05T14:36:42.119" v="12368" actId="6549"/>
        <pc:sldMkLst>
          <pc:docMk/>
          <pc:sldMk cId="1695560817" sldId="366"/>
        </pc:sldMkLst>
        <pc:spChg chg="mod">
          <ac:chgData name="Tami Corson" userId="17b03132-2f21-4edf-a2df-f25c30f43233" providerId="ADAL" clId="{DE91C734-911C-4AEA-859B-D1325E341CA2}" dt="2022-04-05T14:10:31.350" v="12043" actId="1076"/>
          <ac:spMkLst>
            <pc:docMk/>
            <pc:sldMk cId="1695560817" sldId="366"/>
            <ac:spMk id="2" creationId="{AB52A157-2CB8-6DCB-8D3B-00713BF25DCA}"/>
          </ac:spMkLst>
        </pc:spChg>
        <pc:spChg chg="mod">
          <ac:chgData name="Tami Corson" userId="17b03132-2f21-4edf-a2df-f25c30f43233" providerId="ADAL" clId="{DE91C734-911C-4AEA-859B-D1325E341CA2}" dt="2022-04-05T14:36:42.119" v="12368" actId="6549"/>
          <ac:spMkLst>
            <pc:docMk/>
            <pc:sldMk cId="1695560817" sldId="366"/>
            <ac:spMk id="5" creationId="{0BD814A1-8A3A-D6C7-A428-EFF601806E48}"/>
          </ac:spMkLst>
        </pc:spChg>
        <pc:spChg chg="mod">
          <ac:chgData name="Tami Corson" userId="17b03132-2f21-4edf-a2df-f25c30f43233" providerId="ADAL" clId="{DE91C734-911C-4AEA-859B-D1325E341CA2}" dt="2022-04-05T14:10:00.214" v="12038"/>
          <ac:spMkLst>
            <pc:docMk/>
            <pc:sldMk cId="1695560817" sldId="366"/>
            <ac:spMk id="65" creationId="{694B922C-2144-4F38-8B20-77A0EF95EB31}"/>
          </ac:spMkLst>
        </pc:spChg>
        <pc:spChg chg="mod">
          <ac:chgData name="Tami Corson" userId="17b03132-2f21-4edf-a2df-f25c30f43233" providerId="ADAL" clId="{DE91C734-911C-4AEA-859B-D1325E341CA2}" dt="2022-04-05T14:10:00.214" v="12038"/>
          <ac:spMkLst>
            <pc:docMk/>
            <pc:sldMk cId="1695560817" sldId="366"/>
            <ac:spMk id="66" creationId="{E4C97E3D-EE52-4E12-BAAB-2D35166DEBB0}"/>
          </ac:spMkLst>
        </pc:spChg>
        <pc:spChg chg="mod">
          <ac:chgData name="Tami Corson" userId="17b03132-2f21-4edf-a2df-f25c30f43233" providerId="ADAL" clId="{DE91C734-911C-4AEA-859B-D1325E341CA2}" dt="2022-04-05T14:11:00.871" v="12045"/>
          <ac:spMkLst>
            <pc:docMk/>
            <pc:sldMk cId="1695560817" sldId="366"/>
            <ac:spMk id="74" creationId="{482DAF0B-D17F-4704-93D6-BBBED6028787}"/>
          </ac:spMkLst>
        </pc:spChg>
        <pc:spChg chg="mod">
          <ac:chgData name="Tami Corson" userId="17b03132-2f21-4edf-a2df-f25c30f43233" providerId="ADAL" clId="{DE91C734-911C-4AEA-859B-D1325E341CA2}" dt="2022-04-05T14:11:00.871" v="12045"/>
          <ac:spMkLst>
            <pc:docMk/>
            <pc:sldMk cId="1695560817" sldId="366"/>
            <ac:spMk id="75" creationId="{E0F3108E-902E-4DB9-8D78-1D3F9D41BF6D}"/>
          </ac:spMkLst>
        </pc:spChg>
        <pc:spChg chg="mod">
          <ac:chgData name="Tami Corson" userId="17b03132-2f21-4edf-a2df-f25c30f43233" providerId="ADAL" clId="{DE91C734-911C-4AEA-859B-D1325E341CA2}" dt="2022-04-05T14:12:13.841" v="12051"/>
          <ac:spMkLst>
            <pc:docMk/>
            <pc:sldMk cId="1695560817" sldId="366"/>
            <ac:spMk id="77" creationId="{59AA964F-535A-41AE-BBDD-FB86C4B3BF5B}"/>
          </ac:spMkLst>
        </pc:spChg>
        <pc:spChg chg="mod">
          <ac:chgData name="Tami Corson" userId="17b03132-2f21-4edf-a2df-f25c30f43233" providerId="ADAL" clId="{DE91C734-911C-4AEA-859B-D1325E341CA2}" dt="2022-04-05T14:12:13.841" v="12051"/>
          <ac:spMkLst>
            <pc:docMk/>
            <pc:sldMk cId="1695560817" sldId="366"/>
            <ac:spMk id="79" creationId="{BDB6CD1D-98FC-4E44-8804-577B2AA4F1B1}"/>
          </ac:spMkLst>
        </pc:spChg>
        <pc:grpChg chg="add del mod">
          <ac:chgData name="Tami Corson" userId="17b03132-2f21-4edf-a2df-f25c30f43233" providerId="ADAL" clId="{DE91C734-911C-4AEA-859B-D1325E341CA2}" dt="2022-04-05T14:10:47.624" v="12044" actId="478"/>
          <ac:grpSpMkLst>
            <pc:docMk/>
            <pc:sldMk cId="1695560817" sldId="366"/>
            <ac:grpSpMk id="64" creationId="{3EB8A10B-EEB7-4F1C-9948-34B0F467AEAB}"/>
          </ac:grpSpMkLst>
        </pc:grpChg>
        <pc:grpChg chg="add del mod">
          <ac:chgData name="Tami Corson" userId="17b03132-2f21-4edf-a2df-f25c30f43233" providerId="ADAL" clId="{DE91C734-911C-4AEA-859B-D1325E341CA2}" dt="2022-04-05T14:12:06.178" v="12050" actId="478"/>
          <ac:grpSpMkLst>
            <pc:docMk/>
            <pc:sldMk cId="1695560817" sldId="366"/>
            <ac:grpSpMk id="73" creationId="{33873A3D-6758-4EE5-8AB7-54B3A359EEED}"/>
          </ac:grpSpMkLst>
        </pc:grpChg>
        <pc:grpChg chg="add mod">
          <ac:chgData name="Tami Corson" userId="17b03132-2f21-4edf-a2df-f25c30f43233" providerId="ADAL" clId="{DE91C734-911C-4AEA-859B-D1325E341CA2}" dt="2022-04-05T14:12:13.841" v="12051"/>
          <ac:grpSpMkLst>
            <pc:docMk/>
            <pc:sldMk cId="1695560817" sldId="366"/>
            <ac:grpSpMk id="76" creationId="{CA6CC004-F525-49CA-BCE7-099A9404F0F3}"/>
          </ac:grpSpMkLst>
        </pc:grpChg>
      </pc:sldChg>
      <pc:sldChg chg="addSp delSp modSp mod">
        <pc:chgData name="Tami Corson" userId="17b03132-2f21-4edf-a2df-f25c30f43233" providerId="ADAL" clId="{DE91C734-911C-4AEA-859B-D1325E341CA2}" dt="2022-04-05T17:17:34.376" v="12851" actId="2"/>
        <pc:sldMkLst>
          <pc:docMk/>
          <pc:sldMk cId="3762238417" sldId="367"/>
        </pc:sldMkLst>
        <pc:spChg chg="mod">
          <ac:chgData name="Tami Corson" userId="17b03132-2f21-4edf-a2df-f25c30f43233" providerId="ADAL" clId="{DE91C734-911C-4AEA-859B-D1325E341CA2}" dt="2022-03-30T23:15:09.374" v="8548" actId="1076"/>
          <ac:spMkLst>
            <pc:docMk/>
            <pc:sldMk cId="3762238417" sldId="367"/>
            <ac:spMk id="2" creationId="{AB52A157-2CB8-6DCB-8D3B-00713BF25DCA}"/>
          </ac:spMkLst>
        </pc:spChg>
        <pc:spChg chg="mod">
          <ac:chgData name="Tami Corson" userId="17b03132-2f21-4edf-a2df-f25c30f43233" providerId="ADAL" clId="{DE91C734-911C-4AEA-859B-D1325E341CA2}" dt="2022-04-05T17:17:29.009" v="12849" actId="313"/>
          <ac:spMkLst>
            <pc:docMk/>
            <pc:sldMk cId="3762238417" sldId="367"/>
            <ac:spMk id="3" creationId="{346B9D98-5C00-250F-2E85-76FD3A920D22}"/>
          </ac:spMkLst>
        </pc:spChg>
        <pc:spChg chg="add mod">
          <ac:chgData name="Tami Corson" userId="17b03132-2f21-4edf-a2df-f25c30f43233" providerId="ADAL" clId="{DE91C734-911C-4AEA-859B-D1325E341CA2}" dt="2022-04-05T17:17:34.376" v="12851" actId="2"/>
          <ac:spMkLst>
            <pc:docMk/>
            <pc:sldMk cId="3762238417" sldId="367"/>
            <ac:spMk id="5" creationId="{36D64229-262E-4A6E-9C18-00F422DCB439}"/>
          </ac:spMkLst>
        </pc:spChg>
        <pc:spChg chg="mod">
          <ac:chgData name="Tami Corson" userId="17b03132-2f21-4edf-a2df-f25c30f43233" providerId="ADAL" clId="{DE91C734-911C-4AEA-859B-D1325E341CA2}" dt="2022-03-30T23:15:00.145" v="8547"/>
          <ac:spMkLst>
            <pc:docMk/>
            <pc:sldMk cId="3762238417" sldId="367"/>
            <ac:spMk id="7" creationId="{8D8EC8C6-E4D1-4DBB-983D-FE47EF3371A4}"/>
          </ac:spMkLst>
        </pc:spChg>
        <pc:spChg chg="mod">
          <ac:chgData name="Tami Corson" userId="17b03132-2f21-4edf-a2df-f25c30f43233" providerId="ADAL" clId="{DE91C734-911C-4AEA-859B-D1325E341CA2}" dt="2022-03-30T23:15:00.145" v="8547"/>
          <ac:spMkLst>
            <pc:docMk/>
            <pc:sldMk cId="3762238417" sldId="367"/>
            <ac:spMk id="8" creationId="{0C428FE0-CEA6-4B06-818A-B15A33773397}"/>
          </ac:spMkLst>
        </pc:spChg>
        <pc:spChg chg="add mod">
          <ac:chgData name="Tami Corson" userId="17b03132-2f21-4edf-a2df-f25c30f43233" providerId="ADAL" clId="{DE91C734-911C-4AEA-859B-D1325E341CA2}" dt="2022-03-31T18:47:47.767" v="9622" actId="20577"/>
          <ac:spMkLst>
            <pc:docMk/>
            <pc:sldMk cId="3762238417" sldId="367"/>
            <ac:spMk id="9" creationId="{A559BC09-4387-488E-85BC-CBE75B1CE17C}"/>
          </ac:spMkLst>
        </pc:spChg>
        <pc:spChg chg="mod">
          <ac:chgData name="Tami Corson" userId="17b03132-2f21-4edf-a2df-f25c30f43233" providerId="ADAL" clId="{DE91C734-911C-4AEA-859B-D1325E341CA2}" dt="2022-04-05T02:20:54.985" v="11617" actId="1076"/>
          <ac:spMkLst>
            <pc:docMk/>
            <pc:sldMk cId="3762238417" sldId="367"/>
            <ac:spMk id="11" creationId="{CBD3480E-29E4-CF16-7FAC-4FDE84110F7D}"/>
          </ac:spMkLst>
        </pc:spChg>
        <pc:spChg chg="add del mod">
          <ac:chgData name="Tami Corson" userId="17b03132-2f21-4edf-a2df-f25c30f43233" providerId="ADAL" clId="{DE91C734-911C-4AEA-859B-D1325E341CA2}" dt="2022-04-05T02:23:16.579" v="11619" actId="478"/>
          <ac:spMkLst>
            <pc:docMk/>
            <pc:sldMk cId="3762238417" sldId="367"/>
            <ac:spMk id="12" creationId="{7AB26D86-2E9A-4497-88F4-CF4E6B52F215}"/>
          </ac:spMkLst>
        </pc:spChg>
        <pc:spChg chg="add mod">
          <ac:chgData name="Tami Corson" userId="17b03132-2f21-4edf-a2df-f25c30f43233" providerId="ADAL" clId="{DE91C734-911C-4AEA-859B-D1325E341CA2}" dt="2022-04-05T14:36:57.880" v="12371"/>
          <ac:spMkLst>
            <pc:docMk/>
            <pc:sldMk cId="3762238417" sldId="367"/>
            <ac:spMk id="13" creationId="{F106DBCA-0341-48B8-A479-099B70D97CBC}"/>
          </ac:spMkLst>
        </pc:spChg>
        <pc:grpChg chg="add mod">
          <ac:chgData name="Tami Corson" userId="17b03132-2f21-4edf-a2df-f25c30f43233" providerId="ADAL" clId="{DE91C734-911C-4AEA-859B-D1325E341CA2}" dt="2022-03-30T23:15:00.145" v="8547"/>
          <ac:grpSpMkLst>
            <pc:docMk/>
            <pc:sldMk cId="3762238417" sldId="367"/>
            <ac:grpSpMk id="6" creationId="{E77083C8-F76C-4F07-B275-7CDA0DAD89E4}"/>
          </ac:grpSpMkLst>
        </pc:grpChg>
      </pc:sldChg>
      <pc:sldChg chg="modSp mod">
        <pc:chgData name="Tami Corson" userId="17b03132-2f21-4edf-a2df-f25c30f43233" providerId="ADAL" clId="{DE91C734-911C-4AEA-859B-D1325E341CA2}" dt="2022-03-31T18:44:32.916" v="9479" actId="20577"/>
        <pc:sldMkLst>
          <pc:docMk/>
          <pc:sldMk cId="2478994861" sldId="368"/>
        </pc:sldMkLst>
        <pc:spChg chg="mod">
          <ac:chgData name="Tami Corson" userId="17b03132-2f21-4edf-a2df-f25c30f43233" providerId="ADAL" clId="{DE91C734-911C-4AEA-859B-D1325E341CA2}" dt="2022-03-31T18:44:32.916" v="9479" actId="20577"/>
          <ac:spMkLst>
            <pc:docMk/>
            <pc:sldMk cId="2478994861" sldId="368"/>
            <ac:spMk id="61" creationId="{4BA3EC63-1DC5-486F-98BD-5666DBC31E58}"/>
          </ac:spMkLst>
        </pc:spChg>
      </pc:sldChg>
      <pc:sldChg chg="delSp modSp add mod setBg">
        <pc:chgData name="Tami Corson" userId="17b03132-2f21-4edf-a2df-f25c30f43233" providerId="ADAL" clId="{DE91C734-911C-4AEA-859B-D1325E341CA2}" dt="2022-04-05T19:17:17.926" v="12861" actId="3626"/>
        <pc:sldMkLst>
          <pc:docMk/>
          <pc:sldMk cId="1138474479" sldId="369"/>
        </pc:sldMkLst>
        <pc:spChg chg="del mod">
          <ac:chgData name="Tami Corson" userId="17b03132-2f21-4edf-a2df-f25c30f43233" providerId="ADAL" clId="{DE91C734-911C-4AEA-859B-D1325E341CA2}" dt="2022-04-05T17:38:26.069" v="12859" actId="478"/>
          <ac:spMkLst>
            <pc:docMk/>
            <pc:sldMk cId="1138474479" sldId="369"/>
            <ac:spMk id="10" creationId="{A698D7F4-3A03-4266-B816-9503033CB2A4}"/>
          </ac:spMkLst>
        </pc:spChg>
        <pc:spChg chg="mod">
          <ac:chgData name="Tami Corson" userId="17b03132-2f21-4edf-a2df-f25c30f43233" providerId="ADAL" clId="{DE91C734-911C-4AEA-859B-D1325E341CA2}" dt="2022-03-30T02:05:18.932" v="8292" actId="20577"/>
          <ac:spMkLst>
            <pc:docMk/>
            <pc:sldMk cId="1138474479" sldId="369"/>
            <ac:spMk id="692" creationId="{00000000-0000-0000-0000-000000000000}"/>
          </ac:spMkLst>
        </pc:spChg>
        <pc:graphicFrameChg chg="mod modGraphic">
          <ac:chgData name="Tami Corson" userId="17b03132-2f21-4edf-a2df-f25c30f43233" providerId="ADAL" clId="{DE91C734-911C-4AEA-859B-D1325E341CA2}" dt="2022-04-05T19:17:17.926" v="12861" actId="3626"/>
          <ac:graphicFrameMkLst>
            <pc:docMk/>
            <pc:sldMk cId="1138474479" sldId="369"/>
            <ac:graphicFrameMk id="694" creationId="{00000000-0000-0000-0000-000000000000}"/>
          </ac:graphicFrameMkLst>
        </pc:graphicFrameChg>
      </pc:sldChg>
      <pc:sldChg chg="delSp modSp add mod setBg">
        <pc:chgData name="Tami Corson" userId="17b03132-2f21-4edf-a2df-f25c30f43233" providerId="ADAL" clId="{DE91C734-911C-4AEA-859B-D1325E341CA2}" dt="2022-04-05T17:16:38.025" v="12846"/>
        <pc:sldMkLst>
          <pc:docMk/>
          <pc:sldMk cId="388901022" sldId="370"/>
        </pc:sldMkLst>
        <pc:spChg chg="del mod">
          <ac:chgData name="Tami Corson" userId="17b03132-2f21-4edf-a2df-f25c30f43233" providerId="ADAL" clId="{DE91C734-911C-4AEA-859B-D1325E341CA2}" dt="2022-04-05T14:32:19.567" v="12163" actId="478"/>
          <ac:spMkLst>
            <pc:docMk/>
            <pc:sldMk cId="388901022" sldId="370"/>
            <ac:spMk id="10" creationId="{A698D7F4-3A03-4266-B816-9503033CB2A4}"/>
          </ac:spMkLst>
        </pc:spChg>
        <pc:spChg chg="mod">
          <ac:chgData name="Tami Corson" userId="17b03132-2f21-4edf-a2df-f25c30f43233" providerId="ADAL" clId="{DE91C734-911C-4AEA-859B-D1325E341CA2}" dt="2022-03-30T02:03:14.084" v="8165" actId="20577"/>
          <ac:spMkLst>
            <pc:docMk/>
            <pc:sldMk cId="388901022" sldId="370"/>
            <ac:spMk id="692" creationId="{00000000-0000-0000-0000-000000000000}"/>
          </ac:spMkLst>
        </pc:spChg>
        <pc:graphicFrameChg chg="mod modGraphic">
          <ac:chgData name="Tami Corson" userId="17b03132-2f21-4edf-a2df-f25c30f43233" providerId="ADAL" clId="{DE91C734-911C-4AEA-859B-D1325E341CA2}" dt="2022-04-05T17:16:38.025" v="12846"/>
          <ac:graphicFrameMkLst>
            <pc:docMk/>
            <pc:sldMk cId="388901022" sldId="370"/>
            <ac:graphicFrameMk id="694" creationId="{00000000-0000-0000-0000-000000000000}"/>
          </ac:graphicFrameMkLst>
        </pc:graphicFrameChg>
      </pc:sldChg>
      <pc:sldChg chg="modSp add mod">
        <pc:chgData name="Tami Corson" userId="17b03132-2f21-4edf-a2df-f25c30f43233" providerId="ADAL" clId="{DE91C734-911C-4AEA-859B-D1325E341CA2}" dt="2022-04-05T16:53:04.985" v="12544" actId="20577"/>
        <pc:sldMkLst>
          <pc:docMk/>
          <pc:sldMk cId="603633981" sldId="371"/>
        </pc:sldMkLst>
        <pc:spChg chg="mod">
          <ac:chgData name="Tami Corson" userId="17b03132-2f21-4edf-a2df-f25c30f43233" providerId="ADAL" clId="{DE91C734-911C-4AEA-859B-D1325E341CA2}" dt="2022-03-30T02:05:04.339" v="8281" actId="20577"/>
          <ac:spMkLst>
            <pc:docMk/>
            <pc:sldMk cId="603633981" sldId="371"/>
            <ac:spMk id="692" creationId="{00000000-0000-0000-0000-000000000000}"/>
          </ac:spMkLst>
        </pc:spChg>
        <pc:graphicFrameChg chg="mod modGraphic">
          <ac:chgData name="Tami Corson" userId="17b03132-2f21-4edf-a2df-f25c30f43233" providerId="ADAL" clId="{DE91C734-911C-4AEA-859B-D1325E341CA2}" dt="2022-04-05T16:53:04.985" v="12544" actId="20577"/>
          <ac:graphicFrameMkLst>
            <pc:docMk/>
            <pc:sldMk cId="603633981" sldId="371"/>
            <ac:graphicFrameMk id="694" creationId="{00000000-0000-0000-0000-000000000000}"/>
          </ac:graphicFrameMkLst>
        </pc:graphicFrameChg>
      </pc:sldChg>
      <pc:sldChg chg="add del">
        <pc:chgData name="Tami Corson" userId="17b03132-2f21-4edf-a2df-f25c30f43233" providerId="ADAL" clId="{DE91C734-911C-4AEA-859B-D1325E341CA2}" dt="2022-03-31T18:19:29.310" v="9018" actId="47"/>
        <pc:sldMkLst>
          <pc:docMk/>
          <pc:sldMk cId="3657150967" sldId="372"/>
        </pc:sldMkLst>
      </pc:sldChg>
      <pc:sldChg chg="addSp delSp modSp add mod">
        <pc:chgData name="Tami Corson" userId="17b03132-2f21-4edf-a2df-f25c30f43233" providerId="ADAL" clId="{DE91C734-911C-4AEA-859B-D1325E341CA2}" dt="2022-04-05T17:16:43.534" v="12847" actId="2"/>
        <pc:sldMkLst>
          <pc:docMk/>
          <pc:sldMk cId="874573340" sldId="373"/>
        </pc:sldMkLst>
        <pc:spChg chg="add del mod">
          <ac:chgData name="Tami Corson" userId="17b03132-2f21-4edf-a2df-f25c30f43233" providerId="ADAL" clId="{DE91C734-911C-4AEA-859B-D1325E341CA2}" dt="2022-04-04T16:15:57.892" v="10636" actId="478"/>
          <ac:spMkLst>
            <pc:docMk/>
            <pc:sldMk cId="874573340" sldId="373"/>
            <ac:spMk id="4" creationId="{5A3EED41-706A-4480-A25E-8861E45004C1}"/>
          </ac:spMkLst>
        </pc:spChg>
        <pc:spChg chg="add del mod">
          <ac:chgData name="Tami Corson" userId="17b03132-2f21-4edf-a2df-f25c30f43233" providerId="ADAL" clId="{DE91C734-911C-4AEA-859B-D1325E341CA2}" dt="2022-04-04T16:20:54.102" v="10733" actId="478"/>
          <ac:spMkLst>
            <pc:docMk/>
            <pc:sldMk cId="874573340" sldId="373"/>
            <ac:spMk id="6" creationId="{AD471C9A-3815-434B-96F2-1899745E3662}"/>
          </ac:spMkLst>
        </pc:spChg>
        <pc:spChg chg="add del mod">
          <ac:chgData name="Tami Corson" userId="17b03132-2f21-4edf-a2df-f25c30f43233" providerId="ADAL" clId="{DE91C734-911C-4AEA-859B-D1325E341CA2}" dt="2022-04-04T16:42:22.721" v="10810" actId="478"/>
          <ac:spMkLst>
            <pc:docMk/>
            <pc:sldMk cId="874573340" sldId="373"/>
            <ac:spMk id="10" creationId="{EB0D36C6-8595-4170-800D-10A1977ACFB4}"/>
          </ac:spMkLst>
        </pc:spChg>
        <pc:spChg chg="add mod">
          <ac:chgData name="Tami Corson" userId="17b03132-2f21-4edf-a2df-f25c30f43233" providerId="ADAL" clId="{DE91C734-911C-4AEA-859B-D1325E341CA2}" dt="2022-04-05T02:00:40.882" v="11493" actId="1076"/>
          <ac:spMkLst>
            <pc:docMk/>
            <pc:sldMk cId="874573340" sldId="373"/>
            <ac:spMk id="11" creationId="{F13F0CCB-25F8-472D-B660-682063222549}"/>
          </ac:spMkLst>
        </pc:spChg>
        <pc:spChg chg="mod">
          <ac:chgData name="Tami Corson" userId="17b03132-2f21-4edf-a2df-f25c30f43233" providerId="ADAL" clId="{DE91C734-911C-4AEA-859B-D1325E341CA2}" dt="2022-04-05T17:16:43.534" v="12847" actId="2"/>
          <ac:spMkLst>
            <pc:docMk/>
            <pc:sldMk cId="874573340" sldId="373"/>
            <ac:spMk id="15" creationId="{C4C62486-463F-4FC0-B499-CE49552602ED}"/>
          </ac:spMkLst>
        </pc:spChg>
        <pc:spChg chg="add del mod">
          <ac:chgData name="Tami Corson" userId="17b03132-2f21-4edf-a2df-f25c30f43233" providerId="ADAL" clId="{DE91C734-911C-4AEA-859B-D1325E341CA2}" dt="2022-04-04T16:06:31.104" v="10611" actId="478"/>
          <ac:spMkLst>
            <pc:docMk/>
            <pc:sldMk cId="874573340" sldId="373"/>
            <ac:spMk id="16" creationId="{FA350308-1FE7-45EE-B3DC-3D3434DF4E7B}"/>
          </ac:spMkLst>
        </pc:spChg>
        <pc:spChg chg="mod">
          <ac:chgData name="Tami Corson" userId="17b03132-2f21-4edf-a2df-f25c30f43233" providerId="ADAL" clId="{DE91C734-911C-4AEA-859B-D1325E341CA2}" dt="2022-03-31T18:20:55.792" v="9162" actId="33524"/>
          <ac:spMkLst>
            <pc:docMk/>
            <pc:sldMk cId="874573340" sldId="373"/>
            <ac:spMk id="572" creationId="{00000000-0000-0000-0000-000000000000}"/>
          </ac:spMkLst>
        </pc:spChg>
        <pc:spChg chg="mod">
          <ac:chgData name="Tami Corson" userId="17b03132-2f21-4edf-a2df-f25c30f43233" providerId="ADAL" clId="{DE91C734-911C-4AEA-859B-D1325E341CA2}" dt="2022-04-05T16:52:20.017" v="12533" actId="20577"/>
          <ac:spMkLst>
            <pc:docMk/>
            <pc:sldMk cId="874573340" sldId="373"/>
            <ac:spMk id="575" creationId="{00000000-0000-0000-0000-000000000000}"/>
          </ac:spMkLst>
        </pc:spChg>
        <pc:spChg chg="mod">
          <ac:chgData name="Tami Corson" userId="17b03132-2f21-4edf-a2df-f25c30f43233" providerId="ADAL" clId="{DE91C734-911C-4AEA-859B-D1325E341CA2}" dt="2022-03-31T18:24:16.184" v="9392" actId="20577"/>
          <ac:spMkLst>
            <pc:docMk/>
            <pc:sldMk cId="874573340" sldId="373"/>
            <ac:spMk id="579" creationId="{00000000-0000-0000-0000-000000000000}"/>
          </ac:spMkLst>
        </pc:spChg>
        <pc:picChg chg="add mod modCrop">
          <ac:chgData name="Tami Corson" userId="17b03132-2f21-4edf-a2df-f25c30f43233" providerId="ADAL" clId="{DE91C734-911C-4AEA-859B-D1325E341CA2}" dt="2022-04-04T16:45:24.362" v="10832" actId="732"/>
          <ac:picMkLst>
            <pc:docMk/>
            <pc:sldMk cId="874573340" sldId="373"/>
            <ac:picMk id="9" creationId="{3848CF10-59F7-42DA-AB47-C24BD859DBFB}"/>
          </ac:picMkLst>
        </pc:picChg>
      </pc:sldChg>
      <pc:sldChg chg="addSp delSp modSp mod">
        <pc:chgData name="Tami Corson" userId="17b03132-2f21-4edf-a2df-f25c30f43233" providerId="ADAL" clId="{DE91C734-911C-4AEA-859B-D1325E341CA2}" dt="2022-04-05T14:12:26.537" v="12053"/>
        <pc:sldMkLst>
          <pc:docMk/>
          <pc:sldMk cId="3514561185" sldId="374"/>
        </pc:sldMkLst>
        <pc:spChg chg="mod">
          <ac:chgData name="Tami Corson" userId="17b03132-2f21-4edf-a2df-f25c30f43233" providerId="ADAL" clId="{DE91C734-911C-4AEA-859B-D1325E341CA2}" dt="2022-04-05T14:11:09.125" v="12046"/>
          <ac:spMkLst>
            <pc:docMk/>
            <pc:sldMk cId="3514561185" sldId="374"/>
            <ac:spMk id="10" creationId="{7617DBBE-721A-40E3-A485-C406D22EE706}"/>
          </ac:spMkLst>
        </pc:spChg>
        <pc:spChg chg="mod">
          <ac:chgData name="Tami Corson" userId="17b03132-2f21-4edf-a2df-f25c30f43233" providerId="ADAL" clId="{DE91C734-911C-4AEA-859B-D1325E341CA2}" dt="2022-04-05T14:11:09.125" v="12046"/>
          <ac:spMkLst>
            <pc:docMk/>
            <pc:sldMk cId="3514561185" sldId="374"/>
            <ac:spMk id="11" creationId="{A673198D-51D0-4B43-AB13-17DF17491953}"/>
          </ac:spMkLst>
        </pc:spChg>
        <pc:spChg chg="mod">
          <ac:chgData name="Tami Corson" userId="17b03132-2f21-4edf-a2df-f25c30f43233" providerId="ADAL" clId="{DE91C734-911C-4AEA-859B-D1325E341CA2}" dt="2022-04-05T14:12:26.537" v="12053"/>
          <ac:spMkLst>
            <pc:docMk/>
            <pc:sldMk cId="3514561185" sldId="374"/>
            <ac:spMk id="13" creationId="{7D2FD8AF-6445-45A3-AFEA-0B3048DF7CC7}"/>
          </ac:spMkLst>
        </pc:spChg>
        <pc:spChg chg="mod">
          <ac:chgData name="Tami Corson" userId="17b03132-2f21-4edf-a2df-f25c30f43233" providerId="ADAL" clId="{DE91C734-911C-4AEA-859B-D1325E341CA2}" dt="2022-04-05T14:12:26.537" v="12053"/>
          <ac:spMkLst>
            <pc:docMk/>
            <pc:sldMk cId="3514561185" sldId="374"/>
            <ac:spMk id="14" creationId="{A245F304-F8D2-45B3-A737-C177B8BE30A4}"/>
          </ac:spMkLst>
        </pc:spChg>
        <pc:spChg chg="mod">
          <ac:chgData name="Tami Corson" userId="17b03132-2f21-4edf-a2df-f25c30f43233" providerId="ADAL" clId="{DE91C734-911C-4AEA-859B-D1325E341CA2}" dt="2022-04-05T14:11:20.008" v="12047" actId="14100"/>
          <ac:spMkLst>
            <pc:docMk/>
            <pc:sldMk cId="3514561185" sldId="374"/>
            <ac:spMk id="331" creationId="{00000000-0000-0000-0000-000000000000}"/>
          </ac:spMkLst>
        </pc:spChg>
        <pc:spChg chg="mod">
          <ac:chgData name="Tami Corson" userId="17b03132-2f21-4edf-a2df-f25c30f43233" providerId="ADAL" clId="{DE91C734-911C-4AEA-859B-D1325E341CA2}" dt="2022-04-05T14:11:24.082" v="12048" actId="1076"/>
          <ac:spMkLst>
            <pc:docMk/>
            <pc:sldMk cId="3514561185" sldId="374"/>
            <ac:spMk id="333" creationId="{00000000-0000-0000-0000-000000000000}"/>
          </ac:spMkLst>
        </pc:spChg>
        <pc:spChg chg="mod">
          <ac:chgData name="Tami Corson" userId="17b03132-2f21-4edf-a2df-f25c30f43233" providerId="ADAL" clId="{DE91C734-911C-4AEA-859B-D1325E341CA2}" dt="2022-04-05T14:11:34.515" v="12049" actId="1076"/>
          <ac:spMkLst>
            <pc:docMk/>
            <pc:sldMk cId="3514561185" sldId="374"/>
            <ac:spMk id="334" creationId="{00000000-0000-0000-0000-000000000000}"/>
          </ac:spMkLst>
        </pc:spChg>
        <pc:grpChg chg="add del mod">
          <ac:chgData name="Tami Corson" userId="17b03132-2f21-4edf-a2df-f25c30f43233" providerId="ADAL" clId="{DE91C734-911C-4AEA-859B-D1325E341CA2}" dt="2022-04-05T14:12:26.522" v="12052" actId="478"/>
          <ac:grpSpMkLst>
            <pc:docMk/>
            <pc:sldMk cId="3514561185" sldId="374"/>
            <ac:grpSpMk id="9" creationId="{B7D42E5A-0C79-4687-958C-04E2A91DDB7A}"/>
          </ac:grpSpMkLst>
        </pc:grpChg>
        <pc:grpChg chg="add mod">
          <ac:chgData name="Tami Corson" userId="17b03132-2f21-4edf-a2df-f25c30f43233" providerId="ADAL" clId="{DE91C734-911C-4AEA-859B-D1325E341CA2}" dt="2022-04-05T14:12:26.537" v="12053"/>
          <ac:grpSpMkLst>
            <pc:docMk/>
            <pc:sldMk cId="3514561185" sldId="374"/>
            <ac:grpSpMk id="12" creationId="{1DB4AE3A-FFA1-4FED-BE8F-2B855320F289}"/>
          </ac:grpSpMkLst>
        </pc:grpChg>
      </pc:sldChg>
      <pc:sldChg chg="addSp delSp modSp mod">
        <pc:chgData name="Tami Corson" userId="17b03132-2f21-4edf-a2df-f25c30f43233" providerId="ADAL" clId="{DE91C734-911C-4AEA-859B-D1325E341CA2}" dt="2022-04-05T15:44:09.342" v="12498" actId="947"/>
        <pc:sldMkLst>
          <pc:docMk/>
          <pc:sldMk cId="604654217" sldId="375"/>
        </pc:sldMkLst>
        <pc:spChg chg="mod">
          <ac:chgData name="Tami Corson" userId="17b03132-2f21-4edf-a2df-f25c30f43233" providerId="ADAL" clId="{DE91C734-911C-4AEA-859B-D1325E341CA2}" dt="2022-04-05T15:44:09.342" v="12498" actId="947"/>
          <ac:spMkLst>
            <pc:docMk/>
            <pc:sldMk cId="604654217" sldId="375"/>
            <ac:spMk id="3" creationId="{346B9D98-5C00-250F-2E85-76FD3A920D22}"/>
          </ac:spMkLst>
        </pc:spChg>
        <pc:spChg chg="mod">
          <ac:chgData name="Tami Corson" userId="17b03132-2f21-4edf-a2df-f25c30f43233" providerId="ADAL" clId="{DE91C734-911C-4AEA-859B-D1325E341CA2}" dt="2022-04-05T14:38:20.397" v="12386" actId="14100"/>
          <ac:spMkLst>
            <pc:docMk/>
            <pc:sldMk cId="604654217" sldId="375"/>
            <ac:spMk id="5" creationId="{36D64229-262E-4A6E-9C18-00F422DCB439}"/>
          </ac:spMkLst>
        </pc:spChg>
        <pc:spChg chg="add mod">
          <ac:chgData name="Tami Corson" userId="17b03132-2f21-4edf-a2df-f25c30f43233" providerId="ADAL" clId="{DE91C734-911C-4AEA-859B-D1325E341CA2}" dt="2022-04-05T02:34:04.899" v="11710" actId="6549"/>
          <ac:spMkLst>
            <pc:docMk/>
            <pc:sldMk cId="604654217" sldId="375"/>
            <ac:spMk id="15" creationId="{8234A49B-42C8-4AB6-91D6-8149E021948F}"/>
          </ac:spMkLst>
        </pc:spChg>
        <pc:spChg chg="add mod">
          <ac:chgData name="Tami Corson" userId="17b03132-2f21-4edf-a2df-f25c30f43233" providerId="ADAL" clId="{DE91C734-911C-4AEA-859B-D1325E341CA2}" dt="2022-04-05T14:38:28.597" v="12388"/>
          <ac:spMkLst>
            <pc:docMk/>
            <pc:sldMk cId="604654217" sldId="375"/>
            <ac:spMk id="16" creationId="{B45C34C9-EDCA-4783-9C15-8952930EA831}"/>
          </ac:spMkLst>
        </pc:spChg>
        <pc:picChg chg="mod">
          <ac:chgData name="Tami Corson" userId="17b03132-2f21-4edf-a2df-f25c30f43233" providerId="ADAL" clId="{DE91C734-911C-4AEA-859B-D1325E341CA2}" dt="2022-04-05T14:38:24.976" v="12387" actId="1076"/>
          <ac:picMkLst>
            <pc:docMk/>
            <pc:sldMk cId="604654217" sldId="375"/>
            <ac:picMk id="14" creationId="{CEC8603A-E559-D88F-8BB6-20BE147D64A6}"/>
          </ac:picMkLst>
        </pc:picChg>
        <pc:cxnChg chg="add del">
          <ac:chgData name="Tami Corson" userId="17b03132-2f21-4edf-a2df-f25c30f43233" providerId="ADAL" clId="{DE91C734-911C-4AEA-859B-D1325E341CA2}" dt="2022-04-05T15:42:16.712" v="12479" actId="478"/>
          <ac:cxnSpMkLst>
            <pc:docMk/>
            <pc:sldMk cId="604654217" sldId="375"/>
            <ac:cxnSpMk id="11" creationId="{80DA06C6-E09C-08BC-D6FB-BC20D8957044}"/>
          </ac:cxnSpMkLst>
        </pc:cxnChg>
        <pc:cxnChg chg="del">
          <ac:chgData name="Tami Corson" userId="17b03132-2f21-4edf-a2df-f25c30f43233" providerId="ADAL" clId="{DE91C734-911C-4AEA-859B-D1325E341CA2}" dt="2022-04-05T15:43:10.229" v="12493" actId="478"/>
          <ac:cxnSpMkLst>
            <pc:docMk/>
            <pc:sldMk cId="604654217" sldId="375"/>
            <ac:cxnSpMk id="12" creationId="{77793D15-5876-2206-449B-4B1F41AFE012}"/>
          </ac:cxnSpMkLst>
        </pc:cxnChg>
        <pc:cxnChg chg="del">
          <ac:chgData name="Tami Corson" userId="17b03132-2f21-4edf-a2df-f25c30f43233" providerId="ADAL" clId="{DE91C734-911C-4AEA-859B-D1325E341CA2}" dt="2022-04-05T15:43:13.319" v="12494" actId="478"/>
          <ac:cxnSpMkLst>
            <pc:docMk/>
            <pc:sldMk cId="604654217" sldId="375"/>
            <ac:cxnSpMk id="13" creationId="{70D6C415-5AB0-50A0-6B7B-F91A78ED3D34}"/>
          </ac:cxnSpMkLst>
        </pc:cxnChg>
      </pc:sldChg>
      <pc:sldChg chg="addSp modSp mod">
        <pc:chgData name="Tami Corson" userId="17b03132-2f21-4edf-a2df-f25c30f43233" providerId="ADAL" clId="{DE91C734-911C-4AEA-859B-D1325E341CA2}" dt="2022-04-05T19:18:23.024" v="12862" actId="3626"/>
        <pc:sldMkLst>
          <pc:docMk/>
          <pc:sldMk cId="3117050842" sldId="377"/>
        </pc:sldMkLst>
        <pc:spChg chg="add mod">
          <ac:chgData name="Tami Corson" userId="17b03132-2f21-4edf-a2df-f25c30f43233" providerId="ADAL" clId="{DE91C734-911C-4AEA-859B-D1325E341CA2}" dt="2022-04-05T19:18:23.024" v="12862" actId="3626"/>
          <ac:spMkLst>
            <pc:docMk/>
            <pc:sldMk cId="3117050842" sldId="377"/>
            <ac:spMk id="12" creationId="{85D5939B-C636-4551-B695-13CF3D96E08C}"/>
          </ac:spMkLst>
        </pc:spChg>
        <pc:spChg chg="add mod">
          <ac:chgData name="Tami Corson" userId="17b03132-2f21-4edf-a2df-f25c30f43233" providerId="ADAL" clId="{DE91C734-911C-4AEA-859B-D1325E341CA2}" dt="2022-04-05T02:20:40.869" v="11616"/>
          <ac:spMkLst>
            <pc:docMk/>
            <pc:sldMk cId="3117050842" sldId="377"/>
            <ac:spMk id="13" creationId="{52728604-4CC7-4599-8C24-A8100EF5CD46}"/>
          </ac:spMkLst>
        </pc:spChg>
        <pc:spChg chg="add mod">
          <ac:chgData name="Tami Corson" userId="17b03132-2f21-4edf-a2df-f25c30f43233" providerId="ADAL" clId="{DE91C734-911C-4AEA-859B-D1325E341CA2}" dt="2022-04-05T14:33:57.004" v="12294" actId="1076"/>
          <ac:spMkLst>
            <pc:docMk/>
            <pc:sldMk cId="3117050842" sldId="377"/>
            <ac:spMk id="18" creationId="{F4B2C878-DA8A-4485-AE71-43CCC1F50856}"/>
          </ac:spMkLst>
        </pc:spChg>
        <pc:spChg chg="add mod">
          <ac:chgData name="Tami Corson" userId="17b03132-2f21-4edf-a2df-f25c30f43233" providerId="ADAL" clId="{DE91C734-911C-4AEA-859B-D1325E341CA2}" dt="2022-04-05T14:37:05.707" v="12372"/>
          <ac:spMkLst>
            <pc:docMk/>
            <pc:sldMk cId="3117050842" sldId="377"/>
            <ac:spMk id="20" creationId="{A58EAE1F-F0F4-469B-9399-E85D31E11982}"/>
          </ac:spMkLst>
        </pc:spChg>
      </pc:sldChg>
    </pc:docChg>
  </pc:docChgLst>
  <pc:docChgLst>
    <pc:chgData name="Guest User" userId="S::urn:spo:anon#c437c167f923f422528aee73b5e70e5726914197d2dec7f210a84ae49e8498a7::" providerId="AD" clId="Web-{239DA121-B219-84BB-8432-811246FFE42E}"/>
    <pc:docChg chg="addSld modSld">
      <pc:chgData name="Guest User" userId="S::urn:spo:anon#c437c167f923f422528aee73b5e70e5726914197d2dec7f210a84ae49e8498a7::" providerId="AD" clId="Web-{239DA121-B219-84BB-8432-811246FFE42E}" dt="2022-03-28T19:05:30.157" v="695" actId="14100"/>
      <pc:docMkLst>
        <pc:docMk/>
      </pc:docMkLst>
      <pc:sldChg chg="addSp modSp">
        <pc:chgData name="Guest User" userId="S::urn:spo:anon#c437c167f923f422528aee73b5e70e5726914197d2dec7f210a84ae49e8498a7::" providerId="AD" clId="Web-{239DA121-B219-84BB-8432-811246FFE42E}" dt="2022-03-28T18:46:03.565" v="572" actId="20577"/>
        <pc:sldMkLst>
          <pc:docMk/>
          <pc:sldMk cId="2576879601" sldId="365"/>
        </pc:sldMkLst>
        <pc:spChg chg="mod">
          <ac:chgData name="Guest User" userId="S::urn:spo:anon#c437c167f923f422528aee73b5e70e5726914197d2dec7f210a84ae49e8498a7::" providerId="AD" clId="Web-{239DA121-B219-84BB-8432-811246FFE42E}" dt="2022-03-28T17:21:39.229" v="33" actId="20577"/>
          <ac:spMkLst>
            <pc:docMk/>
            <pc:sldMk cId="2576879601" sldId="365"/>
            <ac:spMk id="2" creationId="{AB52A157-2CB8-6DCB-8D3B-00713BF25DCA}"/>
          </ac:spMkLst>
        </pc:spChg>
        <pc:spChg chg="mod">
          <ac:chgData name="Guest User" userId="S::urn:spo:anon#c437c167f923f422528aee73b5e70e5726914197d2dec7f210a84ae49e8498a7::" providerId="AD" clId="Web-{239DA121-B219-84BB-8432-811246FFE42E}" dt="2022-03-28T18:46:03.565" v="572" actId="20577"/>
          <ac:spMkLst>
            <pc:docMk/>
            <pc:sldMk cId="2576879601" sldId="365"/>
            <ac:spMk id="3" creationId="{346B9D98-5C00-250F-2E85-76FD3A920D22}"/>
          </ac:spMkLst>
        </pc:spChg>
        <pc:spChg chg="add mod">
          <ac:chgData name="Guest User" userId="S::urn:spo:anon#c437c167f923f422528aee73b5e70e5726914197d2dec7f210a84ae49e8498a7::" providerId="AD" clId="Web-{239DA121-B219-84BB-8432-811246FFE42E}" dt="2022-03-28T18:43:10.655" v="492" actId="14100"/>
          <ac:spMkLst>
            <pc:docMk/>
            <pc:sldMk cId="2576879601" sldId="365"/>
            <ac:spMk id="5" creationId="{B7651FB1-3FE6-E20B-3600-01AAC0F88061}"/>
          </ac:spMkLst>
        </pc:spChg>
        <pc:spChg chg="add mod">
          <ac:chgData name="Guest User" userId="S::urn:spo:anon#c437c167f923f422528aee73b5e70e5726914197d2dec7f210a84ae49e8498a7::" providerId="AD" clId="Web-{239DA121-B219-84BB-8432-811246FFE42E}" dt="2022-03-28T18:45:13.001" v="566" actId="20577"/>
          <ac:spMkLst>
            <pc:docMk/>
            <pc:sldMk cId="2576879601" sldId="365"/>
            <ac:spMk id="6" creationId="{74F8F5B6-6C79-278D-D3C6-E2F59AC9C58B}"/>
          </ac:spMkLst>
        </pc:spChg>
      </pc:sldChg>
      <pc:sldChg chg="addSp delSp modSp add replId">
        <pc:chgData name="Guest User" userId="S::urn:spo:anon#c437c167f923f422528aee73b5e70e5726914197d2dec7f210a84ae49e8498a7::" providerId="AD" clId="Web-{239DA121-B219-84BB-8432-811246FFE42E}" dt="2022-03-28T19:05:30.157" v="695" actId="14100"/>
        <pc:sldMkLst>
          <pc:docMk/>
          <pc:sldMk cId="1695560817" sldId="366"/>
        </pc:sldMkLst>
        <pc:spChg chg="mod">
          <ac:chgData name="Guest User" userId="S::urn:spo:anon#c437c167f923f422528aee73b5e70e5726914197d2dec7f210a84ae49e8498a7::" providerId="AD" clId="Web-{239DA121-B219-84BB-8432-811246FFE42E}" dt="2022-03-28T17:25:23.673" v="168" actId="20577"/>
          <ac:spMkLst>
            <pc:docMk/>
            <pc:sldMk cId="1695560817" sldId="366"/>
            <ac:spMk id="2" creationId="{AB52A157-2CB8-6DCB-8D3B-00713BF25DCA}"/>
          </ac:spMkLst>
        </pc:spChg>
        <pc:spChg chg="del">
          <ac:chgData name="Guest User" userId="S::urn:spo:anon#c437c167f923f422528aee73b5e70e5726914197d2dec7f210a84ae49e8498a7::" providerId="AD" clId="Web-{239DA121-B219-84BB-8432-811246FFE42E}" dt="2022-03-28T17:25:00.001" v="154"/>
          <ac:spMkLst>
            <pc:docMk/>
            <pc:sldMk cId="1695560817" sldId="366"/>
            <ac:spMk id="3" creationId="{346B9D98-5C00-250F-2E85-76FD3A920D22}"/>
          </ac:spMkLst>
        </pc:spChg>
        <pc:spChg chg="del mod">
          <ac:chgData name="Guest User" userId="S::urn:spo:anon#c437c167f923f422528aee73b5e70e5726914197d2dec7f210a84ae49e8498a7::" providerId="AD" clId="Web-{239DA121-B219-84BB-8432-811246FFE42E}" dt="2022-03-28T17:25:57.377" v="258"/>
          <ac:spMkLst>
            <pc:docMk/>
            <pc:sldMk cId="1695560817" sldId="366"/>
            <ac:spMk id="4" creationId="{EF30D916-BF44-FCC1-0C2B-6AE80D374176}"/>
          </ac:spMkLst>
        </pc:spChg>
        <pc:spChg chg="add del">
          <ac:chgData name="Guest User" userId="S::urn:spo:anon#c437c167f923f422528aee73b5e70e5726914197d2dec7f210a84ae49e8498a7::" providerId="AD" clId="Web-{239DA121-B219-84BB-8432-811246FFE42E}" dt="2022-03-28T17:25:37.892" v="251"/>
          <ac:spMkLst>
            <pc:docMk/>
            <pc:sldMk cId="1695560817" sldId="366"/>
            <ac:spMk id="8" creationId="{FE871B3E-76DC-F4F3-A467-5C855F054010}"/>
          </ac:spMkLst>
        </pc:spChg>
        <pc:spChg chg="add del">
          <ac:chgData name="Guest User" userId="S::urn:spo:anon#c437c167f923f422528aee73b5e70e5726914197d2dec7f210a84ae49e8498a7::" providerId="AD" clId="Web-{239DA121-B219-84BB-8432-811246FFE42E}" dt="2022-03-28T17:25:37.892" v="250"/>
          <ac:spMkLst>
            <pc:docMk/>
            <pc:sldMk cId="1695560817" sldId="366"/>
            <ac:spMk id="10" creationId="{4A90CAC3-E973-8196-5408-F0124D5FB1CB}"/>
          </ac:spMkLst>
        </pc:spChg>
        <pc:spChg chg="add del">
          <ac:chgData name="Guest User" userId="S::urn:spo:anon#c437c167f923f422528aee73b5e70e5726914197d2dec7f210a84ae49e8498a7::" providerId="AD" clId="Web-{239DA121-B219-84BB-8432-811246FFE42E}" dt="2022-03-28T17:25:37.892" v="249"/>
          <ac:spMkLst>
            <pc:docMk/>
            <pc:sldMk cId="1695560817" sldId="366"/>
            <ac:spMk id="12" creationId="{95557D0C-D08A-6048-49E5-6FDA707ACE64}"/>
          </ac:spMkLst>
        </pc:spChg>
        <pc:spChg chg="add del">
          <ac:chgData name="Guest User" userId="S::urn:spo:anon#c437c167f923f422528aee73b5e70e5726914197d2dec7f210a84ae49e8498a7::" providerId="AD" clId="Web-{239DA121-B219-84BB-8432-811246FFE42E}" dt="2022-03-28T17:25:37.892" v="248"/>
          <ac:spMkLst>
            <pc:docMk/>
            <pc:sldMk cId="1695560817" sldId="366"/>
            <ac:spMk id="14" creationId="{50478519-685B-D38C-37CC-8844837E6317}"/>
          </ac:spMkLst>
        </pc:spChg>
        <pc:spChg chg="add del">
          <ac:chgData name="Guest User" userId="S::urn:spo:anon#c437c167f923f422528aee73b5e70e5726914197d2dec7f210a84ae49e8498a7::" providerId="AD" clId="Web-{239DA121-B219-84BB-8432-811246FFE42E}" dt="2022-03-28T17:25:45.986" v="253"/>
          <ac:spMkLst>
            <pc:docMk/>
            <pc:sldMk cId="1695560817" sldId="366"/>
            <ac:spMk id="16" creationId="{76E61E22-5EC3-C631-C8AA-ACAAA27B6936}"/>
          </ac:spMkLst>
        </pc:spChg>
        <pc:spChg chg="add del">
          <ac:chgData name="Guest User" userId="S::urn:spo:anon#c437c167f923f422528aee73b5e70e5726914197d2dec7f210a84ae49e8498a7::" providerId="AD" clId="Web-{239DA121-B219-84BB-8432-811246FFE42E}" dt="2022-03-28T17:25:45.986" v="252"/>
          <ac:spMkLst>
            <pc:docMk/>
            <pc:sldMk cId="1695560817" sldId="366"/>
            <ac:spMk id="18" creationId="{D2DA0F5C-9D66-47A8-10BB-63F361EA5D51}"/>
          </ac:spMkLst>
        </pc:spChg>
        <pc:spChg chg="add del">
          <ac:chgData name="Guest User" userId="S::urn:spo:anon#c437c167f923f422528aee73b5e70e5726914197d2dec7f210a84ae49e8498a7::" providerId="AD" clId="Web-{239DA121-B219-84BB-8432-811246FFE42E}" dt="2022-03-28T17:25:52.049" v="256"/>
          <ac:spMkLst>
            <pc:docMk/>
            <pc:sldMk cId="1695560817" sldId="366"/>
            <ac:spMk id="20" creationId="{E79F7827-3D3E-9AAE-B0B2-F28B70208D10}"/>
          </ac:spMkLst>
        </pc:spChg>
        <pc:spChg chg="add del">
          <ac:chgData name="Guest User" userId="S::urn:spo:anon#c437c167f923f422528aee73b5e70e5726914197d2dec7f210a84ae49e8498a7::" providerId="AD" clId="Web-{239DA121-B219-84BB-8432-811246FFE42E}" dt="2022-03-28T17:25:52.049" v="255"/>
          <ac:spMkLst>
            <pc:docMk/>
            <pc:sldMk cId="1695560817" sldId="366"/>
            <ac:spMk id="22" creationId="{8E123B69-B54E-5733-F4A4-B9791500C2A8}"/>
          </ac:spMkLst>
        </pc:spChg>
        <pc:spChg chg="add del">
          <ac:chgData name="Guest User" userId="S::urn:spo:anon#c437c167f923f422528aee73b5e70e5726914197d2dec7f210a84ae49e8498a7::" providerId="AD" clId="Web-{239DA121-B219-84BB-8432-811246FFE42E}" dt="2022-03-28T17:25:52.049" v="254"/>
          <ac:spMkLst>
            <pc:docMk/>
            <pc:sldMk cId="1695560817" sldId="366"/>
            <ac:spMk id="24" creationId="{4BF72E62-7055-B1B1-3DE4-FA4592B8FBA9}"/>
          </ac:spMkLst>
        </pc:spChg>
        <pc:spChg chg="add mod">
          <ac:chgData name="Guest User" userId="S::urn:spo:anon#c437c167f923f422528aee73b5e70e5726914197d2dec7f210a84ae49e8498a7::" providerId="AD" clId="Web-{239DA121-B219-84BB-8432-811246FFE42E}" dt="2022-03-28T17:26:48.566" v="298" actId="1076"/>
          <ac:spMkLst>
            <pc:docMk/>
            <pc:sldMk cId="1695560817" sldId="366"/>
            <ac:spMk id="26" creationId="{955AC05E-33FB-3C44-F3BC-31A82617FF2F}"/>
          </ac:spMkLst>
        </pc:spChg>
        <pc:spChg chg="add mod">
          <ac:chgData name="Guest User" userId="S::urn:spo:anon#c437c167f923f422528aee73b5e70e5726914197d2dec7f210a84ae49e8498a7::" providerId="AD" clId="Web-{239DA121-B219-84BB-8432-811246FFE42E}" dt="2022-03-28T17:26:48.566" v="299" actId="1076"/>
          <ac:spMkLst>
            <pc:docMk/>
            <pc:sldMk cId="1695560817" sldId="366"/>
            <ac:spMk id="28" creationId="{6BCD0965-B080-4C07-162C-B1793916C7AE}"/>
          </ac:spMkLst>
        </pc:spChg>
        <pc:spChg chg="add del">
          <ac:chgData name="Guest User" userId="S::urn:spo:anon#c437c167f923f422528aee73b5e70e5726914197d2dec7f210a84ae49e8498a7::" providerId="AD" clId="Web-{239DA121-B219-84BB-8432-811246FFE42E}" dt="2022-03-28T17:26:07.879" v="282"/>
          <ac:spMkLst>
            <pc:docMk/>
            <pc:sldMk cId="1695560817" sldId="366"/>
            <ac:spMk id="30" creationId="{10DFBBE8-B483-5E57-A9F9-9ADEEB2F8E39}"/>
          </ac:spMkLst>
        </pc:spChg>
        <pc:spChg chg="add del">
          <ac:chgData name="Guest User" userId="S::urn:spo:anon#c437c167f923f422528aee73b5e70e5726914197d2dec7f210a84ae49e8498a7::" providerId="AD" clId="Web-{239DA121-B219-84BB-8432-811246FFE42E}" dt="2022-03-28T17:26:06.909" v="281"/>
          <ac:spMkLst>
            <pc:docMk/>
            <pc:sldMk cId="1695560817" sldId="366"/>
            <ac:spMk id="32" creationId="{4425B6BA-1988-16B0-3CA7-0C63F391EFCB}"/>
          </ac:spMkLst>
        </pc:spChg>
        <pc:spChg chg="add">
          <ac:chgData name="Guest User" userId="S::urn:spo:anon#c437c167f923f422528aee73b5e70e5726914197d2dec7f210a84ae49e8498a7::" providerId="AD" clId="Web-{239DA121-B219-84BB-8432-811246FFE42E}" dt="2022-03-28T17:25:25.626" v="183"/>
          <ac:spMkLst>
            <pc:docMk/>
            <pc:sldMk cId="1695560817" sldId="366"/>
            <ac:spMk id="34" creationId="{4DF9B8DF-A76D-75E1-F47E-E16EA41AAFC1}"/>
          </ac:spMkLst>
        </pc:spChg>
        <pc:spChg chg="add">
          <ac:chgData name="Guest User" userId="S::urn:spo:anon#c437c167f923f422528aee73b5e70e5726914197d2dec7f210a84ae49e8498a7::" providerId="AD" clId="Web-{239DA121-B219-84BB-8432-811246FFE42E}" dt="2022-03-28T17:25:25.642" v="184"/>
          <ac:spMkLst>
            <pc:docMk/>
            <pc:sldMk cId="1695560817" sldId="366"/>
            <ac:spMk id="36" creationId="{B54A5F69-1C30-7571-6B17-59787A961DAF}"/>
          </ac:spMkLst>
        </pc:spChg>
        <pc:spChg chg="add del">
          <ac:chgData name="Guest User" userId="S::urn:spo:anon#c437c167f923f422528aee73b5e70e5726914197d2dec7f210a84ae49e8498a7::" providerId="AD" clId="Web-{239DA121-B219-84BB-8432-811246FFE42E}" dt="2022-03-28T17:26:11.221" v="283"/>
          <ac:spMkLst>
            <pc:docMk/>
            <pc:sldMk cId="1695560817" sldId="366"/>
            <ac:spMk id="38" creationId="{D4ADC49A-C461-5ECA-5639-DD131971279B}"/>
          </ac:spMkLst>
        </pc:spChg>
        <pc:spChg chg="add del">
          <ac:chgData name="Guest User" userId="S::urn:spo:anon#c437c167f923f422528aee73b5e70e5726914197d2dec7f210a84ae49e8498a7::" providerId="AD" clId="Web-{239DA121-B219-84BB-8432-811246FFE42E}" dt="2022-03-28T17:26:17.143" v="287"/>
          <ac:spMkLst>
            <pc:docMk/>
            <pc:sldMk cId="1695560817" sldId="366"/>
            <ac:spMk id="40" creationId="{3AFADB3E-181D-051D-9D90-D19C917E47B6}"/>
          </ac:spMkLst>
        </pc:spChg>
        <pc:spChg chg="add del">
          <ac:chgData name="Guest User" userId="S::urn:spo:anon#c437c167f923f422528aee73b5e70e5726914197d2dec7f210a84ae49e8498a7::" providerId="AD" clId="Web-{239DA121-B219-84BB-8432-811246FFE42E}" dt="2022-03-28T17:26:20.331" v="289"/>
          <ac:spMkLst>
            <pc:docMk/>
            <pc:sldMk cId="1695560817" sldId="366"/>
            <ac:spMk id="42" creationId="{6FB88DCE-779F-6E24-5671-6BC88BBAE973}"/>
          </ac:spMkLst>
        </pc:spChg>
        <pc:spChg chg="add del">
          <ac:chgData name="Guest User" userId="S::urn:spo:anon#c437c167f923f422528aee73b5e70e5726914197d2dec7f210a84ae49e8498a7::" providerId="AD" clId="Web-{239DA121-B219-84BB-8432-811246FFE42E}" dt="2022-03-28T17:26:20.175" v="288"/>
          <ac:spMkLst>
            <pc:docMk/>
            <pc:sldMk cId="1695560817" sldId="366"/>
            <ac:spMk id="44" creationId="{56526D3C-B7EB-DBA1-3DAF-137E88CC6169}"/>
          </ac:spMkLst>
        </pc:spChg>
        <pc:spChg chg="add">
          <ac:chgData name="Guest User" userId="S::urn:spo:anon#c437c167f923f422528aee73b5e70e5726914197d2dec7f210a84ae49e8498a7::" providerId="AD" clId="Web-{239DA121-B219-84BB-8432-811246FFE42E}" dt="2022-03-28T17:25:25.720" v="189"/>
          <ac:spMkLst>
            <pc:docMk/>
            <pc:sldMk cId="1695560817" sldId="366"/>
            <ac:spMk id="46" creationId="{1E1C1585-D404-40C5-7DD6-1A36C13365DD}"/>
          </ac:spMkLst>
        </pc:spChg>
        <pc:spChg chg="add mod">
          <ac:chgData name="Guest User" userId="S::urn:spo:anon#c437c167f923f422528aee73b5e70e5726914197d2dec7f210a84ae49e8498a7::" providerId="AD" clId="Web-{239DA121-B219-84BB-8432-811246FFE42E}" dt="2022-03-28T17:27:04.504" v="311" actId="20577"/>
          <ac:spMkLst>
            <pc:docMk/>
            <pc:sldMk cId="1695560817" sldId="366"/>
            <ac:spMk id="72" creationId="{2076A5C8-D785-DF79-4D6A-C1A4C3D4A83F}"/>
          </ac:spMkLst>
        </pc:spChg>
        <pc:spChg chg="add del">
          <ac:chgData name="Guest User" userId="S::urn:spo:anon#c437c167f923f422528aee73b5e70e5726914197d2dec7f210a84ae49e8498a7::" providerId="AD" clId="Web-{239DA121-B219-84BB-8432-811246FFE42E}" dt="2022-03-28T17:26:30.660" v="294"/>
          <ac:spMkLst>
            <pc:docMk/>
            <pc:sldMk cId="1695560817" sldId="366"/>
            <ac:spMk id="74" creationId="{F19E7246-8421-D1F0-792D-977F1A3390BD}"/>
          </ac:spMkLst>
        </pc:spChg>
        <pc:spChg chg="add del">
          <ac:chgData name="Guest User" userId="S::urn:spo:anon#c437c167f923f422528aee73b5e70e5726914197d2dec7f210a84ae49e8498a7::" providerId="AD" clId="Web-{239DA121-B219-84BB-8432-811246FFE42E}" dt="2022-03-28T17:26:29.909" v="293"/>
          <ac:spMkLst>
            <pc:docMk/>
            <pc:sldMk cId="1695560817" sldId="366"/>
            <ac:spMk id="76" creationId="{0EA9131E-6239-698E-C0CF-CE2D38479C08}"/>
          </ac:spMkLst>
        </pc:spChg>
        <pc:spChg chg="add mod">
          <ac:chgData name="Guest User" userId="S::urn:spo:anon#c437c167f923f422528aee73b5e70e5726914197d2dec7f210a84ae49e8498a7::" providerId="AD" clId="Web-{239DA121-B219-84BB-8432-811246FFE42E}" dt="2022-03-28T17:26:58.848" v="309" actId="20577"/>
          <ac:spMkLst>
            <pc:docMk/>
            <pc:sldMk cId="1695560817" sldId="366"/>
            <ac:spMk id="78" creationId="{85AA2B18-4964-80D8-597C-B2C0E4AC1A9F}"/>
          </ac:spMkLst>
        </pc:spChg>
        <pc:spChg chg="add del">
          <ac:chgData name="Guest User" userId="S::urn:spo:anon#c437c167f923f422528aee73b5e70e5726914197d2dec7f210a84ae49e8498a7::" providerId="AD" clId="Web-{239DA121-B219-84BB-8432-811246FFE42E}" dt="2022-03-28T17:26:34.238" v="295"/>
          <ac:spMkLst>
            <pc:docMk/>
            <pc:sldMk cId="1695560817" sldId="366"/>
            <ac:spMk id="80" creationId="{AB69B0BE-4443-D2A3-7A02-51A6D44C3455}"/>
          </ac:spMkLst>
        </pc:spChg>
        <pc:spChg chg="add mod">
          <ac:chgData name="Guest User" userId="S::urn:spo:anon#c437c167f923f422528aee73b5e70e5726914197d2dec7f210a84ae49e8498a7::" providerId="AD" clId="Web-{239DA121-B219-84BB-8432-811246FFE42E}" dt="2022-03-28T19:05:30.157" v="695" actId="14100"/>
          <ac:spMkLst>
            <pc:docMk/>
            <pc:sldMk cId="1695560817" sldId="366"/>
            <ac:spMk id="82" creationId="{80579DE7-72B2-533E-1105-2A45C4F95512}"/>
          </ac:spMkLst>
        </pc:spChg>
        <pc:spChg chg="add del">
          <ac:chgData name="Guest User" userId="S::urn:spo:anon#c437c167f923f422528aee73b5e70e5726914197d2dec7f210a84ae49e8498a7::" providerId="AD" clId="Web-{239DA121-B219-84BB-8432-811246FFE42E}" dt="2022-03-28T17:26:34.378" v="296"/>
          <ac:spMkLst>
            <pc:docMk/>
            <pc:sldMk cId="1695560817" sldId="366"/>
            <ac:spMk id="84" creationId="{1BE9F18E-8278-A3CE-2ED0-2AFBF9F61993}"/>
          </ac:spMkLst>
        </pc:spChg>
        <pc:spChg chg="add del">
          <ac:chgData name="Guest User" userId="S::urn:spo:anon#c437c167f923f422528aee73b5e70e5726914197d2dec7f210a84ae49e8498a7::" providerId="AD" clId="Web-{239DA121-B219-84BB-8432-811246FFE42E}" dt="2022-03-28T17:26:34.410" v="297"/>
          <ac:spMkLst>
            <pc:docMk/>
            <pc:sldMk cId="1695560817" sldId="366"/>
            <ac:spMk id="86" creationId="{89D9503F-4FAB-FA71-D050-8623C903AAFF}"/>
          </ac:spMkLst>
        </pc:spChg>
        <pc:spChg chg="add del">
          <ac:chgData name="Guest User" userId="S::urn:spo:anon#c437c167f923f422528aee73b5e70e5726914197d2dec7f210a84ae49e8498a7::" providerId="AD" clId="Web-{239DA121-B219-84BB-8432-811246FFE42E}" dt="2022-03-28T17:26:00.268" v="279"/>
          <ac:spMkLst>
            <pc:docMk/>
            <pc:sldMk cId="1695560817" sldId="366"/>
            <ac:spMk id="88" creationId="{3065F38D-0603-3053-4763-0D3DFAF38084}"/>
          </ac:spMkLst>
        </pc:spChg>
        <pc:spChg chg="add del">
          <ac:chgData name="Guest User" userId="S::urn:spo:anon#c437c167f923f422528aee73b5e70e5726914197d2dec7f210a84ae49e8498a7::" providerId="AD" clId="Web-{239DA121-B219-84BB-8432-811246FFE42E}" dt="2022-03-28T17:26:00.268" v="278"/>
          <ac:spMkLst>
            <pc:docMk/>
            <pc:sldMk cId="1695560817" sldId="366"/>
            <ac:spMk id="90" creationId="{01B7CDB9-A2B1-C31D-A321-980EFF2353BA}"/>
          </ac:spMkLst>
        </pc:spChg>
        <pc:spChg chg="add del">
          <ac:chgData name="Guest User" userId="S::urn:spo:anon#c437c167f923f422528aee73b5e70e5726914197d2dec7f210a84ae49e8498a7::" providerId="AD" clId="Web-{239DA121-B219-84BB-8432-811246FFE42E}" dt="2022-03-28T17:26:00.268" v="276"/>
          <ac:spMkLst>
            <pc:docMk/>
            <pc:sldMk cId="1695560817" sldId="366"/>
            <ac:spMk id="104" creationId="{4EF6146A-708A-D355-6604-2F59B3368AF2}"/>
          </ac:spMkLst>
        </pc:spChg>
        <pc:spChg chg="add del">
          <ac:chgData name="Guest User" userId="S::urn:spo:anon#c437c167f923f422528aee73b5e70e5726914197d2dec7f210a84ae49e8498a7::" providerId="AD" clId="Web-{239DA121-B219-84BB-8432-811246FFE42E}" dt="2022-03-28T17:26:00.268" v="274"/>
          <ac:spMkLst>
            <pc:docMk/>
            <pc:sldMk cId="1695560817" sldId="366"/>
            <ac:spMk id="108" creationId="{E13EC4A2-A64B-4C5B-394B-9E86AEAA346D}"/>
          </ac:spMkLst>
        </pc:spChg>
        <pc:spChg chg="add del">
          <ac:chgData name="Guest User" userId="S::urn:spo:anon#c437c167f923f422528aee73b5e70e5726914197d2dec7f210a84ae49e8498a7::" providerId="AD" clId="Web-{239DA121-B219-84BB-8432-811246FFE42E}" dt="2022-03-28T17:26:00.268" v="273"/>
          <ac:spMkLst>
            <pc:docMk/>
            <pc:sldMk cId="1695560817" sldId="366"/>
            <ac:spMk id="110" creationId="{37F16021-7EAF-FD3E-1846-E5B3DBA9CF2D}"/>
          </ac:spMkLst>
        </pc:spChg>
        <pc:spChg chg="add del">
          <ac:chgData name="Guest User" userId="S::urn:spo:anon#c437c167f923f422528aee73b5e70e5726914197d2dec7f210a84ae49e8498a7::" providerId="AD" clId="Web-{239DA121-B219-84BB-8432-811246FFE42E}" dt="2022-03-28T17:26:00.268" v="272"/>
          <ac:spMkLst>
            <pc:docMk/>
            <pc:sldMk cId="1695560817" sldId="366"/>
            <ac:spMk id="112" creationId="{C7C79A18-A4DD-8B00-1B34-CA4C6F7995CF}"/>
          </ac:spMkLst>
        </pc:spChg>
        <pc:spChg chg="add del">
          <ac:chgData name="Guest User" userId="S::urn:spo:anon#c437c167f923f422528aee73b5e70e5726914197d2dec7f210a84ae49e8498a7::" providerId="AD" clId="Web-{239DA121-B219-84BB-8432-811246FFE42E}" dt="2022-03-28T17:26:00.268" v="271"/>
          <ac:spMkLst>
            <pc:docMk/>
            <pc:sldMk cId="1695560817" sldId="366"/>
            <ac:spMk id="114" creationId="{2DF8126E-ADA2-DDD2-7F38-AC80B91C3D9C}"/>
          </ac:spMkLst>
        </pc:spChg>
        <pc:spChg chg="add del">
          <ac:chgData name="Guest User" userId="S::urn:spo:anon#c437c167f923f422528aee73b5e70e5726914197d2dec7f210a84ae49e8498a7::" providerId="AD" clId="Web-{239DA121-B219-84BB-8432-811246FFE42E}" dt="2022-03-28T17:26:00.268" v="270"/>
          <ac:spMkLst>
            <pc:docMk/>
            <pc:sldMk cId="1695560817" sldId="366"/>
            <ac:spMk id="116" creationId="{7E9705AF-E318-BFAE-1DCD-54D777A97CED}"/>
          </ac:spMkLst>
        </pc:spChg>
        <pc:spChg chg="add del">
          <ac:chgData name="Guest User" userId="S::urn:spo:anon#c437c167f923f422528aee73b5e70e5726914197d2dec7f210a84ae49e8498a7::" providerId="AD" clId="Web-{239DA121-B219-84BB-8432-811246FFE42E}" dt="2022-03-28T17:26:00.268" v="269"/>
          <ac:spMkLst>
            <pc:docMk/>
            <pc:sldMk cId="1695560817" sldId="366"/>
            <ac:spMk id="118" creationId="{BCA16A79-D3AE-62BD-39AD-3533C6B8104A}"/>
          </ac:spMkLst>
        </pc:spChg>
        <pc:spChg chg="add del">
          <ac:chgData name="Guest User" userId="S::urn:spo:anon#c437c167f923f422528aee73b5e70e5726914197d2dec7f210a84ae49e8498a7::" providerId="AD" clId="Web-{239DA121-B219-84BB-8432-811246FFE42E}" dt="2022-03-28T17:26:00.268" v="268"/>
          <ac:spMkLst>
            <pc:docMk/>
            <pc:sldMk cId="1695560817" sldId="366"/>
            <ac:spMk id="120" creationId="{0CD1A307-EE83-04B0-0125-ABF985B30B9D}"/>
          </ac:spMkLst>
        </pc:spChg>
        <pc:spChg chg="add del">
          <ac:chgData name="Guest User" userId="S::urn:spo:anon#c437c167f923f422528aee73b5e70e5726914197d2dec7f210a84ae49e8498a7::" providerId="AD" clId="Web-{239DA121-B219-84BB-8432-811246FFE42E}" dt="2022-03-28T17:26:00.268" v="267"/>
          <ac:spMkLst>
            <pc:docMk/>
            <pc:sldMk cId="1695560817" sldId="366"/>
            <ac:spMk id="122" creationId="{40F2B42B-1905-DC22-4CF4-EDE8047DE703}"/>
          </ac:spMkLst>
        </pc:spChg>
        <pc:spChg chg="add del">
          <ac:chgData name="Guest User" userId="S::urn:spo:anon#c437c167f923f422528aee73b5e70e5726914197d2dec7f210a84ae49e8498a7::" providerId="AD" clId="Web-{239DA121-B219-84BB-8432-811246FFE42E}" dt="2022-03-28T17:26:00.268" v="266"/>
          <ac:spMkLst>
            <pc:docMk/>
            <pc:sldMk cId="1695560817" sldId="366"/>
            <ac:spMk id="124" creationId="{6A911C48-9175-0661-F5B5-467799BF90DC}"/>
          </ac:spMkLst>
        </pc:spChg>
        <pc:spChg chg="add del">
          <ac:chgData name="Guest User" userId="S::urn:spo:anon#c437c167f923f422528aee73b5e70e5726914197d2dec7f210a84ae49e8498a7::" providerId="AD" clId="Web-{239DA121-B219-84BB-8432-811246FFE42E}" dt="2022-03-28T17:26:00.268" v="265"/>
          <ac:spMkLst>
            <pc:docMk/>
            <pc:sldMk cId="1695560817" sldId="366"/>
            <ac:spMk id="126" creationId="{AFBB3774-708D-17E1-67A7-4125D906746A}"/>
          </ac:spMkLst>
        </pc:spChg>
        <pc:spChg chg="add del">
          <ac:chgData name="Guest User" userId="S::urn:spo:anon#c437c167f923f422528aee73b5e70e5726914197d2dec7f210a84ae49e8498a7::" providerId="AD" clId="Web-{239DA121-B219-84BB-8432-811246FFE42E}" dt="2022-03-28T17:26:00.268" v="264"/>
          <ac:spMkLst>
            <pc:docMk/>
            <pc:sldMk cId="1695560817" sldId="366"/>
            <ac:spMk id="128" creationId="{59912742-518A-AB85-6AFB-4A5F13F6E45D}"/>
          </ac:spMkLst>
        </pc:spChg>
        <pc:spChg chg="add del">
          <ac:chgData name="Guest User" userId="S::urn:spo:anon#c437c167f923f422528aee73b5e70e5726914197d2dec7f210a84ae49e8498a7::" providerId="AD" clId="Web-{239DA121-B219-84BB-8432-811246FFE42E}" dt="2022-03-28T17:26:00.268" v="263"/>
          <ac:spMkLst>
            <pc:docMk/>
            <pc:sldMk cId="1695560817" sldId="366"/>
            <ac:spMk id="130" creationId="{F148C3AD-6B91-6749-F47F-62F9C75360D5}"/>
          </ac:spMkLst>
        </pc:spChg>
        <pc:spChg chg="add del">
          <ac:chgData name="Guest User" userId="S::urn:spo:anon#c437c167f923f422528aee73b5e70e5726914197d2dec7f210a84ae49e8498a7::" providerId="AD" clId="Web-{239DA121-B219-84BB-8432-811246FFE42E}" dt="2022-03-28T17:26:00.268" v="262"/>
          <ac:spMkLst>
            <pc:docMk/>
            <pc:sldMk cId="1695560817" sldId="366"/>
            <ac:spMk id="132" creationId="{DB2A6352-B118-3594-8093-D4EE86CF3C3B}"/>
          </ac:spMkLst>
        </pc:spChg>
        <pc:spChg chg="add del">
          <ac:chgData name="Guest User" userId="S::urn:spo:anon#c437c167f923f422528aee73b5e70e5726914197d2dec7f210a84ae49e8498a7::" providerId="AD" clId="Web-{239DA121-B219-84BB-8432-811246FFE42E}" dt="2022-03-28T17:26:00.268" v="261"/>
          <ac:spMkLst>
            <pc:docMk/>
            <pc:sldMk cId="1695560817" sldId="366"/>
            <ac:spMk id="134" creationId="{E50D6AEA-978B-15FD-A917-28BA0D0BA97D}"/>
          </ac:spMkLst>
        </pc:spChg>
        <pc:spChg chg="add del">
          <ac:chgData name="Guest User" userId="S::urn:spo:anon#c437c167f923f422528aee73b5e70e5726914197d2dec7f210a84ae49e8498a7::" providerId="AD" clId="Web-{239DA121-B219-84BB-8432-811246FFE42E}" dt="2022-03-28T17:26:00.268" v="260"/>
          <ac:spMkLst>
            <pc:docMk/>
            <pc:sldMk cId="1695560817" sldId="366"/>
            <ac:spMk id="136" creationId="{09D32D4C-DA41-E7D9-E2CE-6BBEA85069E2}"/>
          </ac:spMkLst>
        </pc:spChg>
        <pc:spChg chg="add del">
          <ac:chgData name="Guest User" userId="S::urn:spo:anon#c437c167f923f422528aee73b5e70e5726914197d2dec7f210a84ae49e8498a7::" providerId="AD" clId="Web-{239DA121-B219-84BB-8432-811246FFE42E}" dt="2022-03-28T17:26:00.268" v="259"/>
          <ac:spMkLst>
            <pc:docMk/>
            <pc:sldMk cId="1695560817" sldId="366"/>
            <ac:spMk id="138" creationId="{29A8204C-E78B-EF34-9141-F011D8A21182}"/>
          </ac:spMkLst>
        </pc:spChg>
        <pc:spChg chg="add del">
          <ac:chgData name="Guest User" userId="S::urn:spo:anon#c437c167f923f422528aee73b5e70e5726914197d2dec7f210a84ae49e8498a7::" providerId="AD" clId="Web-{239DA121-B219-84BB-8432-811246FFE42E}" dt="2022-03-28T17:26:06.346" v="280"/>
          <ac:spMkLst>
            <pc:docMk/>
            <pc:sldMk cId="1695560817" sldId="366"/>
            <ac:spMk id="140" creationId="{FCA20C7A-A116-CBA3-1D06-08CBBAD29E5D}"/>
          </ac:spMkLst>
        </pc:spChg>
        <pc:spChg chg="add del">
          <ac:chgData name="Guest User" userId="S::urn:spo:anon#c437c167f923f422528aee73b5e70e5726914197d2dec7f210a84ae49e8498a7::" providerId="AD" clId="Web-{239DA121-B219-84BB-8432-811246FFE42E}" dt="2022-03-28T17:26:28.816" v="292"/>
          <ac:spMkLst>
            <pc:docMk/>
            <pc:sldMk cId="1695560817" sldId="366"/>
            <ac:spMk id="142" creationId="{0BA076D6-E558-5925-E1DF-CE1AB9933303}"/>
          </ac:spMkLst>
        </pc:spChg>
        <pc:spChg chg="add mod">
          <ac:chgData name="Guest User" userId="S::urn:spo:anon#c437c167f923f422528aee73b5e70e5726914197d2dec7f210a84ae49e8498a7::" providerId="AD" clId="Web-{239DA121-B219-84BB-8432-811246FFE42E}" dt="2022-03-28T17:26:48.582" v="301" actId="1076"/>
          <ac:spMkLst>
            <pc:docMk/>
            <pc:sldMk cId="1695560817" sldId="366"/>
            <ac:spMk id="144" creationId="{B58147B5-8D15-0CDB-3D97-316282865257}"/>
          </ac:spMkLst>
        </pc:spChg>
        <pc:spChg chg="add mod">
          <ac:chgData name="Guest User" userId="S::urn:spo:anon#c437c167f923f422528aee73b5e70e5726914197d2dec7f210a84ae49e8498a7::" providerId="AD" clId="Web-{239DA121-B219-84BB-8432-811246FFE42E}" dt="2022-03-28T17:26:48.613" v="303" actId="1076"/>
          <ac:spMkLst>
            <pc:docMk/>
            <pc:sldMk cId="1695560817" sldId="366"/>
            <ac:spMk id="152" creationId="{D045B593-F7C4-E5A1-A0EE-5FD358E7AB98}"/>
          </ac:spMkLst>
        </pc:spChg>
        <pc:spChg chg="add mod">
          <ac:chgData name="Guest User" userId="S::urn:spo:anon#c437c167f923f422528aee73b5e70e5726914197d2dec7f210a84ae49e8498a7::" providerId="AD" clId="Web-{239DA121-B219-84BB-8432-811246FFE42E}" dt="2022-03-28T17:26:48.629" v="304" actId="1076"/>
          <ac:spMkLst>
            <pc:docMk/>
            <pc:sldMk cId="1695560817" sldId="366"/>
            <ac:spMk id="154" creationId="{78A581DC-04CB-AB07-CF99-5807E41BC636}"/>
          </ac:spMkLst>
        </pc:spChg>
        <pc:spChg chg="add mod">
          <ac:chgData name="Guest User" userId="S::urn:spo:anon#c437c167f923f422528aee73b5e70e5726914197d2dec7f210a84ae49e8498a7::" providerId="AD" clId="Web-{239DA121-B219-84BB-8432-811246FFE42E}" dt="2022-03-28T17:26:48.644" v="306" actId="1076"/>
          <ac:spMkLst>
            <pc:docMk/>
            <pc:sldMk cId="1695560817" sldId="366"/>
            <ac:spMk id="160" creationId="{1B0BBF1C-E120-F159-D550-2E7E2D34401F}"/>
          </ac:spMkLst>
        </pc:spChg>
        <pc:picChg chg="add">
          <ac:chgData name="Guest User" userId="S::urn:spo:anon#c437c167f923f422528aee73b5e70e5726914197d2dec7f210a84ae49e8498a7::" providerId="AD" clId="Web-{239DA121-B219-84BB-8432-811246FFE42E}" dt="2022-03-28T17:25:25.751" v="190"/>
          <ac:picMkLst>
            <pc:docMk/>
            <pc:sldMk cId="1695560817" sldId="366"/>
            <ac:picMk id="48" creationId="{247921FD-8C4D-E554-1B1D-CACD41AF4EB2}"/>
          </ac:picMkLst>
        </pc:picChg>
        <pc:picChg chg="add">
          <ac:chgData name="Guest User" userId="S::urn:spo:anon#c437c167f923f422528aee73b5e70e5726914197d2dec7f210a84ae49e8498a7::" providerId="AD" clId="Web-{239DA121-B219-84BB-8432-811246FFE42E}" dt="2022-03-28T17:25:25.767" v="191"/>
          <ac:picMkLst>
            <pc:docMk/>
            <pc:sldMk cId="1695560817" sldId="366"/>
            <ac:picMk id="50" creationId="{085AC538-8759-5885-5CFF-B2873A0A6DEE}"/>
          </ac:picMkLst>
        </pc:picChg>
        <pc:picChg chg="add">
          <ac:chgData name="Guest User" userId="S::urn:spo:anon#c437c167f923f422528aee73b5e70e5726914197d2dec7f210a84ae49e8498a7::" providerId="AD" clId="Web-{239DA121-B219-84BB-8432-811246FFE42E}" dt="2022-03-28T17:25:26.251" v="216"/>
          <ac:picMkLst>
            <pc:docMk/>
            <pc:sldMk cId="1695560817" sldId="366"/>
            <ac:picMk id="100" creationId="{7C55F817-7127-B9AD-8941-666334782182}"/>
          </ac:picMkLst>
        </pc:picChg>
        <pc:picChg chg="add del">
          <ac:chgData name="Guest User" userId="S::urn:spo:anon#c437c167f923f422528aee73b5e70e5726914197d2dec7f210a84ae49e8498a7::" providerId="AD" clId="Web-{239DA121-B219-84BB-8432-811246FFE42E}" dt="2022-03-28T17:26:00.268" v="275"/>
          <ac:picMkLst>
            <pc:docMk/>
            <pc:sldMk cId="1695560817" sldId="366"/>
            <ac:picMk id="106" creationId="{BF0181C3-311F-004B-EA29-5C794FF3CC16}"/>
          </ac:picMkLst>
        </pc:picChg>
        <pc:cxnChg chg="add">
          <ac:chgData name="Guest User" userId="S::urn:spo:anon#c437c167f923f422528aee73b5e70e5726914197d2dec7f210a84ae49e8498a7::" providerId="AD" clId="Web-{239DA121-B219-84BB-8432-811246FFE42E}" dt="2022-03-28T17:25:25.454" v="169"/>
          <ac:cxnSpMkLst>
            <pc:docMk/>
            <pc:sldMk cId="1695560817" sldId="366"/>
            <ac:cxnSpMk id="6" creationId="{93B44884-CA6C-5AA3-291A-DEE7CBAC1036}"/>
          </ac:cxnSpMkLst>
        </pc:cxnChg>
        <pc:cxnChg chg="add">
          <ac:chgData name="Guest User" userId="S::urn:spo:anon#c437c167f923f422528aee73b5e70e5726914197d2dec7f210a84ae49e8498a7::" providerId="AD" clId="Web-{239DA121-B219-84BB-8432-811246FFE42E}" dt="2022-03-28T17:25:25.783" v="192"/>
          <ac:cxnSpMkLst>
            <pc:docMk/>
            <pc:sldMk cId="1695560817" sldId="366"/>
            <ac:cxnSpMk id="52" creationId="{4B6288B0-2F92-BABF-949C-D41DF2E2967F}"/>
          </ac:cxnSpMkLst>
        </pc:cxnChg>
        <pc:cxnChg chg="add">
          <ac:chgData name="Guest User" userId="S::urn:spo:anon#c437c167f923f422528aee73b5e70e5726914197d2dec7f210a84ae49e8498a7::" providerId="AD" clId="Web-{239DA121-B219-84BB-8432-811246FFE42E}" dt="2022-03-28T17:25:25.798" v="193"/>
          <ac:cxnSpMkLst>
            <pc:docMk/>
            <pc:sldMk cId="1695560817" sldId="366"/>
            <ac:cxnSpMk id="54" creationId="{44C4834B-3B18-7CC0-FDEA-E47378DAF764}"/>
          </ac:cxnSpMkLst>
        </pc:cxnChg>
        <pc:cxnChg chg="add">
          <ac:chgData name="Guest User" userId="S::urn:spo:anon#c437c167f923f422528aee73b5e70e5726914197d2dec7f210a84ae49e8498a7::" providerId="AD" clId="Web-{239DA121-B219-84BB-8432-811246FFE42E}" dt="2022-03-28T17:25:25.814" v="194"/>
          <ac:cxnSpMkLst>
            <pc:docMk/>
            <pc:sldMk cId="1695560817" sldId="366"/>
            <ac:cxnSpMk id="56" creationId="{62555E59-04A5-FFF1-EE9E-8961465F1E1D}"/>
          </ac:cxnSpMkLst>
        </pc:cxnChg>
        <pc:cxnChg chg="add">
          <ac:chgData name="Guest User" userId="S::urn:spo:anon#c437c167f923f422528aee73b5e70e5726914197d2dec7f210a84ae49e8498a7::" providerId="AD" clId="Web-{239DA121-B219-84BB-8432-811246FFE42E}" dt="2022-03-28T17:25:25.829" v="195"/>
          <ac:cxnSpMkLst>
            <pc:docMk/>
            <pc:sldMk cId="1695560817" sldId="366"/>
            <ac:cxnSpMk id="58" creationId="{535ECF66-8691-DE21-C4CE-662C1B8607F9}"/>
          </ac:cxnSpMkLst>
        </pc:cxnChg>
        <pc:cxnChg chg="add">
          <ac:chgData name="Guest User" userId="S::urn:spo:anon#c437c167f923f422528aee73b5e70e5726914197d2dec7f210a84ae49e8498a7::" providerId="AD" clId="Web-{239DA121-B219-84BB-8432-811246FFE42E}" dt="2022-03-28T17:25:25.845" v="196"/>
          <ac:cxnSpMkLst>
            <pc:docMk/>
            <pc:sldMk cId="1695560817" sldId="366"/>
            <ac:cxnSpMk id="60" creationId="{02BE5020-33F7-66E4-4A1C-71874FD6410E}"/>
          </ac:cxnSpMkLst>
        </pc:cxnChg>
        <pc:cxnChg chg="add">
          <ac:chgData name="Guest User" userId="S::urn:spo:anon#c437c167f923f422528aee73b5e70e5726914197d2dec7f210a84ae49e8498a7::" providerId="AD" clId="Web-{239DA121-B219-84BB-8432-811246FFE42E}" dt="2022-03-28T17:25:25.861" v="197"/>
          <ac:cxnSpMkLst>
            <pc:docMk/>
            <pc:sldMk cId="1695560817" sldId="366"/>
            <ac:cxnSpMk id="62" creationId="{63E5A2FA-D102-2F1F-0789-DF98497CD653}"/>
          </ac:cxnSpMkLst>
        </pc:cxnChg>
        <pc:cxnChg chg="add">
          <ac:chgData name="Guest User" userId="S::urn:spo:anon#c437c167f923f422528aee73b5e70e5726914197d2dec7f210a84ae49e8498a7::" providerId="AD" clId="Web-{239DA121-B219-84BB-8432-811246FFE42E}" dt="2022-03-28T17:25:25.876" v="198"/>
          <ac:cxnSpMkLst>
            <pc:docMk/>
            <pc:sldMk cId="1695560817" sldId="366"/>
            <ac:cxnSpMk id="64" creationId="{6F5954C0-39F3-16CC-1C37-0EDB244C7946}"/>
          </ac:cxnSpMkLst>
        </pc:cxnChg>
        <pc:cxnChg chg="add">
          <ac:chgData name="Guest User" userId="S::urn:spo:anon#c437c167f923f422528aee73b5e70e5726914197d2dec7f210a84ae49e8498a7::" providerId="AD" clId="Web-{239DA121-B219-84BB-8432-811246FFE42E}" dt="2022-03-28T17:25:25.892" v="199"/>
          <ac:cxnSpMkLst>
            <pc:docMk/>
            <pc:sldMk cId="1695560817" sldId="366"/>
            <ac:cxnSpMk id="66" creationId="{96C67065-8CD6-E1D8-2668-060B4C39DAC4}"/>
          </ac:cxnSpMkLst>
        </pc:cxnChg>
        <pc:cxnChg chg="add del">
          <ac:chgData name="Guest User" userId="S::urn:spo:anon#c437c167f923f422528aee73b5e70e5726914197d2dec7f210a84ae49e8498a7::" providerId="AD" clId="Web-{239DA121-B219-84BB-8432-811246FFE42E}" dt="2022-03-28T17:26:15.253" v="286"/>
          <ac:cxnSpMkLst>
            <pc:docMk/>
            <pc:sldMk cId="1695560817" sldId="366"/>
            <ac:cxnSpMk id="68" creationId="{952677A3-E648-726A-88CB-47C75967A53A}"/>
          </ac:cxnSpMkLst>
        </pc:cxnChg>
        <pc:cxnChg chg="add">
          <ac:chgData name="Guest User" userId="S::urn:spo:anon#c437c167f923f422528aee73b5e70e5726914197d2dec7f210a84ae49e8498a7::" providerId="AD" clId="Web-{239DA121-B219-84BB-8432-811246FFE42E}" dt="2022-03-28T17:25:25.923" v="201"/>
          <ac:cxnSpMkLst>
            <pc:docMk/>
            <pc:sldMk cId="1695560817" sldId="366"/>
            <ac:cxnSpMk id="70" creationId="{36AB945C-B067-EFEB-F8C0-06799B81FEEF}"/>
          </ac:cxnSpMkLst>
        </pc:cxnChg>
        <pc:cxnChg chg="add">
          <ac:chgData name="Guest User" userId="S::urn:spo:anon#c437c167f923f422528aee73b5e70e5726914197d2dec7f210a84ae49e8498a7::" providerId="AD" clId="Web-{239DA121-B219-84BB-8432-811246FFE42E}" dt="2022-03-28T17:25:26.173" v="212"/>
          <ac:cxnSpMkLst>
            <pc:docMk/>
            <pc:sldMk cId="1695560817" sldId="366"/>
            <ac:cxnSpMk id="92" creationId="{95332B53-DA5E-B171-E911-5630D8D71783}"/>
          </ac:cxnSpMkLst>
        </pc:cxnChg>
        <pc:cxnChg chg="add">
          <ac:chgData name="Guest User" userId="S::urn:spo:anon#c437c167f923f422528aee73b5e70e5726914197d2dec7f210a84ae49e8498a7::" providerId="AD" clId="Web-{239DA121-B219-84BB-8432-811246FFE42E}" dt="2022-03-28T17:25:26.189" v="213"/>
          <ac:cxnSpMkLst>
            <pc:docMk/>
            <pc:sldMk cId="1695560817" sldId="366"/>
            <ac:cxnSpMk id="94" creationId="{60E77512-710D-3C80-18A9-A2DDB839C5F2}"/>
          </ac:cxnSpMkLst>
        </pc:cxnChg>
        <pc:cxnChg chg="add">
          <ac:chgData name="Guest User" userId="S::urn:spo:anon#c437c167f923f422528aee73b5e70e5726914197d2dec7f210a84ae49e8498a7::" providerId="AD" clId="Web-{239DA121-B219-84BB-8432-811246FFE42E}" dt="2022-03-28T17:25:26.204" v="214"/>
          <ac:cxnSpMkLst>
            <pc:docMk/>
            <pc:sldMk cId="1695560817" sldId="366"/>
            <ac:cxnSpMk id="96" creationId="{370D1839-E491-D94C-A901-6D494DA2FE09}"/>
          </ac:cxnSpMkLst>
        </pc:cxnChg>
        <pc:cxnChg chg="add mod">
          <ac:chgData name="Guest User" userId="S::urn:spo:anon#c437c167f923f422528aee73b5e70e5726914197d2dec7f210a84ae49e8498a7::" providerId="AD" clId="Web-{239DA121-B219-84BB-8432-811246FFE42E}" dt="2022-03-28T17:26:48.582" v="300" actId="1076"/>
          <ac:cxnSpMkLst>
            <pc:docMk/>
            <pc:sldMk cId="1695560817" sldId="366"/>
            <ac:cxnSpMk id="98" creationId="{85C2030F-99FB-114D-1D61-89942ADE6DD2}"/>
          </ac:cxnSpMkLst>
        </pc:cxnChg>
        <pc:cxnChg chg="add del">
          <ac:chgData name="Guest User" userId="S::urn:spo:anon#c437c167f923f422528aee73b5e70e5726914197d2dec7f210a84ae49e8498a7::" providerId="AD" clId="Web-{239DA121-B219-84BB-8432-811246FFE42E}" dt="2022-03-28T17:26:00.268" v="277"/>
          <ac:cxnSpMkLst>
            <pc:docMk/>
            <pc:sldMk cId="1695560817" sldId="366"/>
            <ac:cxnSpMk id="102" creationId="{D360A48A-60AB-6CAE-47A4-FD5B9D879929}"/>
          </ac:cxnSpMkLst>
        </pc:cxnChg>
        <pc:cxnChg chg="add">
          <ac:chgData name="Guest User" userId="S::urn:spo:anon#c437c167f923f422528aee73b5e70e5726914197d2dec7f210a84ae49e8498a7::" providerId="AD" clId="Web-{239DA121-B219-84BB-8432-811246FFE42E}" dt="2022-03-28T17:25:26.845" v="239"/>
          <ac:cxnSpMkLst>
            <pc:docMk/>
            <pc:sldMk cId="1695560817" sldId="366"/>
            <ac:cxnSpMk id="146" creationId="{4D364F69-3564-41A7-3EFD-B7D27DFC2072}"/>
          </ac:cxnSpMkLst>
        </pc:cxnChg>
        <pc:cxnChg chg="add mod">
          <ac:chgData name="Guest User" userId="S::urn:spo:anon#c437c167f923f422528aee73b5e70e5726914197d2dec7f210a84ae49e8498a7::" providerId="AD" clId="Web-{239DA121-B219-84BB-8432-811246FFE42E}" dt="2022-03-28T17:26:56.613" v="307" actId="1076"/>
          <ac:cxnSpMkLst>
            <pc:docMk/>
            <pc:sldMk cId="1695560817" sldId="366"/>
            <ac:cxnSpMk id="148" creationId="{B3DF6322-9A6F-5678-45E8-CA5C01B8B47E}"/>
          </ac:cxnSpMkLst>
        </pc:cxnChg>
        <pc:cxnChg chg="add">
          <ac:chgData name="Guest User" userId="S::urn:spo:anon#c437c167f923f422528aee73b5e70e5726914197d2dec7f210a84ae49e8498a7::" providerId="AD" clId="Web-{239DA121-B219-84BB-8432-811246FFE42E}" dt="2022-03-28T17:25:26.892" v="241"/>
          <ac:cxnSpMkLst>
            <pc:docMk/>
            <pc:sldMk cId="1695560817" sldId="366"/>
            <ac:cxnSpMk id="150" creationId="{D49C1234-00B4-FA66-7F6F-4296EED6C78B}"/>
          </ac:cxnSpMkLst>
        </pc:cxnChg>
        <pc:cxnChg chg="add">
          <ac:chgData name="Guest User" userId="S::urn:spo:anon#c437c167f923f422528aee73b5e70e5726914197d2dec7f210a84ae49e8498a7::" providerId="AD" clId="Web-{239DA121-B219-84BB-8432-811246FFE42E}" dt="2022-03-28T17:25:26.986" v="244"/>
          <ac:cxnSpMkLst>
            <pc:docMk/>
            <pc:sldMk cId="1695560817" sldId="366"/>
            <ac:cxnSpMk id="156" creationId="{CAA265DC-3C96-67B2-F5B5-32638EBD5DCB}"/>
          </ac:cxnSpMkLst>
        </pc:cxnChg>
        <pc:cxnChg chg="add mod">
          <ac:chgData name="Guest User" userId="S::urn:spo:anon#c437c167f923f422528aee73b5e70e5726914197d2dec7f210a84ae49e8498a7::" providerId="AD" clId="Web-{239DA121-B219-84BB-8432-811246FFE42E}" dt="2022-03-28T17:26:56.629" v="308" actId="1076"/>
          <ac:cxnSpMkLst>
            <pc:docMk/>
            <pc:sldMk cId="1695560817" sldId="366"/>
            <ac:cxnSpMk id="158" creationId="{296D08FB-F752-2463-4CD2-5BD82CD678B1}"/>
          </ac:cxnSpMkLst>
        </pc:cxnChg>
        <pc:cxnChg chg="add">
          <ac:chgData name="Guest User" userId="S::urn:spo:anon#c437c167f923f422528aee73b5e70e5726914197d2dec7f210a84ae49e8498a7::" providerId="AD" clId="Web-{239DA121-B219-84BB-8432-811246FFE42E}" dt="2022-03-28T17:25:27.080" v="247"/>
          <ac:cxnSpMkLst>
            <pc:docMk/>
            <pc:sldMk cId="1695560817" sldId="366"/>
            <ac:cxnSpMk id="162" creationId="{349F29BE-D19B-F111-BDED-443D0EEE482C}"/>
          </ac:cxnSpMkLst>
        </pc:cxnChg>
        <pc:cxnChg chg="add mod">
          <ac:chgData name="Guest User" userId="S::urn:spo:anon#c437c167f923f422528aee73b5e70e5726914197d2dec7f210a84ae49e8498a7::" providerId="AD" clId="Web-{239DA121-B219-84BB-8432-811246FFE42E}" dt="2022-03-28T17:26:26.284" v="291" actId="1076"/>
          <ac:cxnSpMkLst>
            <pc:docMk/>
            <pc:sldMk cId="1695560817" sldId="366"/>
            <ac:cxnSpMk id="163" creationId="{239D5AB9-9EAB-07FA-6DAA-29766725F05B}"/>
          </ac:cxnSpMkLst>
        </pc:cxnChg>
      </pc:sldChg>
      <pc:sldChg chg="modSp add replId">
        <pc:chgData name="Guest User" userId="S::urn:spo:anon#c437c167f923f422528aee73b5e70e5726914197d2dec7f210a84ae49e8498a7::" providerId="AD" clId="Web-{239DA121-B219-84BB-8432-811246FFE42E}" dt="2022-03-28T17:22:44.512" v="128" actId="20577"/>
        <pc:sldMkLst>
          <pc:docMk/>
          <pc:sldMk cId="3762238417" sldId="367"/>
        </pc:sldMkLst>
        <pc:spChg chg="mod">
          <ac:chgData name="Guest User" userId="S::urn:spo:anon#c437c167f923f422528aee73b5e70e5726914197d2dec7f210a84ae49e8498a7::" providerId="AD" clId="Web-{239DA121-B219-84BB-8432-811246FFE42E}" dt="2022-03-28T17:22:44.512" v="128" actId="20577"/>
          <ac:spMkLst>
            <pc:docMk/>
            <pc:sldMk cId="3762238417" sldId="367"/>
            <ac:spMk id="2" creationId="{AB52A157-2CB8-6DCB-8D3B-00713BF25DCA}"/>
          </ac:spMkLst>
        </pc:spChg>
      </pc:sldChg>
      <pc:sldChg chg="addSp modSp add replId">
        <pc:chgData name="Guest User" userId="S::urn:spo:anon#c437c167f923f422528aee73b5e70e5726914197d2dec7f210a84ae49e8498a7::" providerId="AD" clId="Web-{239DA121-B219-84BB-8432-811246FFE42E}" dt="2022-03-28T18:57:36.473" v="694" actId="1076"/>
        <pc:sldMkLst>
          <pc:docMk/>
          <pc:sldMk cId="2478994861" sldId="368"/>
        </pc:sldMkLst>
        <pc:spChg chg="add mod">
          <ac:chgData name="Guest User" userId="S::urn:spo:anon#c437c167f923f422528aee73b5e70e5726914197d2dec7f210a84ae49e8498a7::" providerId="AD" clId="Web-{239DA121-B219-84BB-8432-811246FFE42E}" dt="2022-03-28T18:57:36.473" v="694" actId="1076"/>
          <ac:spMkLst>
            <pc:docMk/>
            <pc:sldMk cId="2478994861" sldId="368"/>
            <ac:spMk id="2" creationId="{21341976-A30E-8DF4-FA0F-84AB0DCAFE92}"/>
          </ac:spMkLst>
        </pc:spChg>
        <pc:spChg chg="mod">
          <ac:chgData name="Guest User" userId="S::urn:spo:anon#c437c167f923f422528aee73b5e70e5726914197d2dec7f210a84ae49e8498a7::" providerId="AD" clId="Web-{239DA121-B219-84BB-8432-811246FFE42E}" dt="2022-03-28T18:56:25.549" v="601" actId="1076"/>
          <ac:spMkLst>
            <pc:docMk/>
            <pc:sldMk cId="2478994861" sldId="368"/>
            <ac:spMk id="61" creationId="{4BA3EC63-1DC5-486F-98BD-5666DBC31E58}"/>
          </ac:spMkLst>
        </pc:spChg>
        <pc:spChg chg="add mod">
          <ac:chgData name="Guest User" userId="S::urn:spo:anon#c437c167f923f422528aee73b5e70e5726914197d2dec7f210a84ae49e8498a7::" providerId="AD" clId="Web-{239DA121-B219-84BB-8432-811246FFE42E}" dt="2022-03-28T18:56:00.892" v="587" actId="14100"/>
          <ac:spMkLst>
            <pc:docMk/>
            <pc:sldMk cId="2478994861" sldId="368"/>
            <ac:spMk id="62" creationId="{7C38ED33-15FA-DD2F-D2BB-F9CB5C3D7768}"/>
          </ac:spMkLst>
        </pc:spChg>
        <pc:spChg chg="add mod">
          <ac:chgData name="Guest User" userId="S::urn:spo:anon#c437c167f923f422528aee73b5e70e5726914197d2dec7f210a84ae49e8498a7::" providerId="AD" clId="Web-{239DA121-B219-84BB-8432-811246FFE42E}" dt="2022-03-28T18:55:47.955" v="582" actId="20577"/>
          <ac:spMkLst>
            <pc:docMk/>
            <pc:sldMk cId="2478994861" sldId="368"/>
            <ac:spMk id="63" creationId="{CBD92A69-7A92-2A34-B750-58A1C3B80D32}"/>
          </ac:spMkLst>
        </pc:spChg>
        <pc:spChg chg="add mod">
          <ac:chgData name="Guest User" userId="S::urn:spo:anon#c437c167f923f422528aee73b5e70e5726914197d2dec7f210a84ae49e8498a7::" providerId="AD" clId="Web-{239DA121-B219-84BB-8432-811246FFE42E}" dt="2022-03-28T18:56:11.830" v="591" actId="14100"/>
          <ac:spMkLst>
            <pc:docMk/>
            <pc:sldMk cId="2478994861" sldId="368"/>
            <ac:spMk id="64" creationId="{B8A806A1-9412-EE42-CBEB-8403E3D84FAA}"/>
          </ac:spMkLst>
        </pc:spChg>
        <pc:spChg chg="mod">
          <ac:chgData name="Guest User" userId="S::urn:spo:anon#c437c167f923f422528aee73b5e70e5726914197d2dec7f210a84ae49e8498a7::" providerId="AD" clId="Web-{239DA121-B219-84BB-8432-811246FFE42E}" dt="2022-03-28T18:55:57.033" v="586" actId="14100"/>
          <ac:spMkLst>
            <pc:docMk/>
            <pc:sldMk cId="2478994861" sldId="368"/>
            <ac:spMk id="312" creationId="{00000000-0000-0000-0000-000000000000}"/>
          </ac:spMkLst>
        </pc:spChg>
      </pc:sldChg>
    </pc:docChg>
  </pc:docChgLst>
  <pc:docChgLst>
    <pc:chgData name="Guest User" userId="S::urn:spo:anon#c437c167f923f422528aee73b5e70e5726914197d2dec7f210a84ae49e8498a7::" providerId="AD" clId="Web-{BC64E94A-3B8D-DFA7-17C9-EAA2CCD87940}"/>
    <pc:docChg chg="modSld">
      <pc:chgData name="Guest User" userId="S::urn:spo:anon#c437c167f923f422528aee73b5e70e5726914197d2dec7f210a84ae49e8498a7::" providerId="AD" clId="Web-{BC64E94A-3B8D-DFA7-17C9-EAA2CCD87940}" dt="2022-04-04T20:29:14.149" v="5" actId="20577"/>
      <pc:docMkLst>
        <pc:docMk/>
      </pc:docMkLst>
      <pc:sldChg chg="modSp">
        <pc:chgData name="Guest User" userId="S::urn:spo:anon#c437c167f923f422528aee73b5e70e5726914197d2dec7f210a84ae49e8498a7::" providerId="AD" clId="Web-{BC64E94A-3B8D-DFA7-17C9-EAA2CCD87940}" dt="2022-04-04T20:29:14.149" v="5" actId="20577"/>
        <pc:sldMkLst>
          <pc:docMk/>
          <pc:sldMk cId="3762238417" sldId="367"/>
        </pc:sldMkLst>
        <pc:spChg chg="mod">
          <ac:chgData name="Guest User" userId="S::urn:spo:anon#c437c167f923f422528aee73b5e70e5726914197d2dec7f210a84ae49e8498a7::" providerId="AD" clId="Web-{BC64E94A-3B8D-DFA7-17C9-EAA2CCD87940}" dt="2022-04-04T20:29:14.149" v="5" actId="20577"/>
          <ac:spMkLst>
            <pc:docMk/>
            <pc:sldMk cId="3762238417" sldId="367"/>
            <ac:spMk id="3" creationId="{346B9D98-5C00-250F-2E85-76FD3A920D22}"/>
          </ac:spMkLst>
        </pc:spChg>
      </pc:sldChg>
    </pc:docChg>
  </pc:docChgLst>
  <pc:docChgLst>
    <pc:chgData name="Guest User" userId="S::urn:spo:anon#bc72e6c931b442e1b83d9d7baffb28dcb7bee849e2d9a5e2bb7cc25170a1c113::" providerId="AD" clId="Web-{8ECB7763-2331-16D6-E9D3-4C8F962E284A}"/>
    <pc:docChg chg="modSld">
      <pc:chgData name="Guest User" userId="S::urn:spo:anon#bc72e6c931b442e1b83d9d7baffb28dcb7bee849e2d9a5e2bb7cc25170a1c113::" providerId="AD" clId="Web-{8ECB7763-2331-16D6-E9D3-4C8F962E284A}" dt="2022-03-22T16:15:54.663" v="111" actId="20577"/>
      <pc:docMkLst>
        <pc:docMk/>
      </pc:docMkLst>
      <pc:sldChg chg="addSp modSp">
        <pc:chgData name="Guest User" userId="S::urn:spo:anon#bc72e6c931b442e1b83d9d7baffb28dcb7bee849e2d9a5e2bb7cc25170a1c113::" providerId="AD" clId="Web-{8ECB7763-2331-16D6-E9D3-4C8F962E284A}" dt="2022-03-22T16:15:54.663" v="111" actId="20577"/>
        <pc:sldMkLst>
          <pc:docMk/>
          <pc:sldMk cId="2963563579" sldId="348"/>
        </pc:sldMkLst>
        <pc:spChg chg="add mod">
          <ac:chgData name="Guest User" userId="S::urn:spo:anon#bc72e6c931b442e1b83d9d7baffb28dcb7bee849e2d9a5e2bb7cc25170a1c113::" providerId="AD" clId="Web-{8ECB7763-2331-16D6-E9D3-4C8F962E284A}" dt="2022-03-22T16:15:54.663" v="111" actId="20577"/>
          <ac:spMkLst>
            <pc:docMk/>
            <pc:sldMk cId="2963563579" sldId="348"/>
            <ac:spMk id="4" creationId="{7E99DE7C-9F18-B33F-8154-9FB35F971E34}"/>
          </ac:spMkLst>
        </pc:spChg>
        <pc:spChg chg="mod">
          <ac:chgData name="Guest User" userId="S::urn:spo:anon#bc72e6c931b442e1b83d9d7baffb28dcb7bee849e2d9a5e2bb7cc25170a1c113::" providerId="AD" clId="Web-{8ECB7763-2331-16D6-E9D3-4C8F962E284A}" dt="2022-03-22T16:14:47.755" v="94" actId="1076"/>
          <ac:spMkLst>
            <pc:docMk/>
            <pc:sldMk cId="2963563579" sldId="348"/>
            <ac:spMk id="8" creationId="{63314686-1D13-4553-B700-6ED15E618005}"/>
          </ac:spMkLst>
        </pc:spChg>
        <pc:spChg chg="add mod">
          <ac:chgData name="Guest User" userId="S::urn:spo:anon#bc72e6c931b442e1b83d9d7baffb28dcb7bee849e2d9a5e2bb7cc25170a1c113::" providerId="AD" clId="Web-{8ECB7763-2331-16D6-E9D3-4C8F962E284A}" dt="2022-03-22T16:15:49.273" v="107" actId="1076"/>
          <ac:spMkLst>
            <pc:docMk/>
            <pc:sldMk cId="2963563579" sldId="348"/>
            <ac:spMk id="16" creationId="{F6466A26-FAF8-4506-3FF0-3EF6BF3C065A}"/>
          </ac:spMkLst>
        </pc:spChg>
        <pc:spChg chg="mod">
          <ac:chgData name="Guest User" userId="S::urn:spo:anon#bc72e6c931b442e1b83d9d7baffb28dcb7bee849e2d9a5e2bb7cc25170a1c113::" providerId="AD" clId="Web-{8ECB7763-2331-16D6-E9D3-4C8F962E284A}" dt="2022-03-22T16:10:51.608" v="3" actId="20577"/>
          <ac:spMkLst>
            <pc:docMk/>
            <pc:sldMk cId="2963563579" sldId="348"/>
            <ac:spMk id="601" creationId="{00000000-0000-0000-0000-000000000000}"/>
          </ac:spMkLst>
        </pc:spChg>
      </pc:sldChg>
    </pc:docChg>
  </pc:docChgLst>
  <pc:docChgLst>
    <pc:chgData name="Guest User" userId="S::urn:spo:anon#6bbc8ad3065cd11d92081721a572e8f9c9b85cc64084c82913bb48609c033f69::" providerId="AD" clId="Web-{E5083D3F-752C-44C0-AEB5-4F1BCC5D4427}"/>
    <pc:docChg chg="modSld">
      <pc:chgData name="Guest User" userId="S::urn:spo:anon#6bbc8ad3065cd11d92081721a572e8f9c9b85cc64084c82913bb48609c033f69::" providerId="AD" clId="Web-{E5083D3F-752C-44C0-AEB5-4F1BCC5D4427}" dt="2022-04-18T22:10:40.294" v="295" actId="20577"/>
      <pc:docMkLst>
        <pc:docMk/>
      </pc:docMkLst>
      <pc:sldChg chg="addSp delSp modSp">
        <pc:chgData name="Guest User" userId="S::urn:spo:anon#6bbc8ad3065cd11d92081721a572e8f9c9b85cc64084c82913bb48609c033f69::" providerId="AD" clId="Web-{E5083D3F-752C-44C0-AEB5-4F1BCC5D4427}" dt="2022-04-18T22:10:40.294" v="295" actId="20577"/>
        <pc:sldMkLst>
          <pc:docMk/>
          <pc:sldMk cId="604654217" sldId="375"/>
        </pc:sldMkLst>
        <pc:spChg chg="mod">
          <ac:chgData name="Guest User" userId="S::urn:spo:anon#6bbc8ad3065cd11d92081721a572e8f9c9b85cc64084c82913bb48609c033f69::" providerId="AD" clId="Web-{E5083D3F-752C-44C0-AEB5-4F1BCC5D4427}" dt="2022-04-18T22:00:06.017" v="21" actId="20577"/>
          <ac:spMkLst>
            <pc:docMk/>
            <pc:sldMk cId="604654217" sldId="375"/>
            <ac:spMk id="2" creationId="{AB52A157-2CB8-6DCB-8D3B-00713BF25DCA}"/>
          </ac:spMkLst>
        </pc:spChg>
        <pc:spChg chg="mod">
          <ac:chgData name="Guest User" userId="S::urn:spo:anon#6bbc8ad3065cd11d92081721a572e8f9c9b85cc64084c82913bb48609c033f69::" providerId="AD" clId="Web-{E5083D3F-752C-44C0-AEB5-4F1BCC5D4427}" dt="2022-04-18T21:58:44.747" v="7" actId="1076"/>
          <ac:spMkLst>
            <pc:docMk/>
            <pc:sldMk cId="604654217" sldId="375"/>
            <ac:spMk id="3" creationId="{F03BF3E3-2FF5-0140-4700-BF9F0847A0B5}"/>
          </ac:spMkLst>
        </pc:spChg>
        <pc:spChg chg="add del mod">
          <ac:chgData name="Guest User" userId="S::urn:spo:anon#6bbc8ad3065cd11d92081721a572e8f9c9b85cc64084c82913bb48609c033f69::" providerId="AD" clId="Web-{E5083D3F-752C-44C0-AEB5-4F1BCC5D4427}" dt="2022-04-18T22:08:02.627" v="274"/>
          <ac:spMkLst>
            <pc:docMk/>
            <pc:sldMk cId="604654217" sldId="375"/>
            <ac:spMk id="11" creationId="{8D7CAF25-33AF-90D4-1A3A-56013674887E}"/>
          </ac:spMkLst>
        </pc:spChg>
        <pc:spChg chg="add mod">
          <ac:chgData name="Guest User" userId="S::urn:spo:anon#6bbc8ad3065cd11d92081721a572e8f9c9b85cc64084c82913bb48609c033f69::" providerId="AD" clId="Web-{E5083D3F-752C-44C0-AEB5-4F1BCC5D4427}" dt="2022-04-18T22:10:12.136" v="292" actId="1076"/>
          <ac:spMkLst>
            <pc:docMk/>
            <pc:sldMk cId="604654217" sldId="375"/>
            <ac:spMk id="12" creationId="{11A97723-78EB-2746-C449-97F68B2B20F8}"/>
          </ac:spMkLst>
        </pc:spChg>
        <pc:spChg chg="mod">
          <ac:chgData name="Guest User" userId="S::urn:spo:anon#6bbc8ad3065cd11d92081721a572e8f9c9b85cc64084c82913bb48609c033f69::" providerId="AD" clId="Web-{E5083D3F-752C-44C0-AEB5-4F1BCC5D4427}" dt="2022-04-18T22:09:22.476" v="283" actId="1076"/>
          <ac:spMkLst>
            <pc:docMk/>
            <pc:sldMk cId="604654217" sldId="375"/>
            <ac:spMk id="17" creationId="{16623418-AEE4-4D13-9926-C0DB516429A9}"/>
          </ac:spMkLst>
        </pc:spChg>
        <pc:spChg chg="mod">
          <ac:chgData name="Guest User" userId="S::urn:spo:anon#6bbc8ad3065cd11d92081721a572e8f9c9b85cc64084c82913bb48609c033f69::" providerId="AD" clId="Web-{E5083D3F-752C-44C0-AEB5-4F1BCC5D4427}" dt="2022-04-18T22:10:40.294" v="295" actId="20577"/>
          <ac:spMkLst>
            <pc:docMk/>
            <pc:sldMk cId="604654217" sldId="375"/>
            <ac:spMk id="18" creationId="{B370B159-D794-4F64-86E6-5EB05042EAF3}"/>
          </ac:spMkLst>
        </pc:spChg>
        <pc:picChg chg="add mod">
          <ac:chgData name="Guest User" userId="S::urn:spo:anon#6bbc8ad3065cd11d92081721a572e8f9c9b85cc64084c82913bb48609c033f69::" providerId="AD" clId="Web-{E5083D3F-752C-44C0-AEB5-4F1BCC5D4427}" dt="2022-04-18T22:09:28.539" v="284" actId="1076"/>
          <ac:picMkLst>
            <pc:docMk/>
            <pc:sldMk cId="604654217" sldId="375"/>
            <ac:picMk id="10" creationId="{3E992C56-5033-88A7-667E-FA2E4A8AEF15}"/>
          </ac:picMkLst>
        </pc:picChg>
        <pc:picChg chg="add mod">
          <ac:chgData name="Guest User" userId="S::urn:spo:anon#6bbc8ad3065cd11d92081721a572e8f9c9b85cc64084c82913bb48609c033f69::" providerId="AD" clId="Web-{E5083D3F-752C-44C0-AEB5-4F1BCC5D4427}" dt="2022-04-18T22:09:57.760" v="289" actId="14100"/>
          <ac:picMkLst>
            <pc:docMk/>
            <pc:sldMk cId="604654217" sldId="375"/>
            <ac:picMk id="13" creationId="{ADA510CB-1F13-998E-5596-6A5EB814B6B1}"/>
          </ac:picMkLst>
        </pc:picChg>
      </pc:sldChg>
      <pc:sldChg chg="modSp">
        <pc:chgData name="Guest User" userId="S::urn:spo:anon#6bbc8ad3065cd11d92081721a572e8f9c9b85cc64084c82913bb48609c033f69::" providerId="AD" clId="Web-{E5083D3F-752C-44C0-AEB5-4F1BCC5D4427}" dt="2022-04-18T21:56:34.285" v="6" actId="20577"/>
        <pc:sldMkLst>
          <pc:docMk/>
          <pc:sldMk cId="0" sldId="384"/>
        </pc:sldMkLst>
        <pc:spChg chg="mod">
          <ac:chgData name="Guest User" userId="S::urn:spo:anon#6bbc8ad3065cd11d92081721a572e8f9c9b85cc64084c82913bb48609c033f69::" providerId="AD" clId="Web-{E5083D3F-752C-44C0-AEB5-4F1BCC5D4427}" dt="2022-04-18T21:56:34.285" v="6" actId="20577"/>
          <ac:spMkLst>
            <pc:docMk/>
            <pc:sldMk cId="0" sldId="384"/>
            <ac:spMk id="41" creationId="{D7465A85-8A15-4EAD-96FC-B47DC0EA8700}"/>
          </ac:spMkLst>
        </pc:spChg>
      </pc:sldChg>
    </pc:docChg>
  </pc:docChgLst>
  <pc:docChgLst>
    <pc:chgData name="Guest User" userId="S::urn:spo:anon#c437c167f923f422528aee73b5e70e5726914197d2dec7f210a84ae49e8498a7::" providerId="AD" clId="Web-{10933326-DD8E-C291-341C-4F569D9A37AB}"/>
    <pc:docChg chg="modSld">
      <pc:chgData name="Guest User" userId="S::urn:spo:anon#c437c167f923f422528aee73b5e70e5726914197d2dec7f210a84ae49e8498a7::" providerId="AD" clId="Web-{10933326-DD8E-C291-341C-4F569D9A37AB}" dt="2022-04-05T17:44:02.009" v="4"/>
      <pc:docMkLst>
        <pc:docMk/>
      </pc:docMkLst>
      <pc:sldChg chg="addSp delSp modSp">
        <pc:chgData name="Guest User" userId="S::urn:spo:anon#c437c167f923f422528aee73b5e70e5726914197d2dec7f210a84ae49e8498a7::" providerId="AD" clId="Web-{10933326-DD8E-C291-341C-4F569D9A37AB}" dt="2022-04-05T17:44:02.009" v="4"/>
        <pc:sldMkLst>
          <pc:docMk/>
          <pc:sldMk cId="3117050842" sldId="377"/>
        </pc:sldMkLst>
        <pc:spChg chg="add del">
          <ac:chgData name="Guest User" userId="S::urn:spo:anon#c437c167f923f422528aee73b5e70e5726914197d2dec7f210a84ae49e8498a7::" providerId="AD" clId="Web-{10933326-DD8E-C291-341C-4F569D9A37AB}" dt="2022-04-05T17:43:25.368" v="2"/>
          <ac:spMkLst>
            <pc:docMk/>
            <pc:sldMk cId="3117050842" sldId="377"/>
            <ac:spMk id="9" creationId="{952D7F88-DA15-8DE3-1E26-45AD38C9E313}"/>
          </ac:spMkLst>
        </pc:spChg>
        <pc:picChg chg="mod">
          <ac:chgData name="Guest User" userId="S::urn:spo:anon#c437c167f923f422528aee73b5e70e5726914197d2dec7f210a84ae49e8498a7::" providerId="AD" clId="Web-{10933326-DD8E-C291-341C-4F569D9A37AB}" dt="2022-04-05T17:44:02.009" v="4"/>
          <ac:picMkLst>
            <pc:docMk/>
            <pc:sldMk cId="3117050842" sldId="377"/>
            <ac:picMk id="3" creationId="{D0703C0D-B8EB-60B3-A27C-B0A7EBD2B65C}"/>
          </ac:picMkLst>
        </pc:picChg>
      </pc:sldChg>
    </pc:docChg>
  </pc:docChgLst>
  <pc:docChgLst>
    <pc:chgData name="Guest User" userId="S::urn:spo:anon#bc72e6c931b442e1b83d9d7baffb28dcb7bee849e2d9a5e2bb7cc25170a1c113::" providerId="AD" clId="Web-{632CF791-02D6-1856-7DE2-E8C33EF8D388}"/>
    <pc:docChg chg="addSld delSld modSld">
      <pc:chgData name="Guest User" userId="S::urn:spo:anon#bc72e6c931b442e1b83d9d7baffb28dcb7bee849e2d9a5e2bb7cc25170a1c113::" providerId="AD" clId="Web-{632CF791-02D6-1856-7DE2-E8C33EF8D388}" dt="2022-03-22T18:37:59.340" v="427" actId="14100"/>
      <pc:docMkLst>
        <pc:docMk/>
      </pc:docMkLst>
      <pc:sldChg chg="modSp">
        <pc:chgData name="Guest User" userId="S::urn:spo:anon#bc72e6c931b442e1b83d9d7baffb28dcb7bee849e2d9a5e2bb7cc25170a1c113::" providerId="AD" clId="Web-{632CF791-02D6-1856-7DE2-E8C33EF8D388}" dt="2022-03-22T16:06:42.640" v="0" actId="1076"/>
        <pc:sldMkLst>
          <pc:docMk/>
          <pc:sldMk cId="0" sldId="259"/>
        </pc:sldMkLst>
        <pc:spChg chg="mod">
          <ac:chgData name="Guest User" userId="S::urn:spo:anon#bc72e6c931b442e1b83d9d7baffb28dcb7bee849e2d9a5e2bb7cc25170a1c113::" providerId="AD" clId="Web-{632CF791-02D6-1856-7DE2-E8C33EF8D388}" dt="2022-03-22T16:06:42.640" v="0" actId="1076"/>
          <ac:spMkLst>
            <pc:docMk/>
            <pc:sldMk cId="0" sldId="259"/>
            <ac:spMk id="318" creationId="{00000000-0000-0000-0000-000000000000}"/>
          </ac:spMkLst>
        </pc:spChg>
      </pc:sldChg>
      <pc:sldChg chg="addSp">
        <pc:chgData name="Guest User" userId="S::urn:spo:anon#bc72e6c931b442e1b83d9d7baffb28dcb7bee849e2d9a5e2bb7cc25170a1c113::" providerId="AD" clId="Web-{632CF791-02D6-1856-7DE2-E8C33EF8D388}" dt="2022-03-22T16:06:59.125" v="3"/>
        <pc:sldMkLst>
          <pc:docMk/>
          <pc:sldMk cId="0" sldId="260"/>
        </pc:sldMkLst>
        <pc:spChg chg="add">
          <ac:chgData name="Guest User" userId="S::urn:spo:anon#bc72e6c931b442e1b83d9d7baffb28dcb7bee849e2d9a5e2bb7cc25170a1c113::" providerId="AD" clId="Web-{632CF791-02D6-1856-7DE2-E8C33EF8D388}" dt="2022-03-22T16:06:59.125" v="3"/>
          <ac:spMkLst>
            <pc:docMk/>
            <pc:sldMk cId="0" sldId="260"/>
            <ac:spMk id="2" creationId="{F23191FC-7B29-89F5-21F1-7FF0E32525D9}"/>
          </ac:spMkLst>
        </pc:spChg>
      </pc:sldChg>
      <pc:sldChg chg="addSp">
        <pc:chgData name="Guest User" userId="S::urn:spo:anon#bc72e6c931b442e1b83d9d7baffb28dcb7bee849e2d9a5e2bb7cc25170a1c113::" providerId="AD" clId="Web-{632CF791-02D6-1856-7DE2-E8C33EF8D388}" dt="2022-03-22T16:07:04.094" v="4"/>
        <pc:sldMkLst>
          <pc:docMk/>
          <pc:sldMk cId="0" sldId="263"/>
        </pc:sldMkLst>
        <pc:spChg chg="add">
          <ac:chgData name="Guest User" userId="S::urn:spo:anon#bc72e6c931b442e1b83d9d7baffb28dcb7bee849e2d9a5e2bb7cc25170a1c113::" providerId="AD" clId="Web-{632CF791-02D6-1856-7DE2-E8C33EF8D388}" dt="2022-03-22T16:07:04.094" v="4"/>
          <ac:spMkLst>
            <pc:docMk/>
            <pc:sldMk cId="0" sldId="263"/>
            <ac:spMk id="2" creationId="{820A4734-2A64-812C-44F5-9C35D9905FB2}"/>
          </ac:spMkLst>
        </pc:spChg>
      </pc:sldChg>
      <pc:sldChg chg="addSp modSp">
        <pc:chgData name="Guest User" userId="S::urn:spo:anon#bc72e6c931b442e1b83d9d7baffb28dcb7bee849e2d9a5e2bb7cc25170a1c113::" providerId="AD" clId="Web-{632CF791-02D6-1856-7DE2-E8C33EF8D388}" dt="2022-03-22T18:27:27.015" v="415" actId="1076"/>
        <pc:sldMkLst>
          <pc:docMk/>
          <pc:sldMk cId="0" sldId="264"/>
        </pc:sldMkLst>
        <pc:spChg chg="mod">
          <ac:chgData name="Guest User" userId="S::urn:spo:anon#bc72e6c931b442e1b83d9d7baffb28dcb7bee849e2d9a5e2bb7cc25170a1c113::" providerId="AD" clId="Web-{632CF791-02D6-1856-7DE2-E8C33EF8D388}" dt="2022-03-22T18:27:26.935" v="414" actId="1076"/>
          <ac:spMkLst>
            <pc:docMk/>
            <pc:sldMk cId="0" sldId="264"/>
            <ac:spMk id="26" creationId="{63D5B65A-793E-4E79-B52C-834340BABD85}"/>
          </ac:spMkLst>
        </pc:spChg>
        <pc:spChg chg="mod">
          <ac:chgData name="Guest User" userId="S::urn:spo:anon#bc72e6c931b442e1b83d9d7baffb28dcb7bee849e2d9a5e2bb7cc25170a1c113::" providerId="AD" clId="Web-{632CF791-02D6-1856-7DE2-E8C33EF8D388}" dt="2022-03-22T18:27:23.357" v="413" actId="1076"/>
          <ac:spMkLst>
            <pc:docMk/>
            <pc:sldMk cId="0" sldId="264"/>
            <ac:spMk id="29" creationId="{CE4534C1-122C-4584-960F-B0117C9A488A}"/>
          </ac:spMkLst>
        </pc:spChg>
        <pc:spChg chg="mod">
          <ac:chgData name="Guest User" userId="S::urn:spo:anon#bc72e6c931b442e1b83d9d7baffb28dcb7bee849e2d9a5e2bb7cc25170a1c113::" providerId="AD" clId="Web-{632CF791-02D6-1856-7DE2-E8C33EF8D388}" dt="2022-03-22T18:27:27.015" v="415" actId="1076"/>
          <ac:spMkLst>
            <pc:docMk/>
            <pc:sldMk cId="0" sldId="264"/>
            <ac:spMk id="30" creationId="{100AEE39-1F64-4466-ACEE-5B01ED088536}"/>
          </ac:spMkLst>
        </pc:spChg>
        <pc:spChg chg="mod">
          <ac:chgData name="Guest User" userId="S::urn:spo:anon#bc72e6c931b442e1b83d9d7baffb28dcb7bee849e2d9a5e2bb7cc25170a1c113::" providerId="AD" clId="Web-{632CF791-02D6-1856-7DE2-E8C33EF8D388}" dt="2022-03-22T16:07:17.391" v="5" actId="14100"/>
          <ac:spMkLst>
            <pc:docMk/>
            <pc:sldMk cId="0" sldId="264"/>
            <ac:spMk id="472" creationId="{00000000-0000-0000-0000-000000000000}"/>
          </ac:spMkLst>
        </pc:spChg>
        <pc:grpChg chg="mod">
          <ac:chgData name="Guest User" userId="S::urn:spo:anon#bc72e6c931b442e1b83d9d7baffb28dcb7bee849e2d9a5e2bb7cc25170a1c113::" providerId="AD" clId="Web-{632CF791-02D6-1856-7DE2-E8C33EF8D388}" dt="2022-03-22T16:36:40.565" v="369" actId="1076"/>
          <ac:grpSpMkLst>
            <pc:docMk/>
            <pc:sldMk cId="0" sldId="264"/>
            <ac:grpSpMk id="71" creationId="{6AE99249-61B0-4010-A9C3-CCC1E2A6D758}"/>
          </ac:grpSpMkLst>
        </pc:grpChg>
        <pc:grpChg chg="mod">
          <ac:chgData name="Guest User" userId="S::urn:spo:anon#bc72e6c931b442e1b83d9d7baffb28dcb7bee849e2d9a5e2bb7cc25170a1c113::" providerId="AD" clId="Web-{632CF791-02D6-1856-7DE2-E8C33EF8D388}" dt="2022-03-22T16:36:32.377" v="365" actId="1076"/>
          <ac:grpSpMkLst>
            <pc:docMk/>
            <pc:sldMk cId="0" sldId="264"/>
            <ac:grpSpMk id="75" creationId="{2F4C0EEE-B2A5-4F5F-BA6D-5346F5BDD0C0}"/>
          </ac:grpSpMkLst>
        </pc:grpChg>
        <pc:grpChg chg="mod">
          <ac:chgData name="Guest User" userId="S::urn:spo:anon#bc72e6c931b442e1b83d9d7baffb28dcb7bee849e2d9a5e2bb7cc25170a1c113::" providerId="AD" clId="Web-{632CF791-02D6-1856-7DE2-E8C33EF8D388}" dt="2022-03-22T16:09:01.300" v="42" actId="1076"/>
          <ac:grpSpMkLst>
            <pc:docMk/>
            <pc:sldMk cId="0" sldId="264"/>
            <ac:grpSpMk id="78" creationId="{F7502587-5DE6-406D-9E54-BB691FC4A86F}"/>
          </ac:grpSpMkLst>
        </pc:grpChg>
        <pc:graphicFrameChg chg="mod modGraphic">
          <ac:chgData name="Guest User" userId="S::urn:spo:anon#bc72e6c931b442e1b83d9d7baffb28dcb7bee849e2d9a5e2bb7cc25170a1c113::" providerId="AD" clId="Web-{632CF791-02D6-1856-7DE2-E8C33EF8D388}" dt="2022-03-22T16:36:40.549" v="368" actId="1076"/>
          <ac:graphicFrameMkLst>
            <pc:docMk/>
            <pc:sldMk cId="0" sldId="264"/>
            <ac:graphicFrameMk id="488" creationId="{00000000-0000-0000-0000-000000000000}"/>
          </ac:graphicFrameMkLst>
        </pc:graphicFrameChg>
        <pc:cxnChg chg="add mod">
          <ac:chgData name="Guest User" userId="S::urn:spo:anon#bc72e6c931b442e1b83d9d7baffb28dcb7bee849e2d9a5e2bb7cc25170a1c113::" providerId="AD" clId="Web-{632CF791-02D6-1856-7DE2-E8C33EF8D388}" dt="2022-03-22T16:09:39.770" v="52" actId="14100"/>
          <ac:cxnSpMkLst>
            <pc:docMk/>
            <pc:sldMk cId="0" sldId="264"/>
            <ac:cxnSpMk id="23" creationId="{7D7890BD-07EE-C7A8-3130-5C4B3C280C68}"/>
          </ac:cxnSpMkLst>
        </pc:cxnChg>
        <pc:cxnChg chg="add mod">
          <ac:chgData name="Guest User" userId="S::urn:spo:anon#bc72e6c931b442e1b83d9d7baffb28dcb7bee849e2d9a5e2bb7cc25170a1c113::" providerId="AD" clId="Web-{632CF791-02D6-1856-7DE2-E8C33EF8D388}" dt="2022-03-22T16:36:40.596" v="371" actId="1076"/>
          <ac:cxnSpMkLst>
            <pc:docMk/>
            <pc:sldMk cId="0" sldId="264"/>
            <ac:cxnSpMk id="24" creationId="{9895C561-40F6-FFF0-1D13-CF25703C5BED}"/>
          </ac:cxnSpMkLst>
        </pc:cxnChg>
        <pc:cxnChg chg="mod">
          <ac:chgData name="Guest User" userId="S::urn:spo:anon#bc72e6c931b442e1b83d9d7baffb28dcb7bee849e2d9a5e2bb7cc25170a1c113::" providerId="AD" clId="Web-{632CF791-02D6-1856-7DE2-E8C33EF8D388}" dt="2022-03-22T16:09:37.020" v="51" actId="14100"/>
          <ac:cxnSpMkLst>
            <pc:docMk/>
            <pc:sldMk cId="0" sldId="264"/>
            <ac:cxnSpMk id="83" creationId="{8A2F6C26-81D3-43E5-B4BE-4DD32D42E75D}"/>
          </ac:cxnSpMkLst>
        </pc:cxnChg>
        <pc:cxnChg chg="mod">
          <ac:chgData name="Guest User" userId="S::urn:spo:anon#bc72e6c931b442e1b83d9d7baffb28dcb7bee849e2d9a5e2bb7cc25170a1c113::" providerId="AD" clId="Web-{632CF791-02D6-1856-7DE2-E8C33EF8D388}" dt="2022-03-22T16:36:35.627" v="367" actId="1076"/>
          <ac:cxnSpMkLst>
            <pc:docMk/>
            <pc:sldMk cId="0" sldId="264"/>
            <ac:cxnSpMk id="84" creationId="{AC6210DF-562A-41C9-9E37-6F2588D8CA5A}"/>
          </ac:cxnSpMkLst>
        </pc:cxnChg>
      </pc:sldChg>
      <pc:sldChg chg="delSp modSp">
        <pc:chgData name="Guest User" userId="S::urn:spo:anon#bc72e6c931b442e1b83d9d7baffb28dcb7bee849e2d9a5e2bb7cc25170a1c113::" providerId="AD" clId="Web-{632CF791-02D6-1856-7DE2-E8C33EF8D388}" dt="2022-03-22T16:27:58.019" v="213"/>
        <pc:sldMkLst>
          <pc:docMk/>
          <pc:sldMk cId="0" sldId="267"/>
        </pc:sldMkLst>
        <pc:spChg chg="mod">
          <ac:chgData name="Guest User" userId="S::urn:spo:anon#bc72e6c931b442e1b83d9d7baffb28dcb7bee849e2d9a5e2bb7cc25170a1c113::" providerId="AD" clId="Web-{632CF791-02D6-1856-7DE2-E8C33EF8D388}" dt="2022-03-22T16:27:02.440" v="206" actId="1076"/>
          <ac:spMkLst>
            <pc:docMk/>
            <pc:sldMk cId="0" sldId="267"/>
            <ac:spMk id="6" creationId="{D1B67900-A55A-49E3-9F1F-6FA28D277895}"/>
          </ac:spMkLst>
        </pc:spChg>
        <pc:spChg chg="del mod">
          <ac:chgData name="Guest User" userId="S::urn:spo:anon#bc72e6c931b442e1b83d9d7baffb28dcb7bee849e2d9a5e2bb7cc25170a1c113::" providerId="AD" clId="Web-{632CF791-02D6-1856-7DE2-E8C33EF8D388}" dt="2022-03-22T16:27:58.019" v="213"/>
          <ac:spMkLst>
            <pc:docMk/>
            <pc:sldMk cId="0" sldId="267"/>
            <ac:spMk id="17" creationId="{BB2D6A27-8F31-491A-B5A6-20002BA01917}"/>
          </ac:spMkLst>
        </pc:spChg>
        <pc:spChg chg="mod">
          <ac:chgData name="Guest User" userId="S::urn:spo:anon#bc72e6c931b442e1b83d9d7baffb28dcb7bee849e2d9a5e2bb7cc25170a1c113::" providerId="AD" clId="Web-{632CF791-02D6-1856-7DE2-E8C33EF8D388}" dt="2022-03-22T16:27:00.236" v="205" actId="14100"/>
          <ac:spMkLst>
            <pc:docMk/>
            <pc:sldMk cId="0" sldId="267"/>
            <ac:spMk id="579" creationId="{00000000-0000-0000-0000-000000000000}"/>
          </ac:spMkLst>
        </pc:spChg>
        <pc:picChg chg="mod modCrop">
          <ac:chgData name="Guest User" userId="S::urn:spo:anon#bc72e6c931b442e1b83d9d7baffb28dcb7bee849e2d9a5e2bb7cc25170a1c113::" providerId="AD" clId="Web-{632CF791-02D6-1856-7DE2-E8C33EF8D388}" dt="2022-03-22T16:27:29.534" v="212" actId="1076"/>
          <ac:picMkLst>
            <pc:docMk/>
            <pc:sldMk cId="0" sldId="267"/>
            <ac:picMk id="4" creationId="{E963C357-8F83-411B-B523-2791ED6459DC}"/>
          </ac:picMkLst>
        </pc:picChg>
      </pc:sldChg>
      <pc:sldChg chg="modSp">
        <pc:chgData name="Guest User" userId="S::urn:spo:anon#bc72e6c931b442e1b83d9d7baffb28dcb7bee849e2d9a5e2bb7cc25170a1c113::" providerId="AD" clId="Web-{632CF791-02D6-1856-7DE2-E8C33EF8D388}" dt="2022-03-22T16:44:39.875" v="401" actId="20577"/>
        <pc:sldMkLst>
          <pc:docMk/>
          <pc:sldMk cId="0" sldId="269"/>
        </pc:sldMkLst>
        <pc:spChg chg="mod">
          <ac:chgData name="Guest User" userId="S::urn:spo:anon#bc72e6c931b442e1b83d9d7baffb28dcb7bee849e2d9a5e2bb7cc25170a1c113::" providerId="AD" clId="Web-{632CF791-02D6-1856-7DE2-E8C33EF8D388}" dt="2022-03-22T16:21:49.056" v="150"/>
          <ac:spMkLst>
            <pc:docMk/>
            <pc:sldMk cId="0" sldId="269"/>
            <ac:spMk id="601" creationId="{00000000-0000-0000-0000-000000000000}"/>
          </ac:spMkLst>
        </pc:spChg>
        <pc:spChg chg="mod">
          <ac:chgData name="Guest User" userId="S::urn:spo:anon#bc72e6c931b442e1b83d9d7baffb28dcb7bee849e2d9a5e2bb7cc25170a1c113::" providerId="AD" clId="Web-{632CF791-02D6-1856-7DE2-E8C33EF8D388}" dt="2022-03-22T16:44:39.875" v="401" actId="20577"/>
          <ac:spMkLst>
            <pc:docMk/>
            <pc:sldMk cId="0" sldId="269"/>
            <ac:spMk id="605" creationId="{00000000-0000-0000-0000-000000000000}"/>
          </ac:spMkLst>
        </pc:spChg>
        <pc:spChg chg="mod">
          <ac:chgData name="Guest User" userId="S::urn:spo:anon#bc72e6c931b442e1b83d9d7baffb28dcb7bee849e2d9a5e2bb7cc25170a1c113::" providerId="AD" clId="Web-{632CF791-02D6-1856-7DE2-E8C33EF8D388}" dt="2022-03-22T16:20:30.491" v="132" actId="1076"/>
          <ac:spMkLst>
            <pc:docMk/>
            <pc:sldMk cId="0" sldId="269"/>
            <ac:spMk id="609" creationId="{00000000-0000-0000-0000-000000000000}"/>
          </ac:spMkLst>
        </pc:spChg>
        <pc:picChg chg="mod modCrop">
          <ac:chgData name="Guest User" userId="S::urn:spo:anon#bc72e6c931b442e1b83d9d7baffb28dcb7bee849e2d9a5e2bb7cc25170a1c113::" providerId="AD" clId="Web-{632CF791-02D6-1856-7DE2-E8C33EF8D388}" dt="2022-03-22T16:21:11.430" v="144" actId="1076"/>
          <ac:picMkLst>
            <pc:docMk/>
            <pc:sldMk cId="0" sldId="269"/>
            <ac:picMk id="4" creationId="{A3DE1E23-4D91-4A14-B3F7-C67C5D0DD7A5}"/>
          </ac:picMkLst>
        </pc:picChg>
        <pc:picChg chg="mod modCrop">
          <ac:chgData name="Guest User" userId="S::urn:spo:anon#bc72e6c931b442e1b83d9d7baffb28dcb7bee849e2d9a5e2bb7cc25170a1c113::" providerId="AD" clId="Web-{632CF791-02D6-1856-7DE2-E8C33EF8D388}" dt="2022-03-22T16:21:22.305" v="147" actId="1076"/>
          <ac:picMkLst>
            <pc:docMk/>
            <pc:sldMk cId="0" sldId="269"/>
            <ac:picMk id="5" creationId="{9E943CF7-D578-4861-B11C-4ED484043137}"/>
          </ac:picMkLst>
        </pc:picChg>
        <pc:picChg chg="mod modCrop">
          <ac:chgData name="Guest User" userId="S::urn:spo:anon#bc72e6c931b442e1b83d9d7baffb28dcb7bee849e2d9a5e2bb7cc25170a1c113::" providerId="AD" clId="Web-{632CF791-02D6-1856-7DE2-E8C33EF8D388}" dt="2022-03-22T16:21:16.602" v="146" actId="1076"/>
          <ac:picMkLst>
            <pc:docMk/>
            <pc:sldMk cId="0" sldId="269"/>
            <ac:picMk id="6" creationId="{7320460E-7625-44AD-8A44-09D8797A39CC}"/>
          </ac:picMkLst>
        </pc:picChg>
      </pc:sldChg>
      <pc:sldChg chg="modSp">
        <pc:chgData name="Guest User" userId="S::urn:spo:anon#bc72e6c931b442e1b83d9d7baffb28dcb7bee849e2d9a5e2bb7cc25170a1c113::" providerId="AD" clId="Web-{632CF791-02D6-1856-7DE2-E8C33EF8D388}" dt="2022-03-22T16:31:05.212" v="274"/>
        <pc:sldMkLst>
          <pc:docMk/>
          <pc:sldMk cId="0" sldId="275"/>
        </pc:sldMkLst>
        <pc:graphicFrameChg chg="mod modGraphic">
          <ac:chgData name="Guest User" userId="S::urn:spo:anon#bc72e6c931b442e1b83d9d7baffb28dcb7bee849e2d9a5e2bb7cc25170a1c113::" providerId="AD" clId="Web-{632CF791-02D6-1856-7DE2-E8C33EF8D388}" dt="2022-03-22T16:31:05.212" v="274"/>
          <ac:graphicFrameMkLst>
            <pc:docMk/>
            <pc:sldMk cId="0" sldId="275"/>
            <ac:graphicFrameMk id="694" creationId="{00000000-0000-0000-0000-000000000000}"/>
          </ac:graphicFrameMkLst>
        </pc:graphicFrameChg>
      </pc:sldChg>
      <pc:sldChg chg="addSp">
        <pc:chgData name="Guest User" userId="S::urn:spo:anon#bc72e6c931b442e1b83d9d7baffb28dcb7bee849e2d9a5e2bb7cc25170a1c113::" providerId="AD" clId="Web-{632CF791-02D6-1856-7DE2-E8C33EF8D388}" dt="2022-03-22T16:46:46.300" v="412"/>
        <pc:sldMkLst>
          <pc:docMk/>
          <pc:sldMk cId="0" sldId="276"/>
        </pc:sldMkLst>
        <pc:spChg chg="add">
          <ac:chgData name="Guest User" userId="S::urn:spo:anon#bc72e6c931b442e1b83d9d7baffb28dcb7bee849e2d9a5e2bb7cc25170a1c113::" providerId="AD" clId="Web-{632CF791-02D6-1856-7DE2-E8C33EF8D388}" dt="2022-03-22T16:46:46.300" v="412"/>
          <ac:spMkLst>
            <pc:docMk/>
            <pc:sldMk cId="0" sldId="276"/>
            <ac:spMk id="2" creationId="{218A2BF7-C208-A0CB-E88F-A3CA5FD0CE37}"/>
          </ac:spMkLst>
        </pc:spChg>
      </pc:sldChg>
      <pc:sldChg chg="modSp">
        <pc:chgData name="Guest User" userId="S::urn:spo:anon#bc72e6c931b442e1b83d9d7baffb28dcb7bee849e2d9a5e2bb7cc25170a1c113::" providerId="AD" clId="Web-{632CF791-02D6-1856-7DE2-E8C33EF8D388}" dt="2022-03-22T18:37:59.340" v="427" actId="14100"/>
        <pc:sldMkLst>
          <pc:docMk/>
          <pc:sldMk cId="0" sldId="280"/>
        </pc:sldMkLst>
        <pc:spChg chg="mod">
          <ac:chgData name="Guest User" userId="S::urn:spo:anon#bc72e6c931b442e1b83d9d7baffb28dcb7bee849e2d9a5e2bb7cc25170a1c113::" providerId="AD" clId="Web-{632CF791-02D6-1856-7DE2-E8C33EF8D388}" dt="2022-03-22T16:35:13.156" v="354" actId="1076"/>
          <ac:spMkLst>
            <pc:docMk/>
            <pc:sldMk cId="0" sldId="280"/>
            <ac:spMk id="6" creationId="{6A68D443-75E1-4EF8-BC52-690836319788}"/>
          </ac:spMkLst>
        </pc:spChg>
        <pc:spChg chg="mod">
          <ac:chgData name="Guest User" userId="S::urn:spo:anon#bc72e6c931b442e1b83d9d7baffb28dcb7bee849e2d9a5e2bb7cc25170a1c113::" providerId="AD" clId="Web-{632CF791-02D6-1856-7DE2-E8C33EF8D388}" dt="2022-03-22T18:37:59.340" v="427" actId="14100"/>
          <ac:spMkLst>
            <pc:docMk/>
            <pc:sldMk cId="0" sldId="280"/>
            <ac:spMk id="863" creationId="{00000000-0000-0000-0000-000000000000}"/>
          </ac:spMkLst>
        </pc:spChg>
        <pc:graphicFrameChg chg="mod modGraphic">
          <ac:chgData name="Guest User" userId="S::urn:spo:anon#bc72e6c931b442e1b83d9d7baffb28dcb7bee849e2d9a5e2bb7cc25170a1c113::" providerId="AD" clId="Web-{632CF791-02D6-1856-7DE2-E8C33EF8D388}" dt="2022-03-22T16:43:39.904" v="391"/>
          <ac:graphicFrameMkLst>
            <pc:docMk/>
            <pc:sldMk cId="0" sldId="280"/>
            <ac:graphicFrameMk id="858" creationId="{00000000-0000-0000-0000-000000000000}"/>
          </ac:graphicFrameMkLst>
        </pc:graphicFrameChg>
        <pc:picChg chg="mod">
          <ac:chgData name="Guest User" userId="S::urn:spo:anon#bc72e6c931b442e1b83d9d7baffb28dcb7bee849e2d9a5e2bb7cc25170a1c113::" providerId="AD" clId="Web-{632CF791-02D6-1856-7DE2-E8C33EF8D388}" dt="2022-03-22T16:42:58.310" v="381" actId="14100"/>
          <ac:picMkLst>
            <pc:docMk/>
            <pc:sldMk cId="0" sldId="280"/>
            <ac:picMk id="3" creationId="{F35E6470-6E57-46D1-A1E3-E4A3A519E983}"/>
          </ac:picMkLst>
        </pc:picChg>
        <pc:cxnChg chg="mod">
          <ac:chgData name="Guest User" userId="S::urn:spo:anon#bc72e6c931b442e1b83d9d7baffb28dcb7bee849e2d9a5e2bb7cc25170a1c113::" providerId="AD" clId="Web-{632CF791-02D6-1856-7DE2-E8C33EF8D388}" dt="2022-03-22T18:37:52.856" v="426" actId="14100"/>
          <ac:cxnSpMkLst>
            <pc:docMk/>
            <pc:sldMk cId="0" sldId="280"/>
            <ac:cxnSpMk id="864" creationId="{00000000-0000-0000-0000-000000000000}"/>
          </ac:cxnSpMkLst>
        </pc:cxnChg>
      </pc:sldChg>
      <pc:sldChg chg="modSp">
        <pc:chgData name="Guest User" userId="S::urn:spo:anon#bc72e6c931b442e1b83d9d7baffb28dcb7bee849e2d9a5e2bb7cc25170a1c113::" providerId="AD" clId="Web-{632CF791-02D6-1856-7DE2-E8C33EF8D388}" dt="2022-03-22T16:43:50.748" v="392" actId="1076"/>
        <pc:sldMkLst>
          <pc:docMk/>
          <pc:sldMk cId="0" sldId="283"/>
        </pc:sldMkLst>
        <pc:spChg chg="mod">
          <ac:chgData name="Guest User" userId="S::urn:spo:anon#bc72e6c931b442e1b83d9d7baffb28dcb7bee849e2d9a5e2bb7cc25170a1c113::" providerId="AD" clId="Web-{632CF791-02D6-1856-7DE2-E8C33EF8D388}" dt="2022-03-22T16:43:50.748" v="392" actId="1076"/>
          <ac:spMkLst>
            <pc:docMk/>
            <pc:sldMk cId="0" sldId="283"/>
            <ac:spMk id="931" creationId="{00000000-0000-0000-0000-000000000000}"/>
          </ac:spMkLst>
        </pc:spChg>
        <pc:cxnChg chg="mod">
          <ac:chgData name="Guest User" userId="S::urn:spo:anon#bc72e6c931b442e1b83d9d7baffb28dcb7bee849e2d9a5e2bb7cc25170a1c113::" providerId="AD" clId="Web-{632CF791-02D6-1856-7DE2-E8C33EF8D388}" dt="2022-03-22T16:35:28.532" v="356"/>
          <ac:cxnSpMkLst>
            <pc:docMk/>
            <pc:sldMk cId="0" sldId="283"/>
            <ac:cxnSpMk id="934" creationId="{00000000-0000-0000-0000-000000000000}"/>
          </ac:cxnSpMkLst>
        </pc:cxnChg>
      </pc:sldChg>
      <pc:sldChg chg="modSp">
        <pc:chgData name="Guest User" userId="S::urn:spo:anon#bc72e6c931b442e1b83d9d7baffb28dcb7bee849e2d9a5e2bb7cc25170a1c113::" providerId="AD" clId="Web-{632CF791-02D6-1856-7DE2-E8C33EF8D388}" dt="2022-03-22T16:33:00.871" v="295" actId="14100"/>
        <pc:sldMkLst>
          <pc:docMk/>
          <pc:sldMk cId="3210015788" sldId="303"/>
        </pc:sldMkLst>
        <pc:spChg chg="mod">
          <ac:chgData name="Guest User" userId="S::urn:spo:anon#bc72e6c931b442e1b83d9d7baffb28dcb7bee849e2d9a5e2bb7cc25170a1c113::" providerId="AD" clId="Web-{632CF791-02D6-1856-7DE2-E8C33EF8D388}" dt="2022-03-22T16:33:00.871" v="295" actId="14100"/>
          <ac:spMkLst>
            <pc:docMk/>
            <pc:sldMk cId="3210015788" sldId="303"/>
            <ac:spMk id="7" creationId="{BE7F7455-B913-4524-B9A1-CFE51EA4FDC0}"/>
          </ac:spMkLst>
        </pc:spChg>
        <pc:spChg chg="mod">
          <ac:chgData name="Guest User" userId="S::urn:spo:anon#bc72e6c931b442e1b83d9d7baffb28dcb7bee849e2d9a5e2bb7cc25170a1c113::" providerId="AD" clId="Web-{632CF791-02D6-1856-7DE2-E8C33EF8D388}" dt="2022-03-22T16:32:32.105" v="289" actId="1076"/>
          <ac:spMkLst>
            <pc:docMk/>
            <pc:sldMk cId="3210015788" sldId="303"/>
            <ac:spMk id="15" creationId="{7CB18294-8481-4276-8B40-97E3110A50BA}"/>
          </ac:spMkLst>
        </pc:spChg>
        <pc:graphicFrameChg chg="mod">
          <ac:chgData name="Guest User" userId="S::urn:spo:anon#bc72e6c931b442e1b83d9d7baffb28dcb7bee849e2d9a5e2bb7cc25170a1c113::" providerId="AD" clId="Web-{632CF791-02D6-1856-7DE2-E8C33EF8D388}" dt="2022-03-22T16:32:26.823" v="287" actId="1076"/>
          <ac:graphicFrameMkLst>
            <pc:docMk/>
            <pc:sldMk cId="3210015788" sldId="303"/>
            <ac:graphicFrameMk id="488" creationId="{00000000-0000-0000-0000-000000000000}"/>
          </ac:graphicFrameMkLst>
        </pc:graphicFrameChg>
        <pc:cxnChg chg="mod">
          <ac:chgData name="Guest User" userId="S::urn:spo:anon#bc72e6c931b442e1b83d9d7baffb28dcb7bee849e2d9a5e2bb7cc25170a1c113::" providerId="AD" clId="Web-{632CF791-02D6-1856-7DE2-E8C33EF8D388}" dt="2022-03-22T16:32:49.480" v="294" actId="14100"/>
          <ac:cxnSpMkLst>
            <pc:docMk/>
            <pc:sldMk cId="3210015788" sldId="303"/>
            <ac:cxnSpMk id="36" creationId="{EAECDCBB-3819-4FCD-A496-F9491BDFD89C}"/>
          </ac:cxnSpMkLst>
        </pc:cxnChg>
        <pc:cxnChg chg="mod">
          <ac:chgData name="Guest User" userId="S::urn:spo:anon#bc72e6c931b442e1b83d9d7baffb28dcb7bee849e2d9a5e2bb7cc25170a1c113::" providerId="AD" clId="Web-{632CF791-02D6-1856-7DE2-E8C33EF8D388}" dt="2022-03-22T16:32:42.230" v="292" actId="14100"/>
          <ac:cxnSpMkLst>
            <pc:docMk/>
            <pc:sldMk cId="3210015788" sldId="303"/>
            <ac:cxnSpMk id="485" creationId="{00000000-0000-0000-0000-000000000000}"/>
          </ac:cxnSpMkLst>
        </pc:cxnChg>
        <pc:cxnChg chg="mod">
          <ac:chgData name="Guest User" userId="S::urn:spo:anon#bc72e6c931b442e1b83d9d7baffb28dcb7bee849e2d9a5e2bb7cc25170a1c113::" providerId="AD" clId="Web-{632CF791-02D6-1856-7DE2-E8C33EF8D388}" dt="2022-03-22T16:32:39.464" v="291" actId="14100"/>
          <ac:cxnSpMkLst>
            <pc:docMk/>
            <pc:sldMk cId="3210015788" sldId="303"/>
            <ac:cxnSpMk id="486" creationId="{00000000-0000-0000-0000-000000000000}"/>
          </ac:cxnSpMkLst>
        </pc:cxnChg>
        <pc:cxnChg chg="mod">
          <ac:chgData name="Guest User" userId="S::urn:spo:anon#bc72e6c931b442e1b83d9d7baffb28dcb7bee849e2d9a5e2bb7cc25170a1c113::" providerId="AD" clId="Web-{632CF791-02D6-1856-7DE2-E8C33EF8D388}" dt="2022-03-22T16:32:36.542" v="290" actId="14100"/>
          <ac:cxnSpMkLst>
            <pc:docMk/>
            <pc:sldMk cId="3210015788" sldId="303"/>
            <ac:cxnSpMk id="487" creationId="{00000000-0000-0000-0000-000000000000}"/>
          </ac:cxnSpMkLst>
        </pc:cxnChg>
      </pc:sldChg>
      <pc:sldChg chg="modSp">
        <pc:chgData name="Guest User" userId="S::urn:spo:anon#bc72e6c931b442e1b83d9d7baffb28dcb7bee849e2d9a5e2bb7cc25170a1c113::" providerId="AD" clId="Web-{632CF791-02D6-1856-7DE2-E8C33EF8D388}" dt="2022-03-22T16:45:26.579" v="409" actId="20577"/>
        <pc:sldMkLst>
          <pc:docMk/>
          <pc:sldMk cId="1756389301" sldId="323"/>
        </pc:sldMkLst>
        <pc:spChg chg="mod">
          <ac:chgData name="Guest User" userId="S::urn:spo:anon#bc72e6c931b442e1b83d9d7baffb28dcb7bee849e2d9a5e2bb7cc25170a1c113::" providerId="AD" clId="Web-{632CF791-02D6-1856-7DE2-E8C33EF8D388}" dt="2022-03-22T16:36:13.720" v="364" actId="1076"/>
          <ac:spMkLst>
            <pc:docMk/>
            <pc:sldMk cId="1756389301" sldId="323"/>
            <ac:spMk id="4" creationId="{BF92DADF-CA80-4220-B99B-6FEB90716CCD}"/>
          </ac:spMkLst>
        </pc:spChg>
        <pc:spChg chg="mod">
          <ac:chgData name="Guest User" userId="S::urn:spo:anon#bc72e6c931b442e1b83d9d7baffb28dcb7bee849e2d9a5e2bb7cc25170a1c113::" providerId="AD" clId="Web-{632CF791-02D6-1856-7DE2-E8C33EF8D388}" dt="2022-03-22T16:45:26.579" v="409" actId="20577"/>
          <ac:spMkLst>
            <pc:docMk/>
            <pc:sldMk cId="1756389301" sldId="323"/>
            <ac:spMk id="15" creationId="{9C4A17CE-EF6F-4ED7-ADC1-9CEE9825B750}"/>
          </ac:spMkLst>
        </pc:spChg>
        <pc:picChg chg="mod modCrop">
          <ac:chgData name="Guest User" userId="S::urn:spo:anon#bc72e6c931b442e1b83d9d7baffb28dcb7bee849e2d9a5e2bb7cc25170a1c113::" providerId="AD" clId="Web-{632CF791-02D6-1856-7DE2-E8C33EF8D388}" dt="2022-03-22T16:26:14.610" v="193"/>
          <ac:picMkLst>
            <pc:docMk/>
            <pc:sldMk cId="1756389301" sldId="323"/>
            <ac:picMk id="2" creationId="{06FB615F-F8A3-43BA-A287-B8535775C676}"/>
          </ac:picMkLst>
        </pc:picChg>
      </pc:sldChg>
      <pc:sldChg chg="modSp">
        <pc:chgData name="Guest User" userId="S::urn:spo:anon#bc72e6c931b442e1b83d9d7baffb28dcb7bee849e2d9a5e2bb7cc25170a1c113::" providerId="AD" clId="Web-{632CF791-02D6-1856-7DE2-E8C33EF8D388}" dt="2022-03-22T16:30:49.758" v="258"/>
        <pc:sldMkLst>
          <pc:docMk/>
          <pc:sldMk cId="1295029711" sldId="333"/>
        </pc:sldMkLst>
        <pc:graphicFrameChg chg="mod modGraphic">
          <ac:chgData name="Guest User" userId="S::urn:spo:anon#bc72e6c931b442e1b83d9d7baffb28dcb7bee849e2d9a5e2bb7cc25170a1c113::" providerId="AD" clId="Web-{632CF791-02D6-1856-7DE2-E8C33EF8D388}" dt="2022-03-22T16:30:49.758" v="258"/>
          <ac:graphicFrameMkLst>
            <pc:docMk/>
            <pc:sldMk cId="1295029711" sldId="333"/>
            <ac:graphicFrameMk id="694" creationId="{00000000-0000-0000-0000-000000000000}"/>
          </ac:graphicFrameMkLst>
        </pc:graphicFrameChg>
      </pc:sldChg>
      <pc:sldChg chg="modSp">
        <pc:chgData name="Guest User" userId="S::urn:spo:anon#bc72e6c931b442e1b83d9d7baffb28dcb7bee849e2d9a5e2bb7cc25170a1c113::" providerId="AD" clId="Web-{632CF791-02D6-1856-7DE2-E8C33EF8D388}" dt="2022-03-22T16:31:28.587" v="278"/>
        <pc:sldMkLst>
          <pc:docMk/>
          <pc:sldMk cId="130301299" sldId="334"/>
        </pc:sldMkLst>
        <pc:graphicFrameChg chg="mod modGraphic">
          <ac:chgData name="Guest User" userId="S::urn:spo:anon#bc72e6c931b442e1b83d9d7baffb28dcb7bee849e2d9a5e2bb7cc25170a1c113::" providerId="AD" clId="Web-{632CF791-02D6-1856-7DE2-E8C33EF8D388}" dt="2022-03-22T16:31:28.587" v="278"/>
          <ac:graphicFrameMkLst>
            <pc:docMk/>
            <pc:sldMk cId="130301299" sldId="334"/>
            <ac:graphicFrameMk id="694" creationId="{00000000-0000-0000-0000-000000000000}"/>
          </ac:graphicFrameMkLst>
        </pc:graphicFrameChg>
      </pc:sldChg>
      <pc:sldChg chg="addSp delSp modSp">
        <pc:chgData name="Guest User" userId="S::urn:spo:anon#bc72e6c931b442e1b83d9d7baffb28dcb7bee849e2d9a5e2bb7cc25170a1c113::" providerId="AD" clId="Web-{632CF791-02D6-1856-7DE2-E8C33EF8D388}" dt="2022-03-22T18:28:48.171" v="425"/>
        <pc:sldMkLst>
          <pc:docMk/>
          <pc:sldMk cId="3720673345" sldId="336"/>
        </pc:sldMkLst>
        <pc:spChg chg="add del mod">
          <ac:chgData name="Guest User" userId="S::urn:spo:anon#bc72e6c931b442e1b83d9d7baffb28dcb7bee849e2d9a5e2bb7cc25170a1c113::" providerId="AD" clId="Web-{632CF791-02D6-1856-7DE2-E8C33EF8D388}" dt="2022-03-22T18:28:37.702" v="420"/>
          <ac:spMkLst>
            <pc:docMk/>
            <pc:sldMk cId="3720673345" sldId="336"/>
            <ac:spMk id="2" creationId="{35FF6336-8B83-98B4-2D7C-474420272D9D}"/>
          </ac:spMkLst>
        </pc:spChg>
        <pc:spChg chg="add del mod">
          <ac:chgData name="Guest User" userId="S::urn:spo:anon#bc72e6c931b442e1b83d9d7baffb28dcb7bee849e2d9a5e2bb7cc25170a1c113::" providerId="AD" clId="Web-{632CF791-02D6-1856-7DE2-E8C33EF8D388}" dt="2022-03-22T18:28:43.234" v="424"/>
          <ac:spMkLst>
            <pc:docMk/>
            <pc:sldMk cId="3720673345" sldId="336"/>
            <ac:spMk id="3" creationId="{8B02C6DD-05C3-520A-F623-0D0E7BDDECF0}"/>
          </ac:spMkLst>
        </pc:spChg>
        <pc:spChg chg="add">
          <ac:chgData name="Guest User" userId="S::urn:spo:anon#bc72e6c931b442e1b83d9d7baffb28dcb7bee849e2d9a5e2bb7cc25170a1c113::" providerId="AD" clId="Web-{632CF791-02D6-1856-7DE2-E8C33EF8D388}" dt="2022-03-22T18:28:48.171" v="425"/>
          <ac:spMkLst>
            <pc:docMk/>
            <pc:sldMk cId="3720673345" sldId="336"/>
            <ac:spMk id="5" creationId="{F9234196-FD9F-0245-3D15-9CAC8C82146D}"/>
          </ac:spMkLst>
        </pc:spChg>
        <pc:spChg chg="mod">
          <ac:chgData name="Guest User" userId="S::urn:spo:anon#bc72e6c931b442e1b83d9d7baffb28dcb7bee849e2d9a5e2bb7cc25170a1c113::" providerId="AD" clId="Web-{632CF791-02D6-1856-7DE2-E8C33EF8D388}" dt="2022-03-22T16:44:04.249" v="393" actId="20577"/>
          <ac:spMkLst>
            <pc:docMk/>
            <pc:sldMk cId="3720673345" sldId="336"/>
            <ac:spMk id="620" creationId="{00000000-0000-0000-0000-000000000000}"/>
          </ac:spMkLst>
        </pc:spChg>
      </pc:sldChg>
      <pc:sldChg chg="modSp">
        <pc:chgData name="Guest User" userId="S::urn:spo:anon#bc72e6c931b442e1b83d9d7baffb28dcb7bee849e2d9a5e2bb7cc25170a1c113::" providerId="AD" clId="Web-{632CF791-02D6-1856-7DE2-E8C33EF8D388}" dt="2022-03-22T16:44:22.343" v="397" actId="1076"/>
        <pc:sldMkLst>
          <pc:docMk/>
          <pc:sldMk cId="1209993513" sldId="338"/>
        </pc:sldMkLst>
        <pc:spChg chg="mod">
          <ac:chgData name="Guest User" userId="S::urn:spo:anon#bc72e6c931b442e1b83d9d7baffb28dcb7bee849e2d9a5e2bb7cc25170a1c113::" providerId="AD" clId="Web-{632CF791-02D6-1856-7DE2-E8C33EF8D388}" dt="2022-03-22T16:44:22.327" v="396" actId="1076"/>
          <ac:spMkLst>
            <pc:docMk/>
            <pc:sldMk cId="1209993513" sldId="338"/>
            <ac:spMk id="16" creationId="{F29BBF2D-5F15-45EC-BE2A-14ABF1E18DB5}"/>
          </ac:spMkLst>
        </pc:spChg>
        <pc:spChg chg="mod">
          <ac:chgData name="Guest User" userId="S::urn:spo:anon#bc72e6c931b442e1b83d9d7baffb28dcb7bee849e2d9a5e2bb7cc25170a1c113::" providerId="AD" clId="Web-{632CF791-02D6-1856-7DE2-E8C33EF8D388}" dt="2022-03-22T16:44:22.343" v="397" actId="1076"/>
          <ac:spMkLst>
            <pc:docMk/>
            <pc:sldMk cId="1209993513" sldId="338"/>
            <ac:spMk id="605" creationId="{00000000-0000-0000-0000-000000000000}"/>
          </ac:spMkLst>
        </pc:spChg>
      </pc:sldChg>
      <pc:sldChg chg="modSp">
        <pc:chgData name="Guest User" userId="S::urn:spo:anon#bc72e6c931b442e1b83d9d7baffb28dcb7bee849e2d9a5e2bb7cc25170a1c113::" providerId="AD" clId="Web-{632CF791-02D6-1856-7DE2-E8C33EF8D388}" dt="2022-03-22T16:32:20.261" v="286" actId="1076"/>
        <pc:sldMkLst>
          <pc:docMk/>
          <pc:sldMk cId="2486721525" sldId="341"/>
        </pc:sldMkLst>
        <pc:spChg chg="mod">
          <ac:chgData name="Guest User" userId="S::urn:spo:anon#bc72e6c931b442e1b83d9d7baffb28dcb7bee849e2d9a5e2bb7cc25170a1c113::" providerId="AD" clId="Web-{632CF791-02D6-1856-7DE2-E8C33EF8D388}" dt="2022-03-22T16:31:53.026" v="280" actId="1076"/>
          <ac:spMkLst>
            <pc:docMk/>
            <pc:sldMk cId="2486721525" sldId="341"/>
            <ac:spMk id="416" creationId="{00000000-0000-0000-0000-000000000000}"/>
          </ac:spMkLst>
        </pc:spChg>
        <pc:spChg chg="mod">
          <ac:chgData name="Guest User" userId="S::urn:spo:anon#bc72e6c931b442e1b83d9d7baffb28dcb7bee849e2d9a5e2bb7cc25170a1c113::" providerId="AD" clId="Web-{632CF791-02D6-1856-7DE2-E8C33EF8D388}" dt="2022-03-22T16:31:59.338" v="282" actId="1076"/>
          <ac:spMkLst>
            <pc:docMk/>
            <pc:sldMk cId="2486721525" sldId="341"/>
            <ac:spMk id="436" creationId="{00000000-0000-0000-0000-000000000000}"/>
          </ac:spMkLst>
        </pc:spChg>
        <pc:spChg chg="mod">
          <ac:chgData name="Guest User" userId="S::urn:spo:anon#bc72e6c931b442e1b83d9d7baffb28dcb7bee849e2d9a5e2bb7cc25170a1c113::" providerId="AD" clId="Web-{632CF791-02D6-1856-7DE2-E8C33EF8D388}" dt="2022-03-22T16:32:16.339" v="285" actId="1076"/>
          <ac:spMkLst>
            <pc:docMk/>
            <pc:sldMk cId="2486721525" sldId="341"/>
            <ac:spMk id="444" creationId="{00000000-0000-0000-0000-000000000000}"/>
          </ac:spMkLst>
        </pc:spChg>
        <pc:spChg chg="mod">
          <ac:chgData name="Guest User" userId="S::urn:spo:anon#bc72e6c931b442e1b83d9d7baffb28dcb7bee849e2d9a5e2bb7cc25170a1c113::" providerId="AD" clId="Web-{632CF791-02D6-1856-7DE2-E8C33EF8D388}" dt="2022-03-22T16:32:11.839" v="284" actId="1076"/>
          <ac:spMkLst>
            <pc:docMk/>
            <pc:sldMk cId="2486721525" sldId="341"/>
            <ac:spMk id="446" creationId="{00000000-0000-0000-0000-000000000000}"/>
          </ac:spMkLst>
        </pc:spChg>
        <pc:spChg chg="mod">
          <ac:chgData name="Guest User" userId="S::urn:spo:anon#bc72e6c931b442e1b83d9d7baffb28dcb7bee849e2d9a5e2bb7cc25170a1c113::" providerId="AD" clId="Web-{632CF791-02D6-1856-7DE2-E8C33EF8D388}" dt="2022-03-22T16:32:05.823" v="283" actId="1076"/>
          <ac:spMkLst>
            <pc:docMk/>
            <pc:sldMk cId="2486721525" sldId="341"/>
            <ac:spMk id="447" creationId="{00000000-0000-0000-0000-000000000000}"/>
          </ac:spMkLst>
        </pc:spChg>
        <pc:spChg chg="mod">
          <ac:chgData name="Guest User" userId="S::urn:spo:anon#bc72e6c931b442e1b83d9d7baffb28dcb7bee849e2d9a5e2bb7cc25170a1c113::" providerId="AD" clId="Web-{632CF791-02D6-1856-7DE2-E8C33EF8D388}" dt="2022-03-22T16:32:20.261" v="286" actId="1076"/>
          <ac:spMkLst>
            <pc:docMk/>
            <pc:sldMk cId="2486721525" sldId="341"/>
            <ac:spMk id="454" creationId="{00000000-0000-0000-0000-000000000000}"/>
          </ac:spMkLst>
        </pc:spChg>
      </pc:sldChg>
      <pc:sldChg chg="modSp">
        <pc:chgData name="Guest User" userId="S::urn:spo:anon#bc72e6c931b442e1b83d9d7baffb28dcb7bee849e2d9a5e2bb7cc25170a1c113::" providerId="AD" clId="Web-{632CF791-02D6-1856-7DE2-E8C33EF8D388}" dt="2022-03-22T16:34:38.608" v="352" actId="1076"/>
        <pc:sldMkLst>
          <pc:docMk/>
          <pc:sldMk cId="4114424017" sldId="342"/>
        </pc:sldMkLst>
        <pc:graphicFrameChg chg="mod">
          <ac:chgData name="Guest User" userId="S::urn:spo:anon#bc72e6c931b442e1b83d9d7baffb28dcb7bee849e2d9a5e2bb7cc25170a1c113::" providerId="AD" clId="Web-{632CF791-02D6-1856-7DE2-E8C33EF8D388}" dt="2022-03-22T16:34:38.608" v="352" actId="1076"/>
          <ac:graphicFrameMkLst>
            <pc:docMk/>
            <pc:sldMk cId="4114424017" sldId="342"/>
            <ac:graphicFrameMk id="23" creationId="{F4A84191-3BFB-48AA-A343-19DE4EA3891C}"/>
          </ac:graphicFrameMkLst>
        </pc:graphicFrameChg>
      </pc:sldChg>
      <pc:sldChg chg="modSp">
        <pc:chgData name="Guest User" userId="S::urn:spo:anon#bc72e6c931b442e1b83d9d7baffb28dcb7bee849e2d9a5e2bb7cc25170a1c113::" providerId="AD" clId="Web-{632CF791-02D6-1856-7DE2-E8C33EF8D388}" dt="2022-03-22T16:45:44.939" v="411" actId="1076"/>
        <pc:sldMkLst>
          <pc:docMk/>
          <pc:sldMk cId="211703589" sldId="343"/>
        </pc:sldMkLst>
        <pc:spChg chg="mod">
          <ac:chgData name="Guest User" userId="S::urn:spo:anon#bc72e6c931b442e1b83d9d7baffb28dcb7bee849e2d9a5e2bb7cc25170a1c113::" providerId="AD" clId="Web-{632CF791-02D6-1856-7DE2-E8C33EF8D388}" dt="2022-03-22T16:45:44.939" v="411" actId="1076"/>
          <ac:spMkLst>
            <pc:docMk/>
            <pc:sldMk cId="211703589" sldId="343"/>
            <ac:spMk id="6" creationId="{D1B67900-A55A-49E3-9F1F-6FA28D277895}"/>
          </ac:spMkLst>
        </pc:spChg>
        <pc:spChg chg="mod">
          <ac:chgData name="Guest User" userId="S::urn:spo:anon#bc72e6c931b442e1b83d9d7baffb28dcb7bee849e2d9a5e2bb7cc25170a1c113::" providerId="AD" clId="Web-{632CF791-02D6-1856-7DE2-E8C33EF8D388}" dt="2022-03-22T16:30:17.554" v="244" actId="14100"/>
          <ac:spMkLst>
            <pc:docMk/>
            <pc:sldMk cId="211703589" sldId="343"/>
            <ac:spMk id="572" creationId="{00000000-0000-0000-0000-000000000000}"/>
          </ac:spMkLst>
        </pc:spChg>
      </pc:sldChg>
      <pc:sldChg chg="modSp">
        <pc:chgData name="Guest User" userId="S::urn:spo:anon#bc72e6c931b442e1b83d9d7baffb28dcb7bee849e2d9a5e2bb7cc25170a1c113::" providerId="AD" clId="Web-{632CF791-02D6-1856-7DE2-E8C33EF8D388}" dt="2022-03-22T16:44:47.328" v="402" actId="1076"/>
        <pc:sldMkLst>
          <pc:docMk/>
          <pc:sldMk cId="1639760722" sldId="344"/>
        </pc:sldMkLst>
        <pc:spChg chg="mod">
          <ac:chgData name="Guest User" userId="S::urn:spo:anon#bc72e6c931b442e1b83d9d7baffb28dcb7bee849e2d9a5e2bb7cc25170a1c113::" providerId="AD" clId="Web-{632CF791-02D6-1856-7DE2-E8C33EF8D388}" dt="2022-03-22T16:21:38.165" v="149" actId="1076"/>
          <ac:spMkLst>
            <pc:docMk/>
            <pc:sldMk cId="1639760722" sldId="344"/>
            <ac:spMk id="15" creationId="{E539B02A-95E4-440D-9E22-F138643D2C89}"/>
          </ac:spMkLst>
        </pc:spChg>
        <pc:spChg chg="mod">
          <ac:chgData name="Guest User" userId="S::urn:spo:anon#bc72e6c931b442e1b83d9d7baffb28dcb7bee849e2d9a5e2bb7cc25170a1c113::" providerId="AD" clId="Web-{632CF791-02D6-1856-7DE2-E8C33EF8D388}" dt="2022-03-22T16:44:47.328" v="402" actId="1076"/>
          <ac:spMkLst>
            <pc:docMk/>
            <pc:sldMk cId="1639760722" sldId="344"/>
            <ac:spMk id="16" creationId="{F29BBF2D-5F15-45EC-BE2A-14ABF1E18DB5}"/>
          </ac:spMkLst>
        </pc:spChg>
        <pc:spChg chg="mod">
          <ac:chgData name="Guest User" userId="S::urn:spo:anon#bc72e6c931b442e1b83d9d7baffb28dcb7bee849e2d9a5e2bb7cc25170a1c113::" providerId="AD" clId="Web-{632CF791-02D6-1856-7DE2-E8C33EF8D388}" dt="2022-03-22T16:22:13.650" v="155" actId="1076"/>
          <ac:spMkLst>
            <pc:docMk/>
            <pc:sldMk cId="1639760722" sldId="344"/>
            <ac:spMk id="605" creationId="{00000000-0000-0000-0000-000000000000}"/>
          </ac:spMkLst>
        </pc:spChg>
      </pc:sldChg>
      <pc:sldChg chg="modSp">
        <pc:chgData name="Guest User" userId="S::urn:spo:anon#bc72e6c931b442e1b83d9d7baffb28dcb7bee849e2d9a5e2bb7cc25170a1c113::" providerId="AD" clId="Web-{632CF791-02D6-1856-7DE2-E8C33EF8D388}" dt="2022-03-22T16:45:06.563" v="405" actId="20577"/>
        <pc:sldMkLst>
          <pc:docMk/>
          <pc:sldMk cId="2963563579" sldId="348"/>
        </pc:sldMkLst>
        <pc:spChg chg="mod">
          <ac:chgData name="Guest User" userId="S::urn:spo:anon#bc72e6c931b442e1b83d9d7baffb28dcb7bee849e2d9a5e2bb7cc25170a1c113::" providerId="AD" clId="Web-{632CF791-02D6-1856-7DE2-E8C33EF8D388}" dt="2022-03-22T16:23:00.261" v="161"/>
          <ac:spMkLst>
            <pc:docMk/>
            <pc:sldMk cId="2963563579" sldId="348"/>
            <ac:spMk id="4" creationId="{7E99DE7C-9F18-B33F-8154-9FB35F971E34}"/>
          </ac:spMkLst>
        </pc:spChg>
        <pc:spChg chg="mod">
          <ac:chgData name="Guest User" userId="S::urn:spo:anon#bc72e6c931b442e1b83d9d7baffb28dcb7bee849e2d9a5e2bb7cc25170a1c113::" providerId="AD" clId="Web-{632CF791-02D6-1856-7DE2-E8C33EF8D388}" dt="2022-03-22T16:24:38.951" v="177" actId="14100"/>
          <ac:spMkLst>
            <pc:docMk/>
            <pc:sldMk cId="2963563579" sldId="348"/>
            <ac:spMk id="8" creationId="{63314686-1D13-4553-B700-6ED15E618005}"/>
          </ac:spMkLst>
        </pc:spChg>
        <pc:spChg chg="mod">
          <ac:chgData name="Guest User" userId="S::urn:spo:anon#bc72e6c931b442e1b83d9d7baffb28dcb7bee849e2d9a5e2bb7cc25170a1c113::" providerId="AD" clId="Web-{632CF791-02D6-1856-7DE2-E8C33EF8D388}" dt="2022-03-22T16:45:06.563" v="405" actId="20577"/>
          <ac:spMkLst>
            <pc:docMk/>
            <pc:sldMk cId="2963563579" sldId="348"/>
            <ac:spMk id="14" creationId="{314EDFE2-8825-44A8-A59E-C5A6A5FD2E50}"/>
          </ac:spMkLst>
        </pc:spChg>
        <pc:spChg chg="mod">
          <ac:chgData name="Guest User" userId="S::urn:spo:anon#bc72e6c931b442e1b83d9d7baffb28dcb7bee849e2d9a5e2bb7cc25170a1c113::" providerId="AD" clId="Web-{632CF791-02D6-1856-7DE2-E8C33EF8D388}" dt="2022-03-22T16:22:57.605" v="160"/>
          <ac:spMkLst>
            <pc:docMk/>
            <pc:sldMk cId="2963563579" sldId="348"/>
            <ac:spMk id="16" creationId="{F6466A26-FAF8-4506-3FF0-3EF6BF3C065A}"/>
          </ac:spMkLst>
        </pc:spChg>
        <pc:picChg chg="mod">
          <ac:chgData name="Guest User" userId="S::urn:spo:anon#bc72e6c931b442e1b83d9d7baffb28dcb7bee849e2d9a5e2bb7cc25170a1c113::" providerId="AD" clId="Web-{632CF791-02D6-1856-7DE2-E8C33EF8D388}" dt="2022-03-22T16:22:54.261" v="159" actId="1076"/>
          <ac:picMkLst>
            <pc:docMk/>
            <pc:sldMk cId="2963563579" sldId="348"/>
            <ac:picMk id="6" creationId="{EDE8B35B-47B6-4765-BFAE-21B063BC34CB}"/>
          </ac:picMkLst>
        </pc:picChg>
      </pc:sldChg>
      <pc:sldChg chg="modSp">
        <pc:chgData name="Guest User" userId="S::urn:spo:anon#bc72e6c931b442e1b83d9d7baffb28dcb7bee849e2d9a5e2bb7cc25170a1c113::" providerId="AD" clId="Web-{632CF791-02D6-1856-7DE2-E8C33EF8D388}" dt="2022-03-22T16:34:50.765" v="353"/>
        <pc:sldMkLst>
          <pc:docMk/>
          <pc:sldMk cId="754587697" sldId="352"/>
        </pc:sldMkLst>
        <pc:spChg chg="mod">
          <ac:chgData name="Guest User" userId="S::urn:spo:anon#bc72e6c931b442e1b83d9d7baffb28dcb7bee849e2d9a5e2bb7cc25170a1c113::" providerId="AD" clId="Web-{632CF791-02D6-1856-7DE2-E8C33EF8D388}" dt="2022-03-22T16:34:31.796" v="350" actId="1076"/>
          <ac:spMkLst>
            <pc:docMk/>
            <pc:sldMk cId="754587697" sldId="352"/>
            <ac:spMk id="2" creationId="{4D5921D8-9182-46DA-BF73-3160B3589AF0}"/>
          </ac:spMkLst>
        </pc:spChg>
        <pc:graphicFrameChg chg="mod modGraphic">
          <ac:chgData name="Guest User" userId="S::urn:spo:anon#bc72e6c931b442e1b83d9d7baffb28dcb7bee849e2d9a5e2bb7cc25170a1c113::" providerId="AD" clId="Web-{632CF791-02D6-1856-7DE2-E8C33EF8D388}" dt="2022-03-22T16:34:50.765" v="353"/>
          <ac:graphicFrameMkLst>
            <pc:docMk/>
            <pc:sldMk cId="754587697" sldId="352"/>
            <ac:graphicFrameMk id="23" creationId="{F4A84191-3BFB-48AA-A343-19DE4EA3891C}"/>
          </ac:graphicFrameMkLst>
        </pc:graphicFrameChg>
      </pc:sldChg>
      <pc:sldChg chg="modSp">
        <pc:chgData name="Guest User" userId="S::urn:spo:anon#bc72e6c931b442e1b83d9d7baffb28dcb7bee849e2d9a5e2bb7cc25170a1c113::" providerId="AD" clId="Web-{632CF791-02D6-1856-7DE2-E8C33EF8D388}" dt="2022-03-22T16:28:26.161" v="229" actId="14100"/>
        <pc:sldMkLst>
          <pc:docMk/>
          <pc:sldMk cId="2527603155" sldId="353"/>
        </pc:sldMkLst>
        <pc:spChg chg="mod">
          <ac:chgData name="Guest User" userId="S::urn:spo:anon#bc72e6c931b442e1b83d9d7baffb28dcb7bee849e2d9a5e2bb7cc25170a1c113::" providerId="AD" clId="Web-{632CF791-02D6-1856-7DE2-E8C33EF8D388}" dt="2022-03-22T16:28:08.738" v="223" actId="1076"/>
          <ac:spMkLst>
            <pc:docMk/>
            <pc:sldMk cId="2527603155" sldId="353"/>
            <ac:spMk id="6" creationId="{381230BA-653D-44CE-9AC8-F83E1E142ED2}"/>
          </ac:spMkLst>
        </pc:spChg>
        <pc:spChg chg="mod">
          <ac:chgData name="Guest User" userId="S::urn:spo:anon#bc72e6c931b442e1b83d9d7baffb28dcb7bee849e2d9a5e2bb7cc25170a1c113::" providerId="AD" clId="Web-{632CF791-02D6-1856-7DE2-E8C33EF8D388}" dt="2022-03-22T16:28:19.582" v="226" actId="1076"/>
          <ac:spMkLst>
            <pc:docMk/>
            <pc:sldMk cId="2527603155" sldId="353"/>
            <ac:spMk id="7" creationId="{5CC2109E-2E2D-46CC-B856-A39FE7E1BE02}"/>
          </ac:spMkLst>
        </pc:spChg>
        <pc:spChg chg="mod">
          <ac:chgData name="Guest User" userId="S::urn:spo:anon#bc72e6c931b442e1b83d9d7baffb28dcb7bee849e2d9a5e2bb7cc25170a1c113::" providerId="AD" clId="Web-{632CF791-02D6-1856-7DE2-E8C33EF8D388}" dt="2022-03-22T16:28:05.769" v="216" actId="1076"/>
          <ac:spMkLst>
            <pc:docMk/>
            <pc:sldMk cId="2527603155" sldId="353"/>
            <ac:spMk id="8" creationId="{B1EC9CE1-2695-4B56-ABB2-82D9F7DD622C}"/>
          </ac:spMkLst>
        </pc:spChg>
        <pc:spChg chg="mod">
          <ac:chgData name="Guest User" userId="S::urn:spo:anon#bc72e6c931b442e1b83d9d7baffb28dcb7bee849e2d9a5e2bb7cc25170a1c113::" providerId="AD" clId="Web-{632CF791-02D6-1856-7DE2-E8C33EF8D388}" dt="2022-03-22T16:28:14.676" v="225" actId="1076"/>
          <ac:spMkLst>
            <pc:docMk/>
            <pc:sldMk cId="2527603155" sldId="353"/>
            <ac:spMk id="9" creationId="{45C04764-F269-4F64-9737-7683A5D0C3C8}"/>
          </ac:spMkLst>
        </pc:spChg>
        <pc:spChg chg="mod">
          <ac:chgData name="Guest User" userId="S::urn:spo:anon#bc72e6c931b442e1b83d9d7baffb28dcb7bee849e2d9a5e2bb7cc25170a1c113::" providerId="AD" clId="Web-{632CF791-02D6-1856-7DE2-E8C33EF8D388}" dt="2022-03-22T16:28:05.832" v="219" actId="1076"/>
          <ac:spMkLst>
            <pc:docMk/>
            <pc:sldMk cId="2527603155" sldId="353"/>
            <ac:spMk id="15" creationId="{1F301F17-C695-479F-8C1E-0A4D7A9FF58B}"/>
          </ac:spMkLst>
        </pc:spChg>
        <pc:spChg chg="mod">
          <ac:chgData name="Guest User" userId="S::urn:spo:anon#bc72e6c931b442e1b83d9d7baffb28dcb7bee849e2d9a5e2bb7cc25170a1c113::" providerId="AD" clId="Web-{632CF791-02D6-1856-7DE2-E8C33EF8D388}" dt="2022-03-22T16:28:26.161" v="229" actId="14100"/>
          <ac:spMkLst>
            <pc:docMk/>
            <pc:sldMk cId="2527603155" sldId="353"/>
            <ac:spMk id="17" creationId="{1D0F6373-7FF4-F64B-A9FB-FA5D91D110D1}"/>
          </ac:spMkLst>
        </pc:spChg>
        <pc:cxnChg chg="mod">
          <ac:chgData name="Guest User" userId="S::urn:spo:anon#bc72e6c931b442e1b83d9d7baffb28dcb7bee849e2d9a5e2bb7cc25170a1c113::" providerId="AD" clId="Web-{632CF791-02D6-1856-7DE2-E8C33EF8D388}" dt="2022-03-22T16:28:05.816" v="218" actId="1076"/>
          <ac:cxnSpMkLst>
            <pc:docMk/>
            <pc:sldMk cId="2527603155" sldId="353"/>
            <ac:cxnSpMk id="12" creationId="{A94571A4-862E-41DE-A57B-B3E47291AED7}"/>
          </ac:cxnSpMkLst>
        </pc:cxnChg>
        <pc:cxnChg chg="mod">
          <ac:chgData name="Guest User" userId="S::urn:spo:anon#bc72e6c931b442e1b83d9d7baffb28dcb7bee849e2d9a5e2bb7cc25170a1c113::" providerId="AD" clId="Web-{632CF791-02D6-1856-7DE2-E8C33EF8D388}" dt="2022-03-22T16:28:19.598" v="227" actId="1076"/>
          <ac:cxnSpMkLst>
            <pc:docMk/>
            <pc:sldMk cId="2527603155" sldId="353"/>
            <ac:cxnSpMk id="27" creationId="{6EB4A5A2-26B2-4767-AD65-2BB9CEB4CBFB}"/>
          </ac:cxnSpMkLst>
        </pc:cxnChg>
        <pc:cxnChg chg="mod">
          <ac:chgData name="Guest User" userId="S::urn:spo:anon#bc72e6c931b442e1b83d9d7baffb28dcb7bee849e2d9a5e2bb7cc25170a1c113::" providerId="AD" clId="Web-{632CF791-02D6-1856-7DE2-E8C33EF8D388}" dt="2022-03-22T16:28:12.301" v="224" actId="1076"/>
          <ac:cxnSpMkLst>
            <pc:docMk/>
            <pc:sldMk cId="2527603155" sldId="353"/>
            <ac:cxnSpMk id="28" creationId="{F6FFE78A-F8D8-4DFD-8258-5C82EC421929}"/>
          </ac:cxnSpMkLst>
        </pc:cxnChg>
      </pc:sldChg>
      <pc:sldChg chg="addSp modSp">
        <pc:chgData name="Guest User" userId="S::urn:spo:anon#bc72e6c931b442e1b83d9d7baffb28dcb7bee849e2d9a5e2bb7cc25170a1c113::" providerId="AD" clId="Web-{632CF791-02D6-1856-7DE2-E8C33EF8D388}" dt="2022-03-22T18:28:33.733" v="419" actId="20577"/>
        <pc:sldMkLst>
          <pc:docMk/>
          <pc:sldMk cId="2060296423" sldId="355"/>
        </pc:sldMkLst>
        <pc:spChg chg="add mod">
          <ac:chgData name="Guest User" userId="S::urn:spo:anon#bc72e6c931b442e1b83d9d7baffb28dcb7bee849e2d9a5e2bb7cc25170a1c113::" providerId="AD" clId="Web-{632CF791-02D6-1856-7DE2-E8C33EF8D388}" dt="2022-03-22T18:28:33.733" v="419" actId="20577"/>
          <ac:spMkLst>
            <pc:docMk/>
            <pc:sldMk cId="2060296423" sldId="355"/>
            <ac:spMk id="2" creationId="{04EDEE64-E746-78F4-1324-7AF433DDB119}"/>
          </ac:spMkLst>
        </pc:spChg>
      </pc:sldChg>
      <pc:sldChg chg="modSp">
        <pc:chgData name="Guest User" userId="S::urn:spo:anon#bc72e6c931b442e1b83d9d7baffb28dcb7bee849e2d9a5e2bb7cc25170a1c113::" providerId="AD" clId="Web-{632CF791-02D6-1856-7DE2-E8C33EF8D388}" dt="2022-03-22T16:44:50.985" v="403" actId="1076"/>
        <pc:sldMkLst>
          <pc:docMk/>
          <pc:sldMk cId="4017139295" sldId="356"/>
        </pc:sldMkLst>
        <pc:spChg chg="mod">
          <ac:chgData name="Guest User" userId="S::urn:spo:anon#bc72e6c931b442e1b83d9d7baffb28dcb7bee849e2d9a5e2bb7cc25170a1c113::" providerId="AD" clId="Web-{632CF791-02D6-1856-7DE2-E8C33EF8D388}" dt="2022-03-22T16:44:50.985" v="403" actId="1076"/>
          <ac:spMkLst>
            <pc:docMk/>
            <pc:sldMk cId="4017139295" sldId="356"/>
            <ac:spMk id="16" creationId="{F29BBF2D-5F15-45EC-BE2A-14ABF1E18DB5}"/>
          </ac:spMkLst>
        </pc:spChg>
      </pc:sldChg>
      <pc:sldChg chg="modSp">
        <pc:chgData name="Guest User" userId="S::urn:spo:anon#bc72e6c931b442e1b83d9d7baffb28dcb7bee849e2d9a5e2bb7cc25170a1c113::" providerId="AD" clId="Web-{632CF791-02D6-1856-7DE2-E8C33EF8D388}" dt="2022-03-22T16:44:53.266" v="404" actId="1076"/>
        <pc:sldMkLst>
          <pc:docMk/>
          <pc:sldMk cId="73800528" sldId="357"/>
        </pc:sldMkLst>
        <pc:spChg chg="mod">
          <ac:chgData name="Guest User" userId="S::urn:spo:anon#bc72e6c931b442e1b83d9d7baffb28dcb7bee849e2d9a5e2bb7cc25170a1c113::" providerId="AD" clId="Web-{632CF791-02D6-1856-7DE2-E8C33EF8D388}" dt="2022-03-22T16:44:53.266" v="404" actId="1076"/>
          <ac:spMkLst>
            <pc:docMk/>
            <pc:sldMk cId="73800528" sldId="357"/>
            <ac:spMk id="16" creationId="{F29BBF2D-5F15-45EC-BE2A-14ABF1E18DB5}"/>
          </ac:spMkLst>
        </pc:spChg>
      </pc:sldChg>
      <pc:sldChg chg="modSp">
        <pc:chgData name="Guest User" userId="S::urn:spo:anon#bc72e6c931b442e1b83d9d7baffb28dcb7bee849e2d9a5e2bb7cc25170a1c113::" providerId="AD" clId="Web-{632CF791-02D6-1856-7DE2-E8C33EF8D388}" dt="2022-03-22T16:24:59.686" v="181" actId="1076"/>
        <pc:sldMkLst>
          <pc:docMk/>
          <pc:sldMk cId="3608811986" sldId="360"/>
        </pc:sldMkLst>
        <pc:picChg chg="mod modCrop">
          <ac:chgData name="Guest User" userId="S::urn:spo:anon#bc72e6c931b442e1b83d9d7baffb28dcb7bee849e2d9a5e2bb7cc25170a1c113::" providerId="AD" clId="Web-{632CF791-02D6-1856-7DE2-E8C33EF8D388}" dt="2022-03-22T16:24:59.686" v="181" actId="1076"/>
          <ac:picMkLst>
            <pc:docMk/>
            <pc:sldMk cId="3608811986" sldId="360"/>
            <ac:picMk id="6" creationId="{EDE8B35B-47B6-4765-BFAE-21B063BC34CB}"/>
          </ac:picMkLst>
        </pc:picChg>
      </pc:sldChg>
      <pc:sldChg chg="add del replId">
        <pc:chgData name="Guest User" userId="S::urn:spo:anon#bc72e6c931b442e1b83d9d7baffb28dcb7bee849e2d9a5e2bb7cc25170a1c113::" providerId="AD" clId="Web-{632CF791-02D6-1856-7DE2-E8C33EF8D388}" dt="2022-03-22T16:06:54.812" v="2"/>
        <pc:sldMkLst>
          <pc:docMk/>
          <pc:sldMk cId="2070894326" sldId="361"/>
        </pc:sldMkLst>
      </pc:sldChg>
    </pc:docChg>
  </pc:docChgLst>
  <pc:docChgLst>
    <pc:chgData name="Guest User" userId="S::urn:spo:anon#bc72e6c931b442e1b83d9d7baffb28dcb7bee849e2d9a5e2bb7cc25170a1c113::" providerId="AD" clId="Web-{237A05A1-EC18-7DB7-BCDB-3B0904F2EFC6}"/>
    <pc:docChg chg="addSld delSld modSld">
      <pc:chgData name="Guest User" userId="S::urn:spo:anon#bc72e6c931b442e1b83d9d7baffb28dcb7bee849e2d9a5e2bb7cc25170a1c113::" providerId="AD" clId="Web-{237A05A1-EC18-7DB7-BCDB-3B0904F2EFC6}" dt="2022-03-22T15:39:34.356" v="412"/>
      <pc:docMkLst>
        <pc:docMk/>
      </pc:docMkLst>
      <pc:sldChg chg="addSp modSp">
        <pc:chgData name="Guest User" userId="S::urn:spo:anon#bc72e6c931b442e1b83d9d7baffb28dcb7bee849e2d9a5e2bb7cc25170a1c113::" providerId="AD" clId="Web-{237A05A1-EC18-7DB7-BCDB-3B0904F2EFC6}" dt="2022-03-21T22:26:02.571" v="45" actId="1076"/>
        <pc:sldMkLst>
          <pc:docMk/>
          <pc:sldMk cId="0" sldId="269"/>
        </pc:sldMkLst>
        <pc:spChg chg="add mod">
          <ac:chgData name="Guest User" userId="S::urn:spo:anon#bc72e6c931b442e1b83d9d7baffb28dcb7bee849e2d9a5e2bb7cc25170a1c113::" providerId="AD" clId="Web-{237A05A1-EC18-7DB7-BCDB-3B0904F2EFC6}" dt="2022-03-21T22:23:09.316" v="43" actId="20577"/>
          <ac:spMkLst>
            <pc:docMk/>
            <pc:sldMk cId="0" sldId="269"/>
            <ac:spMk id="7" creationId="{26F3CCCF-2BC5-4D15-8B88-7E8827A7C6E8}"/>
          </ac:spMkLst>
        </pc:spChg>
        <pc:spChg chg="ord">
          <ac:chgData name="Guest User" userId="S::urn:spo:anon#bc72e6c931b442e1b83d9d7baffb28dcb7bee849e2d9a5e2bb7cc25170a1c113::" providerId="AD" clId="Web-{237A05A1-EC18-7DB7-BCDB-3B0904F2EFC6}" dt="2022-03-21T22:23:15.769" v="44"/>
          <ac:spMkLst>
            <pc:docMk/>
            <pc:sldMk cId="0" sldId="269"/>
            <ac:spMk id="13" creationId="{81906317-FB50-4C44-83DD-8262AE251781}"/>
          </ac:spMkLst>
        </pc:spChg>
        <pc:spChg chg="mod">
          <ac:chgData name="Guest User" userId="S::urn:spo:anon#bc72e6c931b442e1b83d9d7baffb28dcb7bee849e2d9a5e2bb7cc25170a1c113::" providerId="AD" clId="Web-{237A05A1-EC18-7DB7-BCDB-3B0904F2EFC6}" dt="2022-03-21T22:22:38.784" v="36" actId="1076"/>
          <ac:spMkLst>
            <pc:docMk/>
            <pc:sldMk cId="0" sldId="269"/>
            <ac:spMk id="16" creationId="{F29BBF2D-5F15-45EC-BE2A-14ABF1E18DB5}"/>
          </ac:spMkLst>
        </pc:spChg>
        <pc:picChg chg="add mod">
          <ac:chgData name="Guest User" userId="S::urn:spo:anon#bc72e6c931b442e1b83d9d7baffb28dcb7bee849e2d9a5e2bb7cc25170a1c113::" providerId="AD" clId="Web-{237A05A1-EC18-7DB7-BCDB-3B0904F2EFC6}" dt="2022-03-21T22:21:55.814" v="17" actId="14100"/>
          <ac:picMkLst>
            <pc:docMk/>
            <pc:sldMk cId="0" sldId="269"/>
            <ac:picMk id="4" creationId="{A3DE1E23-4D91-4A14-B3F7-C67C5D0DD7A5}"/>
          </ac:picMkLst>
        </pc:picChg>
        <pc:picChg chg="add mod">
          <ac:chgData name="Guest User" userId="S::urn:spo:anon#bc72e6c931b442e1b83d9d7baffb28dcb7bee849e2d9a5e2bb7cc25170a1c113::" providerId="AD" clId="Web-{237A05A1-EC18-7DB7-BCDB-3B0904F2EFC6}" dt="2022-03-21T22:21:55.908" v="18" actId="14100"/>
          <ac:picMkLst>
            <pc:docMk/>
            <pc:sldMk cId="0" sldId="269"/>
            <ac:picMk id="5" creationId="{9E943CF7-D578-4861-B11C-4ED484043137}"/>
          </ac:picMkLst>
        </pc:picChg>
        <pc:picChg chg="add mod">
          <ac:chgData name="Guest User" userId="S::urn:spo:anon#bc72e6c931b442e1b83d9d7baffb28dcb7bee849e2d9a5e2bb7cc25170a1c113::" providerId="AD" clId="Web-{237A05A1-EC18-7DB7-BCDB-3B0904F2EFC6}" dt="2022-03-21T22:26:02.571" v="45" actId="1076"/>
          <ac:picMkLst>
            <pc:docMk/>
            <pc:sldMk cId="0" sldId="269"/>
            <ac:picMk id="6" creationId="{7320460E-7625-44AD-8A44-09D8797A39CC}"/>
          </ac:picMkLst>
        </pc:picChg>
      </pc:sldChg>
      <pc:sldChg chg="addSp delSp modSp">
        <pc:chgData name="Guest User" userId="S::urn:spo:anon#bc72e6c931b442e1b83d9d7baffb28dcb7bee849e2d9a5e2bb7cc25170a1c113::" providerId="AD" clId="Web-{237A05A1-EC18-7DB7-BCDB-3B0904F2EFC6}" dt="2022-03-21T22:35:28.010" v="191" actId="20577"/>
        <pc:sldMkLst>
          <pc:docMk/>
          <pc:sldMk cId="1639760722" sldId="344"/>
        </pc:sldMkLst>
        <pc:spChg chg="add del mod">
          <ac:chgData name="Guest User" userId="S::urn:spo:anon#bc72e6c931b442e1b83d9d7baffb28dcb7bee849e2d9a5e2bb7cc25170a1c113::" providerId="AD" clId="Web-{237A05A1-EC18-7DB7-BCDB-3B0904F2EFC6}" dt="2022-03-21T22:30:13.360" v="102"/>
          <ac:spMkLst>
            <pc:docMk/>
            <pc:sldMk cId="1639760722" sldId="344"/>
            <ac:spMk id="14" creationId="{AFD8A8EF-905D-45A0-8386-AD36AAB58F3D}"/>
          </ac:spMkLst>
        </pc:spChg>
        <pc:spChg chg="add mod">
          <ac:chgData name="Guest User" userId="S::urn:spo:anon#bc72e6c931b442e1b83d9d7baffb28dcb7bee849e2d9a5e2bb7cc25170a1c113::" providerId="AD" clId="Web-{237A05A1-EC18-7DB7-BCDB-3B0904F2EFC6}" dt="2022-03-21T22:31:57.457" v="127" actId="1076"/>
          <ac:spMkLst>
            <pc:docMk/>
            <pc:sldMk cId="1639760722" sldId="344"/>
            <ac:spMk id="15" creationId="{E539B02A-95E4-440D-9E22-F138643D2C89}"/>
          </ac:spMkLst>
        </pc:spChg>
        <pc:spChg chg="mod">
          <ac:chgData name="Guest User" userId="S::urn:spo:anon#bc72e6c931b442e1b83d9d7baffb28dcb7bee849e2d9a5e2bb7cc25170a1c113::" providerId="AD" clId="Web-{237A05A1-EC18-7DB7-BCDB-3B0904F2EFC6}" dt="2022-03-21T22:35:28.010" v="191" actId="20577"/>
          <ac:spMkLst>
            <pc:docMk/>
            <pc:sldMk cId="1639760722" sldId="344"/>
            <ac:spMk id="16" creationId="{F29BBF2D-5F15-45EC-BE2A-14ABF1E18DB5}"/>
          </ac:spMkLst>
        </pc:spChg>
      </pc:sldChg>
      <pc:sldChg chg="addSp delSp modSp">
        <pc:chgData name="Guest User" userId="S::urn:spo:anon#bc72e6c931b442e1b83d9d7baffb28dcb7bee849e2d9a5e2bb7cc25170a1c113::" providerId="AD" clId="Web-{237A05A1-EC18-7DB7-BCDB-3B0904F2EFC6}" dt="2022-03-21T23:12:55.597" v="399" actId="20577"/>
        <pc:sldMkLst>
          <pc:docMk/>
          <pc:sldMk cId="2963563579" sldId="348"/>
        </pc:sldMkLst>
        <pc:spChg chg="add ord">
          <ac:chgData name="Guest User" userId="S::urn:spo:anon#bc72e6c931b442e1b83d9d7baffb28dcb7bee849e2d9a5e2bb7cc25170a1c113::" providerId="AD" clId="Web-{237A05A1-EC18-7DB7-BCDB-3B0904F2EFC6}" dt="2022-03-21T23:01:12.388" v="261"/>
          <ac:spMkLst>
            <pc:docMk/>
            <pc:sldMk cId="2963563579" sldId="348"/>
            <ac:spMk id="7" creationId="{F181CFD1-6012-47A6-96D4-5E27FA218921}"/>
          </ac:spMkLst>
        </pc:spChg>
        <pc:spChg chg="add mod">
          <ac:chgData name="Guest User" userId="S::urn:spo:anon#bc72e6c931b442e1b83d9d7baffb28dcb7bee849e2d9a5e2bb7cc25170a1c113::" providerId="AD" clId="Web-{237A05A1-EC18-7DB7-BCDB-3B0904F2EFC6}" dt="2022-03-21T23:12:55.597" v="399" actId="20577"/>
          <ac:spMkLst>
            <pc:docMk/>
            <pc:sldMk cId="2963563579" sldId="348"/>
            <ac:spMk id="8" creationId="{63314686-1D13-4553-B700-6ED15E618005}"/>
          </ac:spMkLst>
        </pc:spChg>
        <pc:spChg chg="del mod">
          <ac:chgData name="Guest User" userId="S::urn:spo:anon#bc72e6c931b442e1b83d9d7baffb28dcb7bee849e2d9a5e2bb7cc25170a1c113::" providerId="AD" clId="Web-{237A05A1-EC18-7DB7-BCDB-3B0904F2EFC6}" dt="2022-03-21T23:01:39.030" v="268"/>
          <ac:spMkLst>
            <pc:docMk/>
            <pc:sldMk cId="2963563579" sldId="348"/>
            <ac:spMk id="13" creationId="{8AA9B512-3C2F-4929-A53B-DC613CCD9E7D}"/>
          </ac:spMkLst>
        </pc:spChg>
        <pc:spChg chg="mod">
          <ac:chgData name="Guest User" userId="S::urn:spo:anon#bc72e6c931b442e1b83d9d7baffb28dcb7bee849e2d9a5e2bb7cc25170a1c113::" providerId="AD" clId="Web-{237A05A1-EC18-7DB7-BCDB-3B0904F2EFC6}" dt="2022-03-21T23:08:21.338" v="364" actId="1076"/>
          <ac:spMkLst>
            <pc:docMk/>
            <pc:sldMk cId="2963563579" sldId="348"/>
            <ac:spMk id="14" creationId="{314EDFE2-8825-44A8-A59E-C5A6A5FD2E50}"/>
          </ac:spMkLst>
        </pc:spChg>
        <pc:spChg chg="mod">
          <ac:chgData name="Guest User" userId="S::urn:spo:anon#bc72e6c931b442e1b83d9d7baffb28dcb7bee849e2d9a5e2bb7cc25170a1c113::" providerId="AD" clId="Web-{237A05A1-EC18-7DB7-BCDB-3B0904F2EFC6}" dt="2022-03-21T23:08:16.854" v="363" actId="20577"/>
          <ac:spMkLst>
            <pc:docMk/>
            <pc:sldMk cId="2963563579" sldId="348"/>
            <ac:spMk id="601" creationId="{00000000-0000-0000-0000-000000000000}"/>
          </ac:spMkLst>
        </pc:spChg>
        <pc:picChg chg="add mod">
          <ac:chgData name="Guest User" userId="S::urn:spo:anon#bc72e6c931b442e1b83d9d7baffb28dcb7bee849e2d9a5e2bb7cc25170a1c113::" providerId="AD" clId="Web-{237A05A1-EC18-7DB7-BCDB-3B0904F2EFC6}" dt="2022-03-21T23:01:59.530" v="276" actId="1076"/>
          <ac:picMkLst>
            <pc:docMk/>
            <pc:sldMk cId="2963563579" sldId="348"/>
            <ac:picMk id="5" creationId="{0EC0F891-55BF-4D55-8E8B-B53DA8C4E767}"/>
          </ac:picMkLst>
        </pc:picChg>
        <pc:picChg chg="add mod">
          <ac:chgData name="Guest User" userId="S::urn:spo:anon#bc72e6c931b442e1b83d9d7baffb28dcb7bee849e2d9a5e2bb7cc25170a1c113::" providerId="AD" clId="Web-{237A05A1-EC18-7DB7-BCDB-3B0904F2EFC6}" dt="2022-03-21T23:01:59.686" v="277" actId="1076"/>
          <ac:picMkLst>
            <pc:docMk/>
            <pc:sldMk cId="2963563579" sldId="348"/>
            <ac:picMk id="6" creationId="{EDE8B35B-47B6-4765-BFAE-21B063BC34CB}"/>
          </ac:picMkLst>
        </pc:picChg>
      </pc:sldChg>
      <pc:sldChg chg="del">
        <pc:chgData name="Guest User" userId="S::urn:spo:anon#bc72e6c931b442e1b83d9d7baffb28dcb7bee849e2d9a5e2bb7cc25170a1c113::" providerId="AD" clId="Web-{237A05A1-EC18-7DB7-BCDB-3B0904F2EFC6}" dt="2022-03-22T15:28:58.372" v="400"/>
        <pc:sldMkLst>
          <pc:docMk/>
          <pc:sldMk cId="3576351713" sldId="354"/>
        </pc:sldMkLst>
      </pc:sldChg>
      <pc:sldChg chg="addSp delSp modSp add replId">
        <pc:chgData name="Guest User" userId="S::urn:spo:anon#bc72e6c931b442e1b83d9d7baffb28dcb7bee849e2d9a5e2bb7cc25170a1c113::" providerId="AD" clId="Web-{237A05A1-EC18-7DB7-BCDB-3B0904F2EFC6}" dt="2022-03-21T22:36:27.152" v="201" actId="20577"/>
        <pc:sldMkLst>
          <pc:docMk/>
          <pc:sldMk cId="4017139295" sldId="356"/>
        </pc:sldMkLst>
        <pc:spChg chg="add del">
          <ac:chgData name="Guest User" userId="S::urn:spo:anon#bc72e6c931b442e1b83d9d7baffb28dcb7bee849e2d9a5e2bb7cc25170a1c113::" providerId="AD" clId="Web-{237A05A1-EC18-7DB7-BCDB-3B0904F2EFC6}" dt="2022-03-21T22:33:20.803" v="157"/>
          <ac:spMkLst>
            <pc:docMk/>
            <pc:sldMk cId="4017139295" sldId="356"/>
            <ac:spMk id="5" creationId="{83708C2C-6916-40DA-AC62-A77ABDDF224D}"/>
          </ac:spMkLst>
        </pc:spChg>
        <pc:spChg chg="mod">
          <ac:chgData name="Guest User" userId="S::urn:spo:anon#bc72e6c931b442e1b83d9d7baffb28dcb7bee849e2d9a5e2bb7cc25170a1c113::" providerId="AD" clId="Web-{237A05A1-EC18-7DB7-BCDB-3B0904F2EFC6}" dt="2022-03-21T22:36:27.152" v="201" actId="20577"/>
          <ac:spMkLst>
            <pc:docMk/>
            <pc:sldMk cId="4017139295" sldId="356"/>
            <ac:spMk id="15" creationId="{E539B02A-95E4-440D-9E22-F138643D2C89}"/>
          </ac:spMkLst>
        </pc:spChg>
        <pc:spChg chg="mod">
          <ac:chgData name="Guest User" userId="S::urn:spo:anon#bc72e6c931b442e1b83d9d7baffb28dcb7bee849e2d9a5e2bb7cc25170a1c113::" providerId="AD" clId="Web-{237A05A1-EC18-7DB7-BCDB-3B0904F2EFC6}" dt="2022-03-21T22:35:56.105" v="197" actId="20577"/>
          <ac:spMkLst>
            <pc:docMk/>
            <pc:sldMk cId="4017139295" sldId="356"/>
            <ac:spMk id="16" creationId="{F29BBF2D-5F15-45EC-BE2A-14ABF1E18DB5}"/>
          </ac:spMkLst>
        </pc:spChg>
      </pc:sldChg>
      <pc:sldChg chg="modSp add replId">
        <pc:chgData name="Guest User" userId="S::urn:spo:anon#bc72e6c931b442e1b83d9d7baffb28dcb7bee849e2d9a5e2bb7cc25170a1c113::" providerId="AD" clId="Web-{237A05A1-EC18-7DB7-BCDB-3B0904F2EFC6}" dt="2022-03-21T22:38:03.546" v="240" actId="20577"/>
        <pc:sldMkLst>
          <pc:docMk/>
          <pc:sldMk cId="73800528" sldId="357"/>
        </pc:sldMkLst>
        <pc:spChg chg="mod">
          <ac:chgData name="Guest User" userId="S::urn:spo:anon#bc72e6c931b442e1b83d9d7baffb28dcb7bee849e2d9a5e2bb7cc25170a1c113::" providerId="AD" clId="Web-{237A05A1-EC18-7DB7-BCDB-3B0904F2EFC6}" dt="2022-03-21T22:38:03.546" v="240" actId="20577"/>
          <ac:spMkLst>
            <pc:docMk/>
            <pc:sldMk cId="73800528" sldId="357"/>
            <ac:spMk id="15" creationId="{E539B02A-95E4-440D-9E22-F138643D2C89}"/>
          </ac:spMkLst>
        </pc:spChg>
        <pc:spChg chg="mod">
          <ac:chgData name="Guest User" userId="S::urn:spo:anon#bc72e6c931b442e1b83d9d7baffb28dcb7bee849e2d9a5e2bb7cc25170a1c113::" providerId="AD" clId="Web-{237A05A1-EC18-7DB7-BCDB-3B0904F2EFC6}" dt="2022-03-21T22:37:29.498" v="233" actId="20577"/>
          <ac:spMkLst>
            <pc:docMk/>
            <pc:sldMk cId="73800528" sldId="357"/>
            <ac:spMk id="16" creationId="{F29BBF2D-5F15-45EC-BE2A-14ABF1E18DB5}"/>
          </ac:spMkLst>
        </pc:spChg>
      </pc:sldChg>
      <pc:sldChg chg="addSp delSp modSp add replId modTransition">
        <pc:chgData name="Guest User" userId="S::urn:spo:anon#bc72e6c931b442e1b83d9d7baffb28dcb7bee849e2d9a5e2bb7cc25170a1c113::" providerId="AD" clId="Web-{237A05A1-EC18-7DB7-BCDB-3B0904F2EFC6}" dt="2022-03-22T15:39:06.793" v="410"/>
        <pc:sldMkLst>
          <pc:docMk/>
          <pc:sldMk cId="2689461321" sldId="358"/>
        </pc:sldMkLst>
        <pc:spChg chg="del">
          <ac:chgData name="Guest User" userId="S::urn:spo:anon#bc72e6c931b442e1b83d9d7baffb28dcb7bee849e2d9a5e2bb7cc25170a1c113::" providerId="AD" clId="Web-{237A05A1-EC18-7DB7-BCDB-3B0904F2EFC6}" dt="2022-03-21T23:02:31.031" v="286"/>
          <ac:spMkLst>
            <pc:docMk/>
            <pc:sldMk cId="2689461321" sldId="358"/>
            <ac:spMk id="2" creationId="{5D848F27-C40A-4D17-BE99-A612AC2419F4}"/>
          </ac:spMkLst>
        </pc:spChg>
        <pc:spChg chg="del">
          <ac:chgData name="Guest User" userId="S::urn:spo:anon#bc72e6c931b442e1b83d9d7baffb28dcb7bee849e2d9a5e2bb7cc25170a1c113::" providerId="AD" clId="Web-{237A05A1-EC18-7DB7-BCDB-3B0904F2EFC6}" dt="2022-03-21T23:02:27.031" v="284"/>
          <ac:spMkLst>
            <pc:docMk/>
            <pc:sldMk cId="2689461321" sldId="358"/>
            <ac:spMk id="3" creationId="{AC311647-2B4D-4E6C-81D1-9F8580567C0E}"/>
          </ac:spMkLst>
        </pc:spChg>
        <pc:spChg chg="del">
          <ac:chgData name="Guest User" userId="S::urn:spo:anon#bc72e6c931b442e1b83d9d7baffb28dcb7bee849e2d9a5e2bb7cc25170a1c113::" providerId="AD" clId="Web-{237A05A1-EC18-7DB7-BCDB-3B0904F2EFC6}" dt="2022-03-21T23:02:21.453" v="281"/>
          <ac:spMkLst>
            <pc:docMk/>
            <pc:sldMk cId="2689461321" sldId="358"/>
            <ac:spMk id="4" creationId="{24BB1A01-A250-4A43-8E6D-77C6D0C6D6C5}"/>
          </ac:spMkLst>
        </pc:spChg>
        <pc:spChg chg="mod">
          <ac:chgData name="Guest User" userId="S::urn:spo:anon#bc72e6c931b442e1b83d9d7baffb28dcb7bee849e2d9a5e2bb7cc25170a1c113::" providerId="AD" clId="Web-{237A05A1-EC18-7DB7-BCDB-3B0904F2EFC6}" dt="2022-03-21T23:03:14.329" v="296" actId="14100"/>
          <ac:spMkLst>
            <pc:docMk/>
            <pc:sldMk cId="2689461321" sldId="358"/>
            <ac:spMk id="7" creationId="{F181CFD1-6012-47A6-96D4-5E27FA218921}"/>
          </ac:spMkLst>
        </pc:spChg>
        <pc:spChg chg="add del mod">
          <ac:chgData name="Guest User" userId="S::urn:spo:anon#bc72e6c931b442e1b83d9d7baffb28dcb7bee849e2d9a5e2bb7cc25170a1c113::" providerId="AD" clId="Web-{237A05A1-EC18-7DB7-BCDB-3B0904F2EFC6}" dt="2022-03-21T23:05:54.303" v="340"/>
          <ac:spMkLst>
            <pc:docMk/>
            <pc:sldMk cId="2689461321" sldId="358"/>
            <ac:spMk id="8" creationId="{917AAFED-4D22-4DB3-8AA1-832F1C79E612}"/>
          </ac:spMkLst>
        </pc:spChg>
        <pc:spChg chg="del">
          <ac:chgData name="Guest User" userId="S::urn:spo:anon#bc72e6c931b442e1b83d9d7baffb28dcb7bee849e2d9a5e2bb7cc25170a1c113::" providerId="AD" clId="Web-{237A05A1-EC18-7DB7-BCDB-3B0904F2EFC6}" dt="2022-03-21T23:02:15.921" v="279"/>
          <ac:spMkLst>
            <pc:docMk/>
            <pc:sldMk cId="2689461321" sldId="358"/>
            <ac:spMk id="14" creationId="{314EDFE2-8825-44A8-A59E-C5A6A5FD2E50}"/>
          </ac:spMkLst>
        </pc:spChg>
        <pc:spChg chg="add del mod">
          <ac:chgData name="Guest User" userId="S::urn:spo:anon#bc72e6c931b442e1b83d9d7baffb28dcb7bee849e2d9a5e2bb7cc25170a1c113::" providerId="AD" clId="Web-{237A05A1-EC18-7DB7-BCDB-3B0904F2EFC6}" dt="2022-03-21T23:05:54.303" v="339"/>
          <ac:spMkLst>
            <pc:docMk/>
            <pc:sldMk cId="2689461321" sldId="358"/>
            <ac:spMk id="16" creationId="{22FA641D-CFF4-43A8-BC35-BEB1F29FF584}"/>
          </ac:spMkLst>
        </pc:spChg>
        <pc:spChg chg="add del mod">
          <ac:chgData name="Guest User" userId="S::urn:spo:anon#bc72e6c931b442e1b83d9d7baffb28dcb7bee849e2d9a5e2bb7cc25170a1c113::" providerId="AD" clId="Web-{237A05A1-EC18-7DB7-BCDB-3B0904F2EFC6}" dt="2022-03-21T23:04:47.504" v="320"/>
          <ac:spMkLst>
            <pc:docMk/>
            <pc:sldMk cId="2689461321" sldId="358"/>
            <ac:spMk id="17" creationId="{FB1C6A50-E76A-450D-BD65-C9CCD0BF3031}"/>
          </ac:spMkLst>
        </pc:spChg>
        <pc:spChg chg="add del mod">
          <ac:chgData name="Guest User" userId="S::urn:spo:anon#bc72e6c931b442e1b83d9d7baffb28dcb7bee849e2d9a5e2bb7cc25170a1c113::" providerId="AD" clId="Web-{237A05A1-EC18-7DB7-BCDB-3B0904F2EFC6}" dt="2022-03-21T23:05:54.303" v="338"/>
          <ac:spMkLst>
            <pc:docMk/>
            <pc:sldMk cId="2689461321" sldId="358"/>
            <ac:spMk id="18" creationId="{47DC6DE7-60B9-4E99-AEB0-4D2BBD83C335}"/>
          </ac:spMkLst>
        </pc:spChg>
        <pc:spChg chg="del">
          <ac:chgData name="Guest User" userId="S::urn:spo:anon#bc72e6c931b442e1b83d9d7baffb28dcb7bee849e2d9a5e2bb7cc25170a1c113::" providerId="AD" clId="Web-{237A05A1-EC18-7DB7-BCDB-3B0904F2EFC6}" dt="2022-03-21T23:02:31.094" v="287"/>
          <ac:spMkLst>
            <pc:docMk/>
            <pc:sldMk cId="2689461321" sldId="358"/>
            <ac:spMk id="599" creationId="{00000000-0000-0000-0000-000000000000}"/>
          </ac:spMkLst>
        </pc:spChg>
        <pc:spChg chg="del">
          <ac:chgData name="Guest User" userId="S::urn:spo:anon#bc72e6c931b442e1b83d9d7baffb28dcb7bee849e2d9a5e2bb7cc25170a1c113::" providerId="AD" clId="Web-{237A05A1-EC18-7DB7-BCDB-3B0904F2EFC6}" dt="2022-03-21T23:02:18.968" v="280"/>
          <ac:spMkLst>
            <pc:docMk/>
            <pc:sldMk cId="2689461321" sldId="358"/>
            <ac:spMk id="601" creationId="{00000000-0000-0000-0000-000000000000}"/>
          </ac:spMkLst>
        </pc:spChg>
        <pc:spChg chg="del topLvl">
          <ac:chgData name="Guest User" userId="S::urn:spo:anon#bc72e6c931b442e1b83d9d7baffb28dcb7bee849e2d9a5e2bb7cc25170a1c113::" providerId="AD" clId="Web-{237A05A1-EC18-7DB7-BCDB-3B0904F2EFC6}" dt="2022-03-21T23:02:24.406" v="283"/>
          <ac:spMkLst>
            <pc:docMk/>
            <pc:sldMk cId="2689461321" sldId="358"/>
            <ac:spMk id="603" creationId="{00000000-0000-0000-0000-000000000000}"/>
          </ac:spMkLst>
        </pc:spChg>
        <pc:spChg chg="del topLvl">
          <ac:chgData name="Guest User" userId="S::urn:spo:anon#bc72e6c931b442e1b83d9d7baffb28dcb7bee849e2d9a5e2bb7cc25170a1c113::" providerId="AD" clId="Web-{237A05A1-EC18-7DB7-BCDB-3B0904F2EFC6}" dt="2022-03-21T23:02:21.484" v="282"/>
          <ac:spMkLst>
            <pc:docMk/>
            <pc:sldMk cId="2689461321" sldId="358"/>
            <ac:spMk id="604" creationId="{00000000-0000-0000-0000-000000000000}"/>
          </ac:spMkLst>
        </pc:spChg>
        <pc:spChg chg="del">
          <ac:chgData name="Guest User" userId="S::urn:spo:anon#bc72e6c931b442e1b83d9d7baffb28dcb7bee849e2d9a5e2bb7cc25170a1c113::" providerId="AD" clId="Web-{237A05A1-EC18-7DB7-BCDB-3B0904F2EFC6}" dt="2022-03-21T23:02:29.047" v="285"/>
          <ac:spMkLst>
            <pc:docMk/>
            <pc:sldMk cId="2689461321" sldId="358"/>
            <ac:spMk id="609" creationId="{00000000-0000-0000-0000-000000000000}"/>
          </ac:spMkLst>
        </pc:spChg>
        <pc:grpChg chg="del">
          <ac:chgData name="Guest User" userId="S::urn:spo:anon#bc72e6c931b442e1b83d9d7baffb28dcb7bee849e2d9a5e2bb7cc25170a1c113::" providerId="AD" clId="Web-{237A05A1-EC18-7DB7-BCDB-3B0904F2EFC6}" dt="2022-03-21T23:02:21.484" v="282"/>
          <ac:grpSpMkLst>
            <pc:docMk/>
            <pc:sldMk cId="2689461321" sldId="358"/>
            <ac:grpSpMk id="602" creationId="{00000000-0000-0000-0000-000000000000}"/>
          </ac:grpSpMkLst>
        </pc:grpChg>
        <pc:picChg chg="mod">
          <ac:chgData name="Guest User" userId="S::urn:spo:anon#bc72e6c931b442e1b83d9d7baffb28dcb7bee849e2d9a5e2bb7cc25170a1c113::" providerId="AD" clId="Web-{237A05A1-EC18-7DB7-BCDB-3B0904F2EFC6}" dt="2022-03-21T23:05:45.412" v="337" actId="14100"/>
          <ac:picMkLst>
            <pc:docMk/>
            <pc:sldMk cId="2689461321" sldId="358"/>
            <ac:picMk id="5" creationId="{0EC0F891-55BF-4D55-8E8B-B53DA8C4E767}"/>
          </ac:picMkLst>
        </pc:picChg>
        <pc:picChg chg="mod">
          <ac:chgData name="Guest User" userId="S::urn:spo:anon#bc72e6c931b442e1b83d9d7baffb28dcb7bee849e2d9a5e2bb7cc25170a1c113::" providerId="AD" clId="Web-{237A05A1-EC18-7DB7-BCDB-3B0904F2EFC6}" dt="2022-03-21T23:05:37.615" v="335" actId="1076"/>
          <ac:picMkLst>
            <pc:docMk/>
            <pc:sldMk cId="2689461321" sldId="358"/>
            <ac:picMk id="6" creationId="{EDE8B35B-47B6-4765-BFAE-21B063BC34CB}"/>
          </ac:picMkLst>
        </pc:picChg>
        <pc:picChg chg="add del mod">
          <ac:chgData name="Guest User" userId="S::urn:spo:anon#bc72e6c931b442e1b83d9d7baffb28dcb7bee849e2d9a5e2bb7cc25170a1c113::" providerId="AD" clId="Web-{237A05A1-EC18-7DB7-BCDB-3B0904F2EFC6}" dt="2022-03-21T23:04:38.691" v="319"/>
          <ac:picMkLst>
            <pc:docMk/>
            <pc:sldMk cId="2689461321" sldId="358"/>
            <ac:picMk id="19" creationId="{EFD4BC19-AF20-476C-9A01-E83FF5CB5998}"/>
          </ac:picMkLst>
        </pc:picChg>
      </pc:sldChg>
      <pc:sldChg chg="addSp delSp modSp add del replId">
        <pc:chgData name="Guest User" userId="S::urn:spo:anon#bc72e6c931b442e1b83d9d7baffb28dcb7bee849e2d9a5e2bb7cc25170a1c113::" providerId="AD" clId="Web-{237A05A1-EC18-7DB7-BCDB-3B0904F2EFC6}" dt="2022-03-22T15:39:34.356" v="412"/>
        <pc:sldMkLst>
          <pc:docMk/>
          <pc:sldMk cId="3173610986" sldId="359"/>
        </pc:sldMkLst>
        <pc:spChg chg="add del mod">
          <ac:chgData name="Guest User" userId="S::urn:spo:anon#bc72e6c931b442e1b83d9d7baffb28dcb7bee849e2d9a5e2bb7cc25170a1c113::" providerId="AD" clId="Web-{237A05A1-EC18-7DB7-BCDB-3B0904F2EFC6}" dt="2022-03-21T23:07:49.228" v="359"/>
          <ac:spMkLst>
            <pc:docMk/>
            <pc:sldMk cId="3173610986" sldId="359"/>
            <ac:spMk id="2" creationId="{B4BE663D-B787-4CAF-AD8F-CB19D97021FC}"/>
          </ac:spMkLst>
        </pc:spChg>
        <pc:spChg chg="mod">
          <ac:chgData name="Guest User" userId="S::urn:spo:anon#bc72e6c931b442e1b83d9d7baffb28dcb7bee849e2d9a5e2bb7cc25170a1c113::" providerId="AD" clId="Web-{237A05A1-EC18-7DB7-BCDB-3B0904F2EFC6}" dt="2022-03-21T23:07:23.774" v="354" actId="1076"/>
          <ac:spMkLst>
            <pc:docMk/>
            <pc:sldMk cId="3173610986" sldId="359"/>
            <ac:spMk id="7" creationId="{F181CFD1-6012-47A6-96D4-5E27FA218921}"/>
          </ac:spMkLst>
        </pc:spChg>
        <pc:picChg chg="mod">
          <ac:chgData name="Guest User" userId="S::urn:spo:anon#bc72e6c931b442e1b83d9d7baffb28dcb7bee849e2d9a5e2bb7cc25170a1c113::" providerId="AD" clId="Web-{237A05A1-EC18-7DB7-BCDB-3B0904F2EFC6}" dt="2022-03-21T23:07:47.009" v="358" actId="1076"/>
          <ac:picMkLst>
            <pc:docMk/>
            <pc:sldMk cId="3173610986" sldId="359"/>
            <ac:picMk id="5" creationId="{0EC0F891-55BF-4D55-8E8B-B53DA8C4E767}"/>
          </ac:picMkLst>
        </pc:picChg>
        <pc:picChg chg="mod">
          <ac:chgData name="Guest User" userId="S::urn:spo:anon#bc72e6c931b442e1b83d9d7baffb28dcb7bee849e2d9a5e2bb7cc25170a1c113::" providerId="AD" clId="Web-{237A05A1-EC18-7DB7-BCDB-3B0904F2EFC6}" dt="2022-03-21T23:07:44.212" v="357" actId="1076"/>
          <ac:picMkLst>
            <pc:docMk/>
            <pc:sldMk cId="3173610986" sldId="359"/>
            <ac:picMk id="6" creationId="{EDE8B35B-47B6-4765-BFAE-21B063BC34CB}"/>
          </ac:picMkLst>
        </pc:picChg>
      </pc:sldChg>
      <pc:sldChg chg="modSp add replId modTransition">
        <pc:chgData name="Guest User" userId="S::urn:spo:anon#bc72e6c931b442e1b83d9d7baffb28dcb7bee849e2d9a5e2bb7cc25170a1c113::" providerId="AD" clId="Web-{237A05A1-EC18-7DB7-BCDB-3B0904F2EFC6}" dt="2022-03-22T15:39:06.793" v="411"/>
        <pc:sldMkLst>
          <pc:docMk/>
          <pc:sldMk cId="3608811986" sldId="360"/>
        </pc:sldMkLst>
        <pc:picChg chg="mod">
          <ac:chgData name="Guest User" userId="S::urn:spo:anon#bc72e6c931b442e1b83d9d7baffb28dcb7bee849e2d9a5e2bb7cc25170a1c113::" providerId="AD" clId="Web-{237A05A1-EC18-7DB7-BCDB-3B0904F2EFC6}" dt="2022-03-22T15:38:33.901" v="404" actId="1076"/>
          <ac:picMkLst>
            <pc:docMk/>
            <pc:sldMk cId="3608811986" sldId="360"/>
            <ac:picMk id="6" creationId="{EDE8B35B-47B6-4765-BFAE-21B063BC34CB}"/>
          </ac:picMkLst>
        </pc:picChg>
      </pc:sldChg>
    </pc:docChg>
  </pc:docChgLst>
  <pc:docChgLst>
    <pc:chgData name="Guest User" userId="S::urn:spo:anon#6bbc8ad3065cd11d92081721a572e8f9c9b85cc64084c82913bb48609c033f69::" providerId="AD" clId="Web-{C0B79F31-32B3-3B16-EABD-C6ACC4281900}"/>
    <pc:docChg chg="addSld delSld modSld">
      <pc:chgData name="Guest User" userId="S::urn:spo:anon#6bbc8ad3065cd11d92081721a572e8f9c9b85cc64084c82913bb48609c033f69::" providerId="AD" clId="Web-{C0B79F31-32B3-3B16-EABD-C6ACC4281900}" dt="2022-04-18T19:27:24.959" v="967" actId="20577"/>
      <pc:docMkLst>
        <pc:docMk/>
      </pc:docMkLst>
      <pc:sldChg chg="modSp">
        <pc:chgData name="Guest User" userId="S::urn:spo:anon#6bbc8ad3065cd11d92081721a572e8f9c9b85cc64084c82913bb48609c033f69::" providerId="AD" clId="Web-{C0B79F31-32B3-3B16-EABD-C6ACC4281900}" dt="2022-04-18T19:25:13.613" v="948" actId="14100"/>
        <pc:sldMkLst>
          <pc:docMk/>
          <pc:sldMk cId="0" sldId="259"/>
        </pc:sldMkLst>
        <pc:spChg chg="mod">
          <ac:chgData name="Guest User" userId="S::urn:spo:anon#6bbc8ad3065cd11d92081721a572e8f9c9b85cc64084c82913bb48609c033f69::" providerId="AD" clId="Web-{C0B79F31-32B3-3B16-EABD-C6ACC4281900}" dt="2022-04-18T19:25:13.613" v="948" actId="14100"/>
          <ac:spMkLst>
            <pc:docMk/>
            <pc:sldMk cId="0" sldId="259"/>
            <ac:spMk id="60" creationId="{95952E1E-7F78-EB4E-C8DB-6C613AD4FCEC}"/>
          </ac:spMkLst>
        </pc:spChg>
      </pc:sldChg>
      <pc:sldChg chg="modSp">
        <pc:chgData name="Guest User" userId="S::urn:spo:anon#6bbc8ad3065cd11d92081721a572e8f9c9b85cc64084c82913bb48609c033f69::" providerId="AD" clId="Web-{C0B79F31-32B3-3B16-EABD-C6ACC4281900}" dt="2022-04-18T19:27:24.959" v="967" actId="20577"/>
        <pc:sldMkLst>
          <pc:docMk/>
          <pc:sldMk cId="0" sldId="264"/>
        </pc:sldMkLst>
        <pc:spChg chg="mod">
          <ac:chgData name="Guest User" userId="S::urn:spo:anon#6bbc8ad3065cd11d92081721a572e8f9c9b85cc64084c82913bb48609c033f69::" providerId="AD" clId="Web-{C0B79F31-32B3-3B16-EABD-C6ACC4281900}" dt="2022-04-18T18:10:13.530" v="779" actId="20577"/>
          <ac:spMkLst>
            <pc:docMk/>
            <pc:sldMk cId="0" sldId="264"/>
            <ac:spMk id="2" creationId="{307C9396-DD9E-444F-BAD7-0283934E741D}"/>
          </ac:spMkLst>
        </pc:spChg>
        <pc:spChg chg="mod">
          <ac:chgData name="Guest User" userId="S::urn:spo:anon#6bbc8ad3065cd11d92081721a572e8f9c9b85cc64084c82913bb48609c033f69::" providerId="AD" clId="Web-{C0B79F31-32B3-3B16-EABD-C6ACC4281900}" dt="2022-04-18T18:12:05.188" v="825" actId="20577"/>
          <ac:spMkLst>
            <pc:docMk/>
            <pc:sldMk cId="0" sldId="264"/>
            <ac:spMk id="29" creationId="{CE4534C1-122C-4584-960F-B0117C9A488A}"/>
          </ac:spMkLst>
        </pc:spChg>
        <pc:spChg chg="mod">
          <ac:chgData name="Guest User" userId="S::urn:spo:anon#6bbc8ad3065cd11d92081721a572e8f9c9b85cc64084c82913bb48609c033f69::" providerId="AD" clId="Web-{C0B79F31-32B3-3B16-EABD-C6ACC4281900}" dt="2022-04-18T18:11:46.313" v="815" actId="20577"/>
          <ac:spMkLst>
            <pc:docMk/>
            <pc:sldMk cId="0" sldId="264"/>
            <ac:spMk id="30" creationId="{100AEE39-1F64-4466-ACEE-5B01ED088536}"/>
          </ac:spMkLst>
        </pc:spChg>
        <pc:spChg chg="mod">
          <ac:chgData name="Guest User" userId="S::urn:spo:anon#6bbc8ad3065cd11d92081721a572e8f9c9b85cc64084c82913bb48609c033f69::" providerId="AD" clId="Web-{C0B79F31-32B3-3B16-EABD-C6ACC4281900}" dt="2022-04-18T19:27:24.959" v="967" actId="20577"/>
          <ac:spMkLst>
            <pc:docMk/>
            <pc:sldMk cId="0" sldId="264"/>
            <ac:spMk id="472" creationId="{00000000-0000-0000-0000-000000000000}"/>
          </ac:spMkLst>
        </pc:spChg>
      </pc:sldChg>
      <pc:sldChg chg="del">
        <pc:chgData name="Guest User" userId="S::urn:spo:anon#6bbc8ad3065cd11d92081721a572e8f9c9b85cc64084c82913bb48609c033f69::" providerId="AD" clId="Web-{C0B79F31-32B3-3B16-EABD-C6ACC4281900}" dt="2022-04-18T18:12:46.392" v="826"/>
        <pc:sldMkLst>
          <pc:docMk/>
          <pc:sldMk cId="2486721525" sldId="341"/>
        </pc:sldMkLst>
      </pc:sldChg>
      <pc:sldChg chg="modSp del">
        <pc:chgData name="Guest User" userId="S::urn:spo:anon#6bbc8ad3065cd11d92081721a572e8f9c9b85cc64084c82913bb48609c033f69::" providerId="AD" clId="Web-{C0B79F31-32B3-3B16-EABD-C6ACC4281900}" dt="2022-04-18T18:35:22.231" v="947"/>
        <pc:sldMkLst>
          <pc:docMk/>
          <pc:sldMk cId="1695560817" sldId="366"/>
        </pc:sldMkLst>
        <pc:spChg chg="mod">
          <ac:chgData name="Guest User" userId="S::urn:spo:anon#6bbc8ad3065cd11d92081721a572e8f9c9b85cc64084c82913bb48609c033f69::" providerId="AD" clId="Web-{C0B79F31-32B3-3B16-EABD-C6ACC4281900}" dt="2022-04-18T18:14:19.378" v="832" actId="1076"/>
          <ac:spMkLst>
            <pc:docMk/>
            <pc:sldMk cId="1695560817" sldId="366"/>
            <ac:spMk id="2" creationId="{07D4471E-262B-6FAA-FD1D-CFE365054A86}"/>
          </ac:spMkLst>
        </pc:spChg>
        <pc:spChg chg="mod">
          <ac:chgData name="Guest User" userId="S::urn:spo:anon#6bbc8ad3065cd11d92081721a572e8f9c9b85cc64084c82913bb48609c033f69::" providerId="AD" clId="Web-{C0B79F31-32B3-3B16-EABD-C6ACC4281900}" dt="2022-04-18T18:24:17.858" v="857" actId="1076"/>
          <ac:spMkLst>
            <pc:docMk/>
            <pc:sldMk cId="1695560817" sldId="366"/>
            <ac:spMk id="64" creationId="{1DCCC338-F425-4F47-B3C6-38C57252A6E8}"/>
          </ac:spMkLst>
        </pc:spChg>
      </pc:sldChg>
      <pc:sldChg chg="addSp delSp modSp add replId">
        <pc:chgData name="Guest User" userId="S::urn:spo:anon#6bbc8ad3065cd11d92081721a572e8f9c9b85cc64084c82913bb48609c033f69::" providerId="AD" clId="Web-{C0B79F31-32B3-3B16-EABD-C6ACC4281900}" dt="2022-04-18T19:26:25.833" v="955" actId="1076"/>
        <pc:sldMkLst>
          <pc:docMk/>
          <pc:sldMk cId="2988308840" sldId="386"/>
        </pc:sldMkLst>
        <pc:spChg chg="del mod">
          <ac:chgData name="Guest User" userId="S::urn:spo:anon#6bbc8ad3065cd11d92081721a572e8f9c9b85cc64084c82913bb48609c033f69::" providerId="AD" clId="Web-{C0B79F31-32B3-3B16-EABD-C6ACC4281900}" dt="2022-04-18T17:54:24.902" v="680"/>
          <ac:spMkLst>
            <pc:docMk/>
            <pc:sldMk cId="2988308840" sldId="386"/>
            <ac:spMk id="4" creationId="{17960284-3BED-7A99-1999-8C851AC96D3F}"/>
          </ac:spMkLst>
        </pc:spChg>
        <pc:spChg chg="mod">
          <ac:chgData name="Guest User" userId="S::urn:spo:anon#6bbc8ad3065cd11d92081721a572e8f9c9b85cc64084c82913bb48609c033f69::" providerId="AD" clId="Web-{C0B79F31-32B3-3B16-EABD-C6ACC4281900}" dt="2022-04-18T17:54:13.089" v="679" actId="20577"/>
          <ac:spMkLst>
            <pc:docMk/>
            <pc:sldMk cId="2988308840" sldId="386"/>
            <ac:spMk id="5" creationId="{E6EE69E3-DAD6-10C9-6D8E-4FEB9094BE3B}"/>
          </ac:spMkLst>
        </pc:spChg>
        <pc:spChg chg="add del">
          <ac:chgData name="Guest User" userId="S::urn:spo:anon#6bbc8ad3065cd11d92081721a572e8f9c9b85cc64084c82913bb48609c033f69::" providerId="AD" clId="Web-{C0B79F31-32B3-3B16-EABD-C6ACC4281900}" dt="2022-04-18T17:59:31.689" v="695"/>
          <ac:spMkLst>
            <pc:docMk/>
            <pc:sldMk cId="2988308840" sldId="386"/>
            <ac:spMk id="6" creationId="{395FCD2B-57BB-5378-BDD4-9539427A6B60}"/>
          </ac:spMkLst>
        </pc:spChg>
        <pc:spChg chg="add mod">
          <ac:chgData name="Guest User" userId="S::urn:spo:anon#6bbc8ad3065cd11d92081721a572e8f9c9b85cc64084c82913bb48609c033f69::" providerId="AD" clId="Web-{C0B79F31-32B3-3B16-EABD-C6ACC4281900}" dt="2022-04-18T18:01:26.176" v="710" actId="1076"/>
          <ac:spMkLst>
            <pc:docMk/>
            <pc:sldMk cId="2988308840" sldId="386"/>
            <ac:spMk id="7" creationId="{E2440F88-88B2-B8F7-B5C3-2F660A210546}"/>
          </ac:spMkLst>
        </pc:spChg>
        <pc:spChg chg="add mod">
          <ac:chgData name="Guest User" userId="S::urn:spo:anon#6bbc8ad3065cd11d92081721a572e8f9c9b85cc64084c82913bb48609c033f69::" providerId="AD" clId="Web-{C0B79F31-32B3-3B16-EABD-C6ACC4281900}" dt="2022-04-18T18:01:26.191" v="711" actId="1076"/>
          <ac:spMkLst>
            <pc:docMk/>
            <pc:sldMk cId="2988308840" sldId="386"/>
            <ac:spMk id="8" creationId="{D8534480-14C4-6773-42F7-B4688534FC5F}"/>
          </ac:spMkLst>
        </pc:spChg>
        <pc:spChg chg="add mod">
          <ac:chgData name="Guest User" userId="S::urn:spo:anon#6bbc8ad3065cd11d92081721a572e8f9c9b85cc64084c82913bb48609c033f69::" providerId="AD" clId="Web-{C0B79F31-32B3-3B16-EABD-C6ACC4281900}" dt="2022-04-18T18:01:26.223" v="712" actId="1076"/>
          <ac:spMkLst>
            <pc:docMk/>
            <pc:sldMk cId="2988308840" sldId="386"/>
            <ac:spMk id="9" creationId="{0948D532-5C97-F971-7906-4CFF552B84EF}"/>
          </ac:spMkLst>
        </pc:spChg>
        <pc:spChg chg="add mod">
          <ac:chgData name="Guest User" userId="S::urn:spo:anon#6bbc8ad3065cd11d92081721a572e8f9c9b85cc64084c82913bb48609c033f69::" providerId="AD" clId="Web-{C0B79F31-32B3-3B16-EABD-C6ACC4281900}" dt="2022-04-18T18:01:26.316" v="716" actId="1076"/>
          <ac:spMkLst>
            <pc:docMk/>
            <pc:sldMk cId="2988308840" sldId="386"/>
            <ac:spMk id="14" creationId="{C61C6006-67A3-0157-28FC-27C37DF2B6DF}"/>
          </ac:spMkLst>
        </pc:spChg>
        <pc:spChg chg="mod">
          <ac:chgData name="Guest User" userId="S::urn:spo:anon#6bbc8ad3065cd11d92081721a572e8f9c9b85cc64084c82913bb48609c033f69::" providerId="AD" clId="Web-{C0B79F31-32B3-3B16-EABD-C6ACC4281900}" dt="2022-04-18T17:56:02.404" v="682" actId="1076"/>
          <ac:spMkLst>
            <pc:docMk/>
            <pc:sldMk cId="2988308840" sldId="386"/>
            <ac:spMk id="98" creationId="{3A23AAE2-4269-C3E7-E699-BA0249A4E5CE}"/>
          </ac:spMkLst>
        </pc:spChg>
        <pc:spChg chg="del mod">
          <ac:chgData name="Guest User" userId="S::urn:spo:anon#6bbc8ad3065cd11d92081721a572e8f9c9b85cc64084c82913bb48609c033f69::" providerId="AD" clId="Web-{C0B79F31-32B3-3B16-EABD-C6ACC4281900}" dt="2022-04-18T18:13:16.955" v="828"/>
          <ac:spMkLst>
            <pc:docMk/>
            <pc:sldMk cId="2988308840" sldId="386"/>
            <ac:spMk id="100" creationId="{5947DC3C-0898-F15B-1FFF-22C2270AF5A5}"/>
          </ac:spMkLst>
        </pc:spChg>
        <pc:spChg chg="mod">
          <ac:chgData name="Guest User" userId="S::urn:spo:anon#6bbc8ad3065cd11d92081721a572e8f9c9b85cc64084c82913bb48609c033f69::" providerId="AD" clId="Web-{C0B79F31-32B3-3B16-EABD-C6ACC4281900}" dt="2022-04-18T18:09:33.857" v="773" actId="14100"/>
          <ac:spMkLst>
            <pc:docMk/>
            <pc:sldMk cId="2988308840" sldId="386"/>
            <ac:spMk id="101" creationId="{C490854A-3705-D3C2-CB0B-CA528B8E7892}"/>
          </ac:spMkLst>
        </pc:spChg>
        <pc:spChg chg="mod">
          <ac:chgData name="Guest User" userId="S::urn:spo:anon#6bbc8ad3065cd11d92081721a572e8f9c9b85cc64084c82913bb48609c033f69::" providerId="AD" clId="Web-{C0B79F31-32B3-3B16-EABD-C6ACC4281900}" dt="2022-04-18T17:48:27.317" v="645" actId="1076"/>
          <ac:spMkLst>
            <pc:docMk/>
            <pc:sldMk cId="2988308840" sldId="386"/>
            <ac:spMk id="102" creationId="{1A6A5D54-4780-E7F1-2C5A-B261190E065C}"/>
          </ac:spMkLst>
        </pc:spChg>
        <pc:spChg chg="mod ord">
          <ac:chgData name="Guest User" userId="S::urn:spo:anon#6bbc8ad3065cd11d92081721a572e8f9c9b85cc64084c82913bb48609c033f69::" providerId="AD" clId="Web-{C0B79F31-32B3-3B16-EABD-C6ACC4281900}" dt="2022-04-18T17:57:39.218" v="687" actId="14100"/>
          <ac:spMkLst>
            <pc:docMk/>
            <pc:sldMk cId="2988308840" sldId="386"/>
            <ac:spMk id="103" creationId="{B04D06FE-476F-DCF7-C3DF-A504A11C4BB5}"/>
          </ac:spMkLst>
        </pc:spChg>
        <pc:spChg chg="del mod">
          <ac:chgData name="Guest User" userId="S::urn:spo:anon#6bbc8ad3065cd11d92081721a572e8f9c9b85cc64084c82913bb48609c033f69::" providerId="AD" clId="Web-{C0B79F31-32B3-3B16-EABD-C6ACC4281900}" dt="2022-04-18T18:13:20.158" v="829"/>
          <ac:spMkLst>
            <pc:docMk/>
            <pc:sldMk cId="2988308840" sldId="386"/>
            <ac:spMk id="104" creationId="{101460AC-09E4-C2F8-07D6-6ADD36E67708}"/>
          </ac:spMkLst>
        </pc:spChg>
        <pc:spChg chg="add mod ord">
          <ac:chgData name="Guest User" userId="S::urn:spo:anon#6bbc8ad3065cd11d92081721a572e8f9c9b85cc64084c82913bb48609c033f69::" providerId="AD" clId="Web-{C0B79F31-32B3-3B16-EABD-C6ACC4281900}" dt="2022-04-18T17:53:53.558" v="675"/>
          <ac:spMkLst>
            <pc:docMk/>
            <pc:sldMk cId="2988308840" sldId="386"/>
            <ac:spMk id="106" creationId="{F79DDFAB-26D1-7230-AFAD-E8DFDA1DCB82}"/>
          </ac:spMkLst>
        </pc:spChg>
        <pc:spChg chg="add del mod">
          <ac:chgData name="Guest User" userId="S::urn:spo:anon#6bbc8ad3065cd11d92081721a572e8f9c9b85cc64084c82913bb48609c033f69::" providerId="AD" clId="Web-{C0B79F31-32B3-3B16-EABD-C6ACC4281900}" dt="2022-04-18T17:43:14.842" v="116"/>
          <ac:spMkLst>
            <pc:docMk/>
            <pc:sldMk cId="2988308840" sldId="386"/>
            <ac:spMk id="107" creationId="{D0E651FA-886E-94C7-669B-06AF308A4C87}"/>
          </ac:spMkLst>
        </pc:spChg>
        <pc:spChg chg="add mod">
          <ac:chgData name="Guest User" userId="S::urn:spo:anon#6bbc8ad3065cd11d92081721a572e8f9c9b85cc64084c82913bb48609c033f69::" providerId="AD" clId="Web-{C0B79F31-32B3-3B16-EABD-C6ACC4281900}" dt="2022-04-18T17:48:27.489" v="652" actId="1076"/>
          <ac:spMkLst>
            <pc:docMk/>
            <pc:sldMk cId="2988308840" sldId="386"/>
            <ac:spMk id="109" creationId="{F92D9E09-29DF-7A2B-29C3-3E40025E81F9}"/>
          </ac:spMkLst>
        </pc:spChg>
        <pc:spChg chg="add mod">
          <ac:chgData name="Guest User" userId="S::urn:spo:anon#6bbc8ad3065cd11d92081721a572e8f9c9b85cc64084c82913bb48609c033f69::" providerId="AD" clId="Web-{C0B79F31-32B3-3B16-EABD-C6ACC4281900}" dt="2022-04-18T17:48:27.536" v="654" actId="1076"/>
          <ac:spMkLst>
            <pc:docMk/>
            <pc:sldMk cId="2988308840" sldId="386"/>
            <ac:spMk id="112" creationId="{04FD28F3-2493-3CA7-9C91-B15546C0EFFC}"/>
          </ac:spMkLst>
        </pc:spChg>
        <pc:spChg chg="mod">
          <ac:chgData name="Guest User" userId="S::urn:spo:anon#6bbc8ad3065cd11d92081721a572e8f9c9b85cc64084c82913bb48609c033f69::" providerId="AD" clId="Web-{C0B79F31-32B3-3B16-EABD-C6ACC4281900}" dt="2022-04-18T19:26:00.489" v="951" actId="14100"/>
          <ac:spMkLst>
            <pc:docMk/>
            <pc:sldMk cId="2988308840" sldId="386"/>
            <ac:spMk id="116" creationId="{473E579E-3692-41BD-8D3D-A49F032BB7D1}"/>
          </ac:spMkLst>
        </pc:spChg>
        <pc:spChg chg="mod">
          <ac:chgData name="Guest User" userId="S::urn:spo:anon#6bbc8ad3065cd11d92081721a572e8f9c9b85cc64084c82913bb48609c033f69::" providerId="AD" clId="Web-{C0B79F31-32B3-3B16-EABD-C6ACC4281900}" dt="2022-04-18T17:48:27.083" v="635" actId="1076"/>
          <ac:spMkLst>
            <pc:docMk/>
            <pc:sldMk cId="2988308840" sldId="386"/>
            <ac:spMk id="117" creationId="{E2FD5C6C-CA12-4E89-9D17-227059EEB7D4}"/>
          </ac:spMkLst>
        </pc:spChg>
        <pc:spChg chg="mod">
          <ac:chgData name="Guest User" userId="S::urn:spo:anon#6bbc8ad3065cd11d92081721a572e8f9c9b85cc64084c82913bb48609c033f69::" providerId="AD" clId="Web-{C0B79F31-32B3-3B16-EABD-C6ACC4281900}" dt="2022-04-18T17:48:27.176" v="639" actId="1076"/>
          <ac:spMkLst>
            <pc:docMk/>
            <pc:sldMk cId="2988308840" sldId="386"/>
            <ac:spMk id="128" creationId="{C61FD168-ED42-4403-BA38-E257254F57EF}"/>
          </ac:spMkLst>
        </pc:spChg>
        <pc:spChg chg="mod">
          <ac:chgData name="Guest User" userId="S::urn:spo:anon#6bbc8ad3065cd11d92081721a572e8f9c9b85cc64084c82913bb48609c033f69::" providerId="AD" clId="Web-{C0B79F31-32B3-3B16-EABD-C6ACC4281900}" dt="2022-04-18T17:48:27.192" v="640" actId="1076"/>
          <ac:spMkLst>
            <pc:docMk/>
            <pc:sldMk cId="2988308840" sldId="386"/>
            <ac:spMk id="129" creationId="{679DDD97-7B33-4561-9F37-C9E486FFDBAF}"/>
          </ac:spMkLst>
        </pc:spChg>
        <pc:spChg chg="mod">
          <ac:chgData name="Guest User" userId="S::urn:spo:anon#6bbc8ad3065cd11d92081721a572e8f9c9b85cc64084c82913bb48609c033f69::" providerId="AD" clId="Web-{C0B79F31-32B3-3B16-EABD-C6ACC4281900}" dt="2022-04-18T17:48:27.270" v="643" actId="1076"/>
          <ac:spMkLst>
            <pc:docMk/>
            <pc:sldMk cId="2988308840" sldId="386"/>
            <ac:spMk id="137" creationId="{1301D16D-0233-425B-8533-705B8AA7A3FB}"/>
          </ac:spMkLst>
        </pc:spChg>
        <pc:spChg chg="add mod">
          <ac:chgData name="Guest User" userId="S::urn:spo:anon#6bbc8ad3065cd11d92081721a572e8f9c9b85cc64084c82913bb48609c033f69::" providerId="AD" clId="Web-{C0B79F31-32B3-3B16-EABD-C6ACC4281900}" dt="2022-04-18T19:26:25.833" v="955" actId="1076"/>
          <ac:spMkLst>
            <pc:docMk/>
            <pc:sldMk cId="2988308840" sldId="386"/>
            <ac:spMk id="142" creationId="{5E7F1B28-8BF3-4F63-AFBC-6158B9EA00A1}"/>
          </ac:spMkLst>
        </pc:spChg>
        <pc:spChg chg="add mod">
          <ac:chgData name="Guest User" userId="S::urn:spo:anon#6bbc8ad3065cd11d92081721a572e8f9c9b85cc64084c82913bb48609c033f69::" providerId="AD" clId="Web-{C0B79F31-32B3-3B16-EABD-C6ACC4281900}" dt="2022-04-18T18:08:38.825" v="765" actId="20577"/>
          <ac:spMkLst>
            <pc:docMk/>
            <pc:sldMk cId="2988308840" sldId="386"/>
            <ac:spMk id="143" creationId="{72145A98-A6C8-237D-0926-4DB2694865C3}"/>
          </ac:spMkLst>
        </pc:spChg>
        <pc:spChg chg="add mod">
          <ac:chgData name="Guest User" userId="S::urn:spo:anon#6bbc8ad3065cd11d92081721a572e8f9c9b85cc64084c82913bb48609c033f69::" providerId="AD" clId="Web-{C0B79F31-32B3-3B16-EABD-C6ACC4281900}" dt="2022-04-18T18:13:47.096" v="831" actId="14100"/>
          <ac:spMkLst>
            <pc:docMk/>
            <pc:sldMk cId="2988308840" sldId="386"/>
            <ac:spMk id="144" creationId="{5F9BE8EC-817B-E0D8-BED1-48F760C440B5}"/>
          </ac:spMkLst>
        </pc:spChg>
        <pc:spChg chg="del mod">
          <ac:chgData name="Guest User" userId="S::urn:spo:anon#6bbc8ad3065cd11d92081721a572e8f9c9b85cc64084c82913bb48609c033f69::" providerId="AD" clId="Web-{C0B79F31-32B3-3B16-EABD-C6ACC4281900}" dt="2022-04-18T17:50:09.147" v="665"/>
          <ac:spMkLst>
            <pc:docMk/>
            <pc:sldMk cId="2988308840" sldId="386"/>
            <ac:spMk id="343" creationId="{00000000-0000-0000-0000-000000000000}"/>
          </ac:spMkLst>
        </pc:spChg>
        <pc:spChg chg="del">
          <ac:chgData name="Guest User" userId="S::urn:spo:anon#6bbc8ad3065cd11d92081721a572e8f9c9b85cc64084c82913bb48609c033f69::" providerId="AD" clId="Web-{C0B79F31-32B3-3B16-EABD-C6ACC4281900}" dt="2022-04-18T17:38:13.883" v="29"/>
          <ac:spMkLst>
            <pc:docMk/>
            <pc:sldMk cId="2988308840" sldId="386"/>
            <ac:spMk id="358" creationId="{00000000-0000-0000-0000-000000000000}"/>
          </ac:spMkLst>
        </pc:spChg>
        <pc:spChg chg="del">
          <ac:chgData name="Guest User" userId="S::urn:spo:anon#6bbc8ad3065cd11d92081721a572e8f9c9b85cc64084c82913bb48609c033f69::" providerId="AD" clId="Web-{C0B79F31-32B3-3B16-EABD-C6ACC4281900}" dt="2022-04-18T17:38:13.883" v="28"/>
          <ac:spMkLst>
            <pc:docMk/>
            <pc:sldMk cId="2988308840" sldId="386"/>
            <ac:spMk id="359" creationId="{00000000-0000-0000-0000-000000000000}"/>
          </ac:spMkLst>
        </pc:spChg>
        <pc:spChg chg="mod">
          <ac:chgData name="Guest User" userId="S::urn:spo:anon#6bbc8ad3065cd11d92081721a572e8f9c9b85cc64084c82913bb48609c033f69::" providerId="AD" clId="Web-{C0B79F31-32B3-3B16-EABD-C6ACC4281900}" dt="2022-04-18T17:48:26.036" v="593" actId="1076"/>
          <ac:spMkLst>
            <pc:docMk/>
            <pc:sldMk cId="2988308840" sldId="386"/>
            <ac:spMk id="360" creationId="{00000000-0000-0000-0000-000000000000}"/>
          </ac:spMkLst>
        </pc:spChg>
        <pc:spChg chg="mod">
          <ac:chgData name="Guest User" userId="S::urn:spo:anon#6bbc8ad3065cd11d92081721a572e8f9c9b85cc64084c82913bb48609c033f69::" providerId="AD" clId="Web-{C0B79F31-32B3-3B16-EABD-C6ACC4281900}" dt="2022-04-18T17:48:26.051" v="594" actId="1076"/>
          <ac:spMkLst>
            <pc:docMk/>
            <pc:sldMk cId="2988308840" sldId="386"/>
            <ac:spMk id="361" creationId="{00000000-0000-0000-0000-000000000000}"/>
          </ac:spMkLst>
        </pc:spChg>
        <pc:spChg chg="mod">
          <ac:chgData name="Guest User" userId="S::urn:spo:anon#6bbc8ad3065cd11d92081721a572e8f9c9b85cc64084c82913bb48609c033f69::" providerId="AD" clId="Web-{C0B79F31-32B3-3B16-EABD-C6ACC4281900}" dt="2022-04-18T17:48:26.083" v="595" actId="1076"/>
          <ac:spMkLst>
            <pc:docMk/>
            <pc:sldMk cId="2988308840" sldId="386"/>
            <ac:spMk id="362" creationId="{00000000-0000-0000-0000-000000000000}"/>
          </ac:spMkLst>
        </pc:spChg>
        <pc:spChg chg="mod">
          <ac:chgData name="Guest User" userId="S::urn:spo:anon#6bbc8ad3065cd11d92081721a572e8f9c9b85cc64084c82913bb48609c033f69::" providerId="AD" clId="Web-{C0B79F31-32B3-3B16-EABD-C6ACC4281900}" dt="2022-04-18T17:48:26.114" v="596" actId="1076"/>
          <ac:spMkLst>
            <pc:docMk/>
            <pc:sldMk cId="2988308840" sldId="386"/>
            <ac:spMk id="363" creationId="{00000000-0000-0000-0000-000000000000}"/>
          </ac:spMkLst>
        </pc:spChg>
        <pc:spChg chg="del">
          <ac:chgData name="Guest User" userId="S::urn:spo:anon#6bbc8ad3065cd11d92081721a572e8f9c9b85cc64084c82913bb48609c033f69::" providerId="AD" clId="Web-{C0B79F31-32B3-3B16-EABD-C6ACC4281900}" dt="2022-04-18T17:38:13.883" v="27"/>
          <ac:spMkLst>
            <pc:docMk/>
            <pc:sldMk cId="2988308840" sldId="386"/>
            <ac:spMk id="366" creationId="{00000000-0000-0000-0000-000000000000}"/>
          </ac:spMkLst>
        </pc:spChg>
        <pc:spChg chg="mod">
          <ac:chgData name="Guest User" userId="S::urn:spo:anon#6bbc8ad3065cd11d92081721a572e8f9c9b85cc64084c82913bb48609c033f69::" providerId="AD" clId="Web-{C0B79F31-32B3-3B16-EABD-C6ACC4281900}" dt="2022-04-18T17:48:26.129" v="597" actId="1076"/>
          <ac:spMkLst>
            <pc:docMk/>
            <pc:sldMk cId="2988308840" sldId="386"/>
            <ac:spMk id="367" creationId="{00000000-0000-0000-0000-000000000000}"/>
          </ac:spMkLst>
        </pc:spChg>
        <pc:spChg chg="mod">
          <ac:chgData name="Guest User" userId="S::urn:spo:anon#6bbc8ad3065cd11d92081721a572e8f9c9b85cc64084c82913bb48609c033f69::" providerId="AD" clId="Web-{C0B79F31-32B3-3B16-EABD-C6ACC4281900}" dt="2022-04-18T17:48:26.161" v="598" actId="1076"/>
          <ac:spMkLst>
            <pc:docMk/>
            <pc:sldMk cId="2988308840" sldId="386"/>
            <ac:spMk id="368" creationId="{00000000-0000-0000-0000-000000000000}"/>
          </ac:spMkLst>
        </pc:spChg>
        <pc:spChg chg="mod">
          <ac:chgData name="Guest User" userId="S::urn:spo:anon#6bbc8ad3065cd11d92081721a572e8f9c9b85cc64084c82913bb48609c033f69::" providerId="AD" clId="Web-{C0B79F31-32B3-3B16-EABD-C6ACC4281900}" dt="2022-04-18T17:48:26.192" v="599" actId="1076"/>
          <ac:spMkLst>
            <pc:docMk/>
            <pc:sldMk cId="2988308840" sldId="386"/>
            <ac:spMk id="369" creationId="{00000000-0000-0000-0000-000000000000}"/>
          </ac:spMkLst>
        </pc:spChg>
        <pc:spChg chg="mod">
          <ac:chgData name="Guest User" userId="S::urn:spo:anon#6bbc8ad3065cd11d92081721a572e8f9c9b85cc64084c82913bb48609c033f69::" providerId="AD" clId="Web-{C0B79F31-32B3-3B16-EABD-C6ACC4281900}" dt="2022-04-18T17:48:26.223" v="600" actId="1076"/>
          <ac:spMkLst>
            <pc:docMk/>
            <pc:sldMk cId="2988308840" sldId="386"/>
            <ac:spMk id="370" creationId="{00000000-0000-0000-0000-000000000000}"/>
          </ac:spMkLst>
        </pc:spChg>
        <pc:spChg chg="del">
          <ac:chgData name="Guest User" userId="S::urn:spo:anon#6bbc8ad3065cd11d92081721a572e8f9c9b85cc64084c82913bb48609c033f69::" providerId="AD" clId="Web-{C0B79F31-32B3-3B16-EABD-C6ACC4281900}" dt="2022-04-18T17:39:06.978" v="35"/>
          <ac:spMkLst>
            <pc:docMk/>
            <pc:sldMk cId="2988308840" sldId="386"/>
            <ac:spMk id="371" creationId="{00000000-0000-0000-0000-000000000000}"/>
          </ac:spMkLst>
        </pc:spChg>
        <pc:spChg chg="mod">
          <ac:chgData name="Guest User" userId="S::urn:spo:anon#6bbc8ad3065cd11d92081721a572e8f9c9b85cc64084c82913bb48609c033f69::" providerId="AD" clId="Web-{C0B79F31-32B3-3B16-EABD-C6ACC4281900}" dt="2022-04-18T17:59:44.283" v="696" actId="1076"/>
          <ac:spMkLst>
            <pc:docMk/>
            <pc:sldMk cId="2988308840" sldId="386"/>
            <ac:spMk id="372" creationId="{00000000-0000-0000-0000-000000000000}"/>
          </ac:spMkLst>
        </pc:spChg>
        <pc:spChg chg="del">
          <ac:chgData name="Guest User" userId="S::urn:spo:anon#6bbc8ad3065cd11d92081721a572e8f9c9b85cc64084c82913bb48609c033f69::" providerId="AD" clId="Web-{C0B79F31-32B3-3B16-EABD-C6ACC4281900}" dt="2022-04-18T17:38:13.883" v="26"/>
          <ac:spMkLst>
            <pc:docMk/>
            <pc:sldMk cId="2988308840" sldId="386"/>
            <ac:spMk id="376" creationId="{00000000-0000-0000-0000-000000000000}"/>
          </ac:spMkLst>
        </pc:spChg>
        <pc:spChg chg="del">
          <ac:chgData name="Guest User" userId="S::urn:spo:anon#6bbc8ad3065cd11d92081721a572e8f9c9b85cc64084c82913bb48609c033f69::" providerId="AD" clId="Web-{C0B79F31-32B3-3B16-EABD-C6ACC4281900}" dt="2022-04-18T17:38:13.883" v="25"/>
          <ac:spMkLst>
            <pc:docMk/>
            <pc:sldMk cId="2988308840" sldId="386"/>
            <ac:spMk id="377" creationId="{00000000-0000-0000-0000-000000000000}"/>
          </ac:spMkLst>
        </pc:spChg>
        <pc:spChg chg="del">
          <ac:chgData name="Guest User" userId="S::urn:spo:anon#6bbc8ad3065cd11d92081721a572e8f9c9b85cc64084c82913bb48609c033f69::" providerId="AD" clId="Web-{C0B79F31-32B3-3B16-EABD-C6ACC4281900}" dt="2022-04-18T17:38:13.883" v="24"/>
          <ac:spMkLst>
            <pc:docMk/>
            <pc:sldMk cId="2988308840" sldId="386"/>
            <ac:spMk id="378" creationId="{00000000-0000-0000-0000-000000000000}"/>
          </ac:spMkLst>
        </pc:spChg>
        <pc:spChg chg="mod">
          <ac:chgData name="Guest User" userId="S::urn:spo:anon#6bbc8ad3065cd11d92081721a572e8f9c9b85cc64084c82913bb48609c033f69::" providerId="AD" clId="Web-{C0B79F31-32B3-3B16-EABD-C6ACC4281900}" dt="2022-04-18T17:48:26.270" v="602" actId="1076"/>
          <ac:spMkLst>
            <pc:docMk/>
            <pc:sldMk cId="2988308840" sldId="386"/>
            <ac:spMk id="379" creationId="{00000000-0000-0000-0000-000000000000}"/>
          </ac:spMkLst>
        </pc:spChg>
        <pc:spChg chg="del">
          <ac:chgData name="Guest User" userId="S::urn:spo:anon#6bbc8ad3065cd11d92081721a572e8f9c9b85cc64084c82913bb48609c033f69::" providerId="AD" clId="Web-{C0B79F31-32B3-3B16-EABD-C6ACC4281900}" dt="2022-04-18T17:38:13.883" v="23"/>
          <ac:spMkLst>
            <pc:docMk/>
            <pc:sldMk cId="2988308840" sldId="386"/>
            <ac:spMk id="380" creationId="{00000000-0000-0000-0000-000000000000}"/>
          </ac:spMkLst>
        </pc:spChg>
        <pc:spChg chg="mod">
          <ac:chgData name="Guest User" userId="S::urn:spo:anon#6bbc8ad3065cd11d92081721a572e8f9c9b85cc64084c82913bb48609c033f69::" providerId="AD" clId="Web-{C0B79F31-32B3-3B16-EABD-C6ACC4281900}" dt="2022-04-18T17:48:26.301" v="603" actId="1076"/>
          <ac:spMkLst>
            <pc:docMk/>
            <pc:sldMk cId="2988308840" sldId="386"/>
            <ac:spMk id="381" creationId="{00000000-0000-0000-0000-000000000000}"/>
          </ac:spMkLst>
        </pc:spChg>
        <pc:spChg chg="del">
          <ac:chgData name="Guest User" userId="S::urn:spo:anon#6bbc8ad3065cd11d92081721a572e8f9c9b85cc64084c82913bb48609c033f69::" providerId="AD" clId="Web-{C0B79F31-32B3-3B16-EABD-C6ACC4281900}" dt="2022-04-18T17:38:13.883" v="22"/>
          <ac:spMkLst>
            <pc:docMk/>
            <pc:sldMk cId="2988308840" sldId="386"/>
            <ac:spMk id="384" creationId="{00000000-0000-0000-0000-000000000000}"/>
          </ac:spMkLst>
        </pc:spChg>
        <pc:spChg chg="del">
          <ac:chgData name="Guest User" userId="S::urn:spo:anon#6bbc8ad3065cd11d92081721a572e8f9c9b85cc64084c82913bb48609c033f69::" providerId="AD" clId="Web-{C0B79F31-32B3-3B16-EABD-C6ACC4281900}" dt="2022-04-18T17:38:13.883" v="17"/>
          <ac:spMkLst>
            <pc:docMk/>
            <pc:sldMk cId="2988308840" sldId="386"/>
            <ac:spMk id="399" creationId="{00000000-0000-0000-0000-000000000000}"/>
          </ac:spMkLst>
        </pc:spChg>
        <pc:spChg chg="mod">
          <ac:chgData name="Guest User" userId="S::urn:spo:anon#6bbc8ad3065cd11d92081721a572e8f9c9b85cc64084c82913bb48609c033f69::" providerId="AD" clId="Web-{C0B79F31-32B3-3B16-EABD-C6ACC4281900}" dt="2022-04-18T17:48:26.489" v="611" actId="1076"/>
          <ac:spMkLst>
            <pc:docMk/>
            <pc:sldMk cId="2988308840" sldId="386"/>
            <ac:spMk id="400" creationId="{00000000-0000-0000-0000-000000000000}"/>
          </ac:spMkLst>
        </pc:spChg>
        <pc:spChg chg="mod">
          <ac:chgData name="Guest User" userId="S::urn:spo:anon#6bbc8ad3065cd11d92081721a572e8f9c9b85cc64084c82913bb48609c033f69::" providerId="AD" clId="Web-{C0B79F31-32B3-3B16-EABD-C6ACC4281900}" dt="2022-04-18T19:25:44.629" v="949" actId="14100"/>
          <ac:spMkLst>
            <pc:docMk/>
            <pc:sldMk cId="2988308840" sldId="386"/>
            <ac:spMk id="401" creationId="{00000000-0000-0000-0000-000000000000}"/>
          </ac:spMkLst>
        </pc:spChg>
        <pc:spChg chg="mod">
          <ac:chgData name="Guest User" userId="S::urn:spo:anon#6bbc8ad3065cd11d92081721a572e8f9c9b85cc64084c82913bb48609c033f69::" providerId="AD" clId="Web-{C0B79F31-32B3-3B16-EABD-C6ACC4281900}" dt="2022-04-18T18:07:34.667" v="757" actId="14100"/>
          <ac:spMkLst>
            <pc:docMk/>
            <pc:sldMk cId="2988308840" sldId="386"/>
            <ac:spMk id="404" creationId="{00000000-0000-0000-0000-000000000000}"/>
          </ac:spMkLst>
        </pc:spChg>
        <pc:spChg chg="del">
          <ac:chgData name="Guest User" userId="S::urn:spo:anon#6bbc8ad3065cd11d92081721a572e8f9c9b85cc64084c82913bb48609c033f69::" providerId="AD" clId="Web-{C0B79F31-32B3-3B16-EABD-C6ACC4281900}" dt="2022-04-18T17:38:23.821" v="30"/>
          <ac:spMkLst>
            <pc:docMk/>
            <pc:sldMk cId="2988308840" sldId="386"/>
            <ac:spMk id="409" creationId="{00000000-0000-0000-0000-000000000000}"/>
          </ac:spMkLst>
        </pc:spChg>
        <pc:spChg chg="del">
          <ac:chgData name="Guest User" userId="S::urn:spo:anon#6bbc8ad3065cd11d92081721a572e8f9c9b85cc64084c82913bb48609c033f69::" providerId="AD" clId="Web-{C0B79F31-32B3-3B16-EABD-C6ACC4281900}" dt="2022-04-18T17:38:26.524" v="31"/>
          <ac:spMkLst>
            <pc:docMk/>
            <pc:sldMk cId="2988308840" sldId="386"/>
            <ac:spMk id="410" creationId="{00000000-0000-0000-0000-000000000000}"/>
          </ac:spMkLst>
        </pc:spChg>
        <pc:spChg chg="mod">
          <ac:chgData name="Guest User" userId="S::urn:spo:anon#6bbc8ad3065cd11d92081721a572e8f9c9b85cc64084c82913bb48609c033f69::" providerId="AD" clId="Web-{C0B79F31-32B3-3B16-EABD-C6ACC4281900}" dt="2022-04-18T17:48:26.567" v="614" actId="1076"/>
          <ac:spMkLst>
            <pc:docMk/>
            <pc:sldMk cId="2988308840" sldId="386"/>
            <ac:spMk id="413" creationId="{00000000-0000-0000-0000-000000000000}"/>
          </ac:spMkLst>
        </pc:spChg>
        <pc:spChg chg="mod">
          <ac:chgData name="Guest User" userId="S::urn:spo:anon#6bbc8ad3065cd11d92081721a572e8f9c9b85cc64084c82913bb48609c033f69::" providerId="AD" clId="Web-{C0B79F31-32B3-3B16-EABD-C6ACC4281900}" dt="2022-04-18T17:59:10.220" v="693" actId="1076"/>
          <ac:spMkLst>
            <pc:docMk/>
            <pc:sldMk cId="2988308840" sldId="386"/>
            <ac:spMk id="416" creationId="{00000000-0000-0000-0000-000000000000}"/>
          </ac:spMkLst>
        </pc:spChg>
        <pc:spChg chg="mod">
          <ac:chgData name="Guest User" userId="S::urn:spo:anon#6bbc8ad3065cd11d92081721a572e8f9c9b85cc64084c82913bb48609c033f69::" providerId="AD" clId="Web-{C0B79F31-32B3-3B16-EABD-C6ACC4281900}" dt="2022-04-18T17:59:10.251" v="694" actId="1076"/>
          <ac:spMkLst>
            <pc:docMk/>
            <pc:sldMk cId="2988308840" sldId="386"/>
            <ac:spMk id="417" creationId="{00000000-0000-0000-0000-000000000000}"/>
          </ac:spMkLst>
        </pc:spChg>
        <pc:spChg chg="del">
          <ac:chgData name="Guest User" userId="S::urn:spo:anon#6bbc8ad3065cd11d92081721a572e8f9c9b85cc64084c82913bb48609c033f69::" providerId="AD" clId="Web-{C0B79F31-32B3-3B16-EABD-C6ACC4281900}" dt="2022-04-18T17:38:13.883" v="15"/>
          <ac:spMkLst>
            <pc:docMk/>
            <pc:sldMk cId="2988308840" sldId="386"/>
            <ac:spMk id="426" creationId="{00000000-0000-0000-0000-000000000000}"/>
          </ac:spMkLst>
        </pc:spChg>
        <pc:spChg chg="mod">
          <ac:chgData name="Guest User" userId="S::urn:spo:anon#6bbc8ad3065cd11d92081721a572e8f9c9b85cc64084c82913bb48609c033f69::" providerId="AD" clId="Web-{C0B79F31-32B3-3B16-EABD-C6ACC4281900}" dt="2022-04-18T17:48:26.708" v="620" actId="1076"/>
          <ac:spMkLst>
            <pc:docMk/>
            <pc:sldMk cId="2988308840" sldId="386"/>
            <ac:spMk id="430" creationId="{00000000-0000-0000-0000-000000000000}"/>
          </ac:spMkLst>
        </pc:spChg>
        <pc:spChg chg="mod">
          <ac:chgData name="Guest User" userId="S::urn:spo:anon#6bbc8ad3065cd11d92081721a572e8f9c9b85cc64084c82913bb48609c033f69::" providerId="AD" clId="Web-{C0B79F31-32B3-3B16-EABD-C6ACC4281900}" dt="2022-04-18T17:48:26.739" v="621" actId="1076"/>
          <ac:spMkLst>
            <pc:docMk/>
            <pc:sldMk cId="2988308840" sldId="386"/>
            <ac:spMk id="431" creationId="{00000000-0000-0000-0000-000000000000}"/>
          </ac:spMkLst>
        </pc:spChg>
        <pc:spChg chg="mod">
          <ac:chgData name="Guest User" userId="S::urn:spo:anon#6bbc8ad3065cd11d92081721a572e8f9c9b85cc64084c82913bb48609c033f69::" providerId="AD" clId="Web-{C0B79F31-32B3-3B16-EABD-C6ACC4281900}" dt="2022-04-18T17:48:26.754" v="622" actId="1076"/>
          <ac:spMkLst>
            <pc:docMk/>
            <pc:sldMk cId="2988308840" sldId="386"/>
            <ac:spMk id="432" creationId="{00000000-0000-0000-0000-000000000000}"/>
          </ac:spMkLst>
        </pc:spChg>
        <pc:spChg chg="mod">
          <ac:chgData name="Guest User" userId="S::urn:spo:anon#6bbc8ad3065cd11d92081721a572e8f9c9b85cc64084c82913bb48609c033f69::" providerId="AD" clId="Web-{C0B79F31-32B3-3B16-EABD-C6ACC4281900}" dt="2022-04-18T17:48:26.786" v="623" actId="1076"/>
          <ac:spMkLst>
            <pc:docMk/>
            <pc:sldMk cId="2988308840" sldId="386"/>
            <ac:spMk id="433" creationId="{00000000-0000-0000-0000-000000000000}"/>
          </ac:spMkLst>
        </pc:spChg>
        <pc:spChg chg="mod">
          <ac:chgData name="Guest User" userId="S::urn:spo:anon#6bbc8ad3065cd11d92081721a572e8f9c9b85cc64084c82913bb48609c033f69::" providerId="AD" clId="Web-{C0B79F31-32B3-3B16-EABD-C6ACC4281900}" dt="2022-04-18T17:48:26.801" v="624" actId="1076"/>
          <ac:spMkLst>
            <pc:docMk/>
            <pc:sldMk cId="2988308840" sldId="386"/>
            <ac:spMk id="436" creationId="{00000000-0000-0000-0000-000000000000}"/>
          </ac:spMkLst>
        </pc:spChg>
        <pc:spChg chg="mod">
          <ac:chgData name="Guest User" userId="S::urn:spo:anon#6bbc8ad3065cd11d92081721a572e8f9c9b85cc64084c82913bb48609c033f69::" providerId="AD" clId="Web-{C0B79F31-32B3-3B16-EABD-C6ACC4281900}" dt="2022-04-18T17:48:26.833" v="625" actId="1076"/>
          <ac:spMkLst>
            <pc:docMk/>
            <pc:sldMk cId="2988308840" sldId="386"/>
            <ac:spMk id="437" creationId="{00000000-0000-0000-0000-000000000000}"/>
          </ac:spMkLst>
        </pc:spChg>
        <pc:spChg chg="mod">
          <ac:chgData name="Guest User" userId="S::urn:spo:anon#6bbc8ad3065cd11d92081721a572e8f9c9b85cc64084c82913bb48609c033f69::" providerId="AD" clId="Web-{C0B79F31-32B3-3B16-EABD-C6ACC4281900}" dt="2022-04-18T17:48:26.848" v="626" actId="1076"/>
          <ac:spMkLst>
            <pc:docMk/>
            <pc:sldMk cId="2988308840" sldId="386"/>
            <ac:spMk id="440" creationId="{00000000-0000-0000-0000-000000000000}"/>
          </ac:spMkLst>
        </pc:spChg>
        <pc:spChg chg="mod">
          <ac:chgData name="Guest User" userId="S::urn:spo:anon#6bbc8ad3065cd11d92081721a572e8f9c9b85cc64084c82913bb48609c033f69::" providerId="AD" clId="Web-{C0B79F31-32B3-3B16-EABD-C6ACC4281900}" dt="2022-04-18T17:48:26.879" v="627" actId="1076"/>
          <ac:spMkLst>
            <pc:docMk/>
            <pc:sldMk cId="2988308840" sldId="386"/>
            <ac:spMk id="441" creationId="{00000000-0000-0000-0000-000000000000}"/>
          </ac:spMkLst>
        </pc:spChg>
        <pc:spChg chg="del mod">
          <ac:chgData name="Guest User" userId="S::urn:spo:anon#6bbc8ad3065cd11d92081721a572e8f9c9b85cc64084c82913bb48609c033f69::" providerId="AD" clId="Web-{C0B79F31-32B3-3B16-EABD-C6ACC4281900}" dt="2022-04-18T18:00:36.894" v="699"/>
          <ac:spMkLst>
            <pc:docMk/>
            <pc:sldMk cId="2988308840" sldId="386"/>
            <ac:spMk id="442" creationId="{00000000-0000-0000-0000-000000000000}"/>
          </ac:spMkLst>
        </pc:spChg>
        <pc:spChg chg="del">
          <ac:chgData name="Guest User" userId="S::urn:spo:anon#6bbc8ad3065cd11d92081721a572e8f9c9b85cc64084c82913bb48609c033f69::" providerId="AD" clId="Web-{C0B79F31-32B3-3B16-EABD-C6ACC4281900}" dt="2022-04-18T17:38:13.868" v="13"/>
          <ac:spMkLst>
            <pc:docMk/>
            <pc:sldMk cId="2988308840" sldId="386"/>
            <ac:spMk id="443" creationId="{00000000-0000-0000-0000-000000000000}"/>
          </ac:spMkLst>
        </pc:spChg>
        <pc:spChg chg="mod">
          <ac:chgData name="Guest User" userId="S::urn:spo:anon#6bbc8ad3065cd11d92081721a572e8f9c9b85cc64084c82913bb48609c033f69::" providerId="AD" clId="Web-{C0B79F31-32B3-3B16-EABD-C6ACC4281900}" dt="2022-04-18T17:48:26.911" v="628" actId="1076"/>
          <ac:spMkLst>
            <pc:docMk/>
            <pc:sldMk cId="2988308840" sldId="386"/>
            <ac:spMk id="444" creationId="{00000000-0000-0000-0000-000000000000}"/>
          </ac:spMkLst>
        </pc:spChg>
        <pc:spChg chg="mod">
          <ac:chgData name="Guest User" userId="S::urn:spo:anon#6bbc8ad3065cd11d92081721a572e8f9c9b85cc64084c82913bb48609c033f69::" providerId="AD" clId="Web-{C0B79F31-32B3-3B16-EABD-C6ACC4281900}" dt="2022-04-18T17:48:26.926" v="629" actId="1076"/>
          <ac:spMkLst>
            <pc:docMk/>
            <pc:sldMk cId="2988308840" sldId="386"/>
            <ac:spMk id="445" creationId="{00000000-0000-0000-0000-000000000000}"/>
          </ac:spMkLst>
        </pc:spChg>
        <pc:spChg chg="mod">
          <ac:chgData name="Guest User" userId="S::urn:spo:anon#6bbc8ad3065cd11d92081721a572e8f9c9b85cc64084c82913bb48609c033f69::" providerId="AD" clId="Web-{C0B79F31-32B3-3B16-EABD-C6ACC4281900}" dt="2022-04-18T17:48:26.958" v="630" actId="1076"/>
          <ac:spMkLst>
            <pc:docMk/>
            <pc:sldMk cId="2988308840" sldId="386"/>
            <ac:spMk id="446" creationId="{00000000-0000-0000-0000-000000000000}"/>
          </ac:spMkLst>
        </pc:spChg>
        <pc:spChg chg="mod">
          <ac:chgData name="Guest User" userId="S::urn:spo:anon#6bbc8ad3065cd11d92081721a572e8f9c9b85cc64084c82913bb48609c033f69::" providerId="AD" clId="Web-{C0B79F31-32B3-3B16-EABD-C6ACC4281900}" dt="2022-04-18T18:12:52.861" v="827" actId="1076"/>
          <ac:spMkLst>
            <pc:docMk/>
            <pc:sldMk cId="2988308840" sldId="386"/>
            <ac:spMk id="447" creationId="{00000000-0000-0000-0000-000000000000}"/>
          </ac:spMkLst>
        </pc:spChg>
        <pc:spChg chg="mod">
          <ac:chgData name="Guest User" userId="S::urn:spo:anon#6bbc8ad3065cd11d92081721a572e8f9c9b85cc64084c82913bb48609c033f69::" providerId="AD" clId="Web-{C0B79F31-32B3-3B16-EABD-C6ACC4281900}" dt="2022-04-18T17:48:27.004" v="632" actId="1076"/>
          <ac:spMkLst>
            <pc:docMk/>
            <pc:sldMk cId="2988308840" sldId="386"/>
            <ac:spMk id="454" creationId="{00000000-0000-0000-0000-000000000000}"/>
          </ac:spMkLst>
        </pc:spChg>
        <pc:spChg chg="mod">
          <ac:chgData name="Guest User" userId="S::urn:spo:anon#6bbc8ad3065cd11d92081721a572e8f9c9b85cc64084c82913bb48609c033f69::" providerId="AD" clId="Web-{C0B79F31-32B3-3B16-EABD-C6ACC4281900}" dt="2022-04-18T17:48:27.020" v="633" actId="1076"/>
          <ac:spMkLst>
            <pc:docMk/>
            <pc:sldMk cId="2988308840" sldId="386"/>
            <ac:spMk id="455" creationId="{00000000-0000-0000-0000-000000000000}"/>
          </ac:spMkLst>
        </pc:spChg>
        <pc:grpChg chg="mod">
          <ac:chgData name="Guest User" userId="S::urn:spo:anon#6bbc8ad3065cd11d92081721a572e8f9c9b85cc64084c82913bb48609c033f69::" providerId="AD" clId="Web-{C0B79F31-32B3-3B16-EABD-C6ACC4281900}" dt="2022-04-18T17:56:59.483" v="685" actId="1076"/>
          <ac:grpSpMkLst>
            <pc:docMk/>
            <pc:sldMk cId="2988308840" sldId="386"/>
            <ac:grpSpMk id="3" creationId="{04B4B9EF-39BF-81F3-070D-703E1C6BC8C8}"/>
          </ac:grpSpMkLst>
        </pc:grpChg>
        <pc:picChg chg="add mod">
          <ac:chgData name="Guest User" userId="S::urn:spo:anon#6bbc8ad3065cd11d92081721a572e8f9c9b85cc64084c82913bb48609c033f69::" providerId="AD" clId="Web-{C0B79F31-32B3-3B16-EABD-C6ACC4281900}" dt="2022-04-18T18:01:26.254" v="713" actId="1076"/>
          <ac:picMkLst>
            <pc:docMk/>
            <pc:sldMk cId="2988308840" sldId="386"/>
            <ac:picMk id="10" creationId="{96EBE82B-00D5-E2C5-85EC-A21911CB36E7}"/>
          </ac:picMkLst>
        </pc:picChg>
        <pc:picChg chg="add mod">
          <ac:chgData name="Guest User" userId="S::urn:spo:anon#6bbc8ad3065cd11d92081721a572e8f9c9b85cc64084c82913bb48609c033f69::" providerId="AD" clId="Web-{C0B79F31-32B3-3B16-EABD-C6ACC4281900}" dt="2022-04-18T18:01:26.269" v="714" actId="1076"/>
          <ac:picMkLst>
            <pc:docMk/>
            <pc:sldMk cId="2988308840" sldId="386"/>
            <ac:picMk id="11" creationId="{0EC5F6AA-3FD2-0525-F4B6-A5F015A37D98}"/>
          </ac:picMkLst>
        </pc:picChg>
        <pc:picChg chg="add mod">
          <ac:chgData name="Guest User" userId="S::urn:spo:anon#6bbc8ad3065cd11d92081721a572e8f9c9b85cc64084c82913bb48609c033f69::" providerId="AD" clId="Web-{C0B79F31-32B3-3B16-EABD-C6ACC4281900}" dt="2022-04-18T18:01:26.301" v="715" actId="1076"/>
          <ac:picMkLst>
            <pc:docMk/>
            <pc:sldMk cId="2988308840" sldId="386"/>
            <ac:picMk id="13" creationId="{FDEE15E4-A903-8785-D029-F436610B7FC2}"/>
          </ac:picMkLst>
        </pc:picChg>
        <pc:picChg chg="add mod">
          <ac:chgData name="Guest User" userId="S::urn:spo:anon#6bbc8ad3065cd11d92081721a572e8f9c9b85cc64084c82913bb48609c033f69::" providerId="AD" clId="Web-{C0B79F31-32B3-3B16-EABD-C6ACC4281900}" dt="2022-04-18T18:01:26.348" v="717" actId="1076"/>
          <ac:picMkLst>
            <pc:docMk/>
            <pc:sldMk cId="2988308840" sldId="386"/>
            <ac:picMk id="15" creationId="{E4150FCD-373B-FB03-FB1E-3AC7D7660ADB}"/>
          </ac:picMkLst>
        </pc:picChg>
        <pc:picChg chg="del">
          <ac:chgData name="Guest User" userId="S::urn:spo:anon#6bbc8ad3065cd11d92081721a572e8f9c9b85cc64084c82913bb48609c033f69::" providerId="AD" clId="Web-{C0B79F31-32B3-3B16-EABD-C6ACC4281900}" dt="2022-04-18T17:38:13.883" v="21"/>
          <ac:picMkLst>
            <pc:docMk/>
            <pc:sldMk cId="2988308840" sldId="386"/>
            <ac:picMk id="385" creationId="{00000000-0000-0000-0000-000000000000}"/>
          </ac:picMkLst>
        </pc:picChg>
        <pc:picChg chg="del">
          <ac:chgData name="Guest User" userId="S::urn:spo:anon#6bbc8ad3065cd11d92081721a572e8f9c9b85cc64084c82913bb48609c033f69::" providerId="AD" clId="Web-{C0B79F31-32B3-3B16-EABD-C6ACC4281900}" dt="2022-04-18T17:38:13.883" v="20"/>
          <ac:picMkLst>
            <pc:docMk/>
            <pc:sldMk cId="2988308840" sldId="386"/>
            <ac:picMk id="386" creationId="{00000000-0000-0000-0000-000000000000}"/>
          </ac:picMkLst>
        </pc:picChg>
        <pc:picChg chg="del">
          <ac:chgData name="Guest User" userId="S::urn:spo:anon#6bbc8ad3065cd11d92081721a572e8f9c9b85cc64084c82913bb48609c033f69::" providerId="AD" clId="Web-{C0B79F31-32B3-3B16-EABD-C6ACC4281900}" dt="2022-04-18T17:38:13.883" v="16"/>
          <ac:picMkLst>
            <pc:docMk/>
            <pc:sldMk cId="2988308840" sldId="386"/>
            <ac:picMk id="424" creationId="{00000000-0000-0000-0000-000000000000}"/>
          </ac:picMkLst>
        </pc:picChg>
        <pc:picChg chg="del">
          <ac:chgData name="Guest User" userId="S::urn:spo:anon#6bbc8ad3065cd11d92081721a572e8f9c9b85cc64084c82913bb48609c033f69::" providerId="AD" clId="Web-{C0B79F31-32B3-3B16-EABD-C6ACC4281900}" dt="2022-04-18T17:38:13.883" v="14"/>
          <ac:picMkLst>
            <pc:docMk/>
            <pc:sldMk cId="2988308840" sldId="386"/>
            <ac:picMk id="427" creationId="{00000000-0000-0000-0000-000000000000}"/>
          </ac:picMkLst>
        </pc:picChg>
        <pc:cxnChg chg="add del">
          <ac:chgData name="Guest User" userId="S::urn:spo:anon#6bbc8ad3065cd11d92081721a572e8f9c9b85cc64084c82913bb48609c033f69::" providerId="AD" clId="Web-{C0B79F31-32B3-3B16-EABD-C6ACC4281900}" dt="2022-04-18T18:01:18.816" v="709"/>
          <ac:cxnSpMkLst>
            <pc:docMk/>
            <pc:sldMk cId="2988308840" sldId="386"/>
            <ac:cxnSpMk id="12" creationId="{FC86C155-BF7D-5F18-6DFE-15BB223440C1}"/>
          </ac:cxnSpMkLst>
        </pc:cxnChg>
        <pc:cxnChg chg="add mod">
          <ac:chgData name="Guest User" userId="S::urn:spo:anon#6bbc8ad3065cd11d92081721a572e8f9c9b85cc64084c82913bb48609c033f69::" providerId="AD" clId="Web-{C0B79F31-32B3-3B16-EABD-C6ACC4281900}" dt="2022-04-18T17:48:27.442" v="650" actId="1076"/>
          <ac:cxnSpMkLst>
            <pc:docMk/>
            <pc:sldMk cId="2988308840" sldId="386"/>
            <ac:cxnSpMk id="105" creationId="{47DE1232-618A-98A7-42CA-57C78BE8003A}"/>
          </ac:cxnSpMkLst>
        </pc:cxnChg>
        <pc:cxnChg chg="add del mod">
          <ac:chgData name="Guest User" userId="S::urn:spo:anon#6bbc8ad3065cd11d92081721a572e8f9c9b85cc64084c82913bb48609c033f69::" providerId="AD" clId="Web-{C0B79F31-32B3-3B16-EABD-C6ACC4281900}" dt="2022-04-18T17:43:04.389" v="115"/>
          <ac:cxnSpMkLst>
            <pc:docMk/>
            <pc:sldMk cId="2988308840" sldId="386"/>
            <ac:cxnSpMk id="108" creationId="{F9661445-2767-39EA-5B1D-11F923A5ECD1}"/>
          </ac:cxnSpMkLst>
        </pc:cxnChg>
        <pc:cxnChg chg="add del mod">
          <ac:chgData name="Guest User" userId="S::urn:spo:anon#6bbc8ad3065cd11d92081721a572e8f9c9b85cc64084c82913bb48609c033f69::" providerId="AD" clId="Web-{C0B79F31-32B3-3B16-EABD-C6ACC4281900}" dt="2022-04-18T17:43:04.389" v="114"/>
          <ac:cxnSpMkLst>
            <pc:docMk/>
            <pc:sldMk cId="2988308840" sldId="386"/>
            <ac:cxnSpMk id="110" creationId="{143BF1C1-740F-D7C2-DC91-8C51F0AD08A3}"/>
          </ac:cxnSpMkLst>
        </pc:cxnChg>
        <pc:cxnChg chg="add mod">
          <ac:chgData name="Guest User" userId="S::urn:spo:anon#6bbc8ad3065cd11d92081721a572e8f9c9b85cc64084c82913bb48609c033f69::" providerId="AD" clId="Web-{C0B79F31-32B3-3B16-EABD-C6ACC4281900}" dt="2022-04-18T17:48:27.520" v="653" actId="1076"/>
          <ac:cxnSpMkLst>
            <pc:docMk/>
            <pc:sldMk cId="2988308840" sldId="386"/>
            <ac:cxnSpMk id="111" creationId="{731970E4-ABD5-0607-31FD-27DDEA233EDF}"/>
          </ac:cxnSpMkLst>
        </pc:cxnChg>
        <pc:cxnChg chg="add mod">
          <ac:chgData name="Guest User" userId="S::urn:spo:anon#6bbc8ad3065cd11d92081721a572e8f9c9b85cc64084c82913bb48609c033f69::" providerId="AD" clId="Web-{C0B79F31-32B3-3B16-EABD-C6ACC4281900}" dt="2022-04-18T17:48:27.567" v="655" actId="1076"/>
          <ac:cxnSpMkLst>
            <pc:docMk/>
            <pc:sldMk cId="2988308840" sldId="386"/>
            <ac:cxnSpMk id="113" creationId="{1A26C620-9754-E0D5-B1A1-3437CC5D9BD8}"/>
          </ac:cxnSpMkLst>
        </pc:cxnChg>
        <pc:cxnChg chg="mod">
          <ac:chgData name="Guest User" userId="S::urn:spo:anon#6bbc8ad3065cd11d92081721a572e8f9c9b85cc64084c82913bb48609c033f69::" providerId="AD" clId="Web-{C0B79F31-32B3-3B16-EABD-C6ACC4281900}" dt="2022-04-18T17:48:27.098" v="636" actId="1076"/>
          <ac:cxnSpMkLst>
            <pc:docMk/>
            <pc:sldMk cId="2988308840" sldId="386"/>
            <ac:cxnSpMk id="119" creationId="{BE5967B3-C8EE-4DCD-9A67-1ED6C8099880}"/>
          </ac:cxnSpMkLst>
        </pc:cxnChg>
        <pc:cxnChg chg="mod">
          <ac:chgData name="Guest User" userId="S::urn:spo:anon#6bbc8ad3065cd11d92081721a572e8f9c9b85cc64084c82913bb48609c033f69::" providerId="AD" clId="Web-{C0B79F31-32B3-3B16-EABD-C6ACC4281900}" dt="2022-04-18T17:48:27.129" v="637" actId="1076"/>
          <ac:cxnSpMkLst>
            <pc:docMk/>
            <pc:sldMk cId="2988308840" sldId="386"/>
            <ac:cxnSpMk id="120" creationId="{55FA9FF7-4455-4B47-9023-FF6BDA918F8C}"/>
          </ac:cxnSpMkLst>
        </pc:cxnChg>
        <pc:cxnChg chg="mod">
          <ac:chgData name="Guest User" userId="S::urn:spo:anon#6bbc8ad3065cd11d92081721a572e8f9c9b85cc64084c82913bb48609c033f69::" providerId="AD" clId="Web-{C0B79F31-32B3-3B16-EABD-C6ACC4281900}" dt="2022-04-18T17:48:27.145" v="638" actId="1076"/>
          <ac:cxnSpMkLst>
            <pc:docMk/>
            <pc:sldMk cId="2988308840" sldId="386"/>
            <ac:cxnSpMk id="121" creationId="{97E780CD-675F-4964-B3D4-48E0D2AE9F84}"/>
          </ac:cxnSpMkLst>
        </pc:cxnChg>
        <pc:cxnChg chg="mod">
          <ac:chgData name="Guest User" userId="S::urn:spo:anon#6bbc8ad3065cd11d92081721a572e8f9c9b85cc64084c82913bb48609c033f69::" providerId="AD" clId="Web-{C0B79F31-32B3-3B16-EABD-C6ACC4281900}" dt="2022-04-18T17:48:27.223" v="641" actId="1076"/>
          <ac:cxnSpMkLst>
            <pc:docMk/>
            <pc:sldMk cId="2988308840" sldId="386"/>
            <ac:cxnSpMk id="131" creationId="{CA95AD8E-ED34-4D5B-96B5-8760CBB199C6}"/>
          </ac:cxnSpMkLst>
        </pc:cxnChg>
        <pc:cxnChg chg="mod">
          <ac:chgData name="Guest User" userId="S::urn:spo:anon#6bbc8ad3065cd11d92081721a572e8f9c9b85cc64084c82913bb48609c033f69::" providerId="AD" clId="Web-{C0B79F31-32B3-3B16-EABD-C6ACC4281900}" dt="2022-04-18T17:48:27.239" v="642" actId="1076"/>
          <ac:cxnSpMkLst>
            <pc:docMk/>
            <pc:sldMk cId="2988308840" sldId="386"/>
            <ac:cxnSpMk id="135" creationId="{07D150B9-41C8-4CFF-ACA8-4BE69CAF1760}"/>
          </ac:cxnSpMkLst>
        </pc:cxnChg>
        <pc:cxnChg chg="mod">
          <ac:chgData name="Guest User" userId="S::urn:spo:anon#6bbc8ad3065cd11d92081721a572e8f9c9b85cc64084c82913bb48609c033f69::" providerId="AD" clId="Web-{C0B79F31-32B3-3B16-EABD-C6ACC4281900}" dt="2022-04-18T17:49:43.475" v="663" actId="1076"/>
          <ac:cxnSpMkLst>
            <pc:docMk/>
            <pc:sldMk cId="2988308840" sldId="386"/>
            <ac:cxnSpMk id="138" creationId="{72CD5195-4FCE-4FC8-B037-A7E561D0D2AA}"/>
          </ac:cxnSpMkLst>
        </pc:cxnChg>
        <pc:cxnChg chg="mod">
          <ac:chgData name="Guest User" userId="S::urn:spo:anon#6bbc8ad3065cd11d92081721a572e8f9c9b85cc64084c82913bb48609c033f69::" providerId="AD" clId="Web-{C0B79F31-32B3-3B16-EABD-C6ACC4281900}" dt="2022-04-18T17:48:25.973" v="591" actId="1076"/>
          <ac:cxnSpMkLst>
            <pc:docMk/>
            <pc:sldMk cId="2988308840" sldId="386"/>
            <ac:cxnSpMk id="140" creationId="{23C0FF3C-861F-42A1-BD37-345295530B62}"/>
          </ac:cxnSpMkLst>
        </pc:cxnChg>
        <pc:cxnChg chg="mod">
          <ac:chgData name="Guest User" userId="S::urn:spo:anon#6bbc8ad3065cd11d92081721a572e8f9c9b85cc64084c82913bb48609c033f69::" providerId="AD" clId="Web-{C0B79F31-32B3-3B16-EABD-C6ACC4281900}" dt="2022-04-18T17:48:26.317" v="604" actId="1076"/>
          <ac:cxnSpMkLst>
            <pc:docMk/>
            <pc:sldMk cId="2988308840" sldId="386"/>
            <ac:cxnSpMk id="389" creationId="{00000000-0000-0000-0000-000000000000}"/>
          </ac:cxnSpMkLst>
        </pc:cxnChg>
        <pc:cxnChg chg="del">
          <ac:chgData name="Guest User" userId="S::urn:spo:anon#6bbc8ad3065cd11d92081721a572e8f9c9b85cc64084c82913bb48609c033f69::" providerId="AD" clId="Web-{C0B79F31-32B3-3B16-EABD-C6ACC4281900}" dt="2022-04-18T17:38:13.883" v="19"/>
          <ac:cxnSpMkLst>
            <pc:docMk/>
            <pc:sldMk cId="2988308840" sldId="386"/>
            <ac:cxnSpMk id="391" creationId="{00000000-0000-0000-0000-000000000000}"/>
          </ac:cxnSpMkLst>
        </pc:cxnChg>
        <pc:cxnChg chg="del">
          <ac:chgData name="Guest User" userId="S::urn:spo:anon#6bbc8ad3065cd11d92081721a572e8f9c9b85cc64084c82913bb48609c033f69::" providerId="AD" clId="Web-{C0B79F31-32B3-3B16-EABD-C6ACC4281900}" dt="2022-04-18T17:38:13.883" v="18"/>
          <ac:cxnSpMkLst>
            <pc:docMk/>
            <pc:sldMk cId="2988308840" sldId="386"/>
            <ac:cxnSpMk id="392" creationId="{00000000-0000-0000-0000-000000000000}"/>
          </ac:cxnSpMkLst>
        </pc:cxnChg>
        <pc:cxnChg chg="mod">
          <ac:chgData name="Guest User" userId="S::urn:spo:anon#6bbc8ad3065cd11d92081721a572e8f9c9b85cc64084c82913bb48609c033f69::" providerId="AD" clId="Web-{C0B79F31-32B3-3B16-EABD-C6ACC4281900}" dt="2022-04-18T17:48:26.348" v="605" actId="1076"/>
          <ac:cxnSpMkLst>
            <pc:docMk/>
            <pc:sldMk cId="2988308840" sldId="386"/>
            <ac:cxnSpMk id="393" creationId="{00000000-0000-0000-0000-000000000000}"/>
          </ac:cxnSpMkLst>
        </pc:cxnChg>
        <pc:cxnChg chg="mod">
          <ac:chgData name="Guest User" userId="S::urn:spo:anon#6bbc8ad3065cd11d92081721a572e8f9c9b85cc64084c82913bb48609c033f69::" providerId="AD" clId="Web-{C0B79F31-32B3-3B16-EABD-C6ACC4281900}" dt="2022-04-18T17:48:26.364" v="606" actId="1076"/>
          <ac:cxnSpMkLst>
            <pc:docMk/>
            <pc:sldMk cId="2988308840" sldId="386"/>
            <ac:cxnSpMk id="394" creationId="{00000000-0000-0000-0000-000000000000}"/>
          </ac:cxnSpMkLst>
        </pc:cxnChg>
        <pc:cxnChg chg="mod">
          <ac:chgData name="Guest User" userId="S::urn:spo:anon#6bbc8ad3065cd11d92081721a572e8f9c9b85cc64084c82913bb48609c033f69::" providerId="AD" clId="Web-{C0B79F31-32B3-3B16-EABD-C6ACC4281900}" dt="2022-04-18T17:48:26.395" v="607" actId="1076"/>
          <ac:cxnSpMkLst>
            <pc:docMk/>
            <pc:sldMk cId="2988308840" sldId="386"/>
            <ac:cxnSpMk id="395" creationId="{00000000-0000-0000-0000-000000000000}"/>
          </ac:cxnSpMkLst>
        </pc:cxnChg>
        <pc:cxnChg chg="mod">
          <ac:chgData name="Guest User" userId="S::urn:spo:anon#6bbc8ad3065cd11d92081721a572e8f9c9b85cc64084c82913bb48609c033f69::" providerId="AD" clId="Web-{C0B79F31-32B3-3B16-EABD-C6ACC4281900}" dt="2022-04-18T17:48:26.411" v="608" actId="1076"/>
          <ac:cxnSpMkLst>
            <pc:docMk/>
            <pc:sldMk cId="2988308840" sldId="386"/>
            <ac:cxnSpMk id="396" creationId="{00000000-0000-0000-0000-000000000000}"/>
          </ac:cxnSpMkLst>
        </pc:cxnChg>
        <pc:cxnChg chg="mod">
          <ac:chgData name="Guest User" userId="S::urn:spo:anon#6bbc8ad3065cd11d92081721a572e8f9c9b85cc64084c82913bb48609c033f69::" providerId="AD" clId="Web-{C0B79F31-32B3-3B16-EABD-C6ACC4281900}" dt="2022-04-18T18:06:15.009" v="751" actId="14100"/>
          <ac:cxnSpMkLst>
            <pc:docMk/>
            <pc:sldMk cId="2988308840" sldId="386"/>
            <ac:cxnSpMk id="397" creationId="{00000000-0000-0000-0000-000000000000}"/>
          </ac:cxnSpMkLst>
        </pc:cxnChg>
        <pc:cxnChg chg="mod">
          <ac:chgData name="Guest User" userId="S::urn:spo:anon#6bbc8ad3065cd11d92081721a572e8f9c9b85cc64084c82913bb48609c033f69::" providerId="AD" clId="Web-{C0B79F31-32B3-3B16-EABD-C6ACC4281900}" dt="2022-04-18T18:06:34.432" v="752" actId="14100"/>
          <ac:cxnSpMkLst>
            <pc:docMk/>
            <pc:sldMk cId="2988308840" sldId="386"/>
            <ac:cxnSpMk id="398" creationId="{00000000-0000-0000-0000-000000000000}"/>
          </ac:cxnSpMkLst>
        </pc:cxnChg>
        <pc:cxnChg chg="del">
          <ac:chgData name="Guest User" userId="S::urn:spo:anon#6bbc8ad3065cd11d92081721a572e8f9c9b85cc64084c82913bb48609c033f69::" providerId="AD" clId="Web-{C0B79F31-32B3-3B16-EABD-C6ACC4281900}" dt="2022-04-18T17:38:01.930" v="12"/>
          <ac:cxnSpMkLst>
            <pc:docMk/>
            <pc:sldMk cId="2988308840" sldId="386"/>
            <ac:cxnSpMk id="420" creationId="{00000000-0000-0000-0000-000000000000}"/>
          </ac:cxnSpMkLst>
        </pc:cxnChg>
        <pc:cxnChg chg="mod">
          <ac:chgData name="Guest User" userId="S::urn:spo:anon#6bbc8ad3065cd11d92081721a572e8f9c9b85cc64084c82913bb48609c033f69::" providerId="AD" clId="Web-{C0B79F31-32B3-3B16-EABD-C6ACC4281900}" dt="2022-04-18T17:48:26.645" v="617" actId="1076"/>
          <ac:cxnSpMkLst>
            <pc:docMk/>
            <pc:sldMk cId="2988308840" sldId="386"/>
            <ac:cxnSpMk id="421" creationId="{00000000-0000-0000-0000-000000000000}"/>
          </ac:cxnSpMkLst>
        </pc:cxnChg>
        <pc:cxnChg chg="mod">
          <ac:chgData name="Guest User" userId="S::urn:spo:anon#6bbc8ad3065cd11d92081721a572e8f9c9b85cc64084c82913bb48609c033f69::" providerId="AD" clId="Web-{C0B79F31-32B3-3B16-EABD-C6ACC4281900}" dt="2022-04-18T17:48:26.661" v="618" actId="1076"/>
          <ac:cxnSpMkLst>
            <pc:docMk/>
            <pc:sldMk cId="2988308840" sldId="386"/>
            <ac:cxnSpMk id="422" creationId="{00000000-0000-0000-0000-000000000000}"/>
          </ac:cxnSpMkLst>
        </pc:cxnChg>
        <pc:cxnChg chg="mod">
          <ac:chgData name="Guest User" userId="S::urn:spo:anon#6bbc8ad3065cd11d92081721a572e8f9c9b85cc64084c82913bb48609c033f69::" providerId="AD" clId="Web-{C0B79F31-32B3-3B16-EABD-C6ACC4281900}" dt="2022-04-18T18:07:01.167" v="753" actId="14100"/>
          <ac:cxnSpMkLst>
            <pc:docMk/>
            <pc:sldMk cId="2988308840" sldId="386"/>
            <ac:cxnSpMk id="425" creationId="{00000000-0000-0000-0000-000000000000}"/>
          </ac:cxnSpMkLst>
        </pc:cxnChg>
      </pc:sldChg>
      <pc:sldChg chg="addSp delSp modSp add replId">
        <pc:chgData name="Guest User" userId="S::urn:spo:anon#6bbc8ad3065cd11d92081721a572e8f9c9b85cc64084c82913bb48609c033f69::" providerId="AD" clId="Web-{C0B79F31-32B3-3B16-EABD-C6ACC4281900}" dt="2022-04-18T18:34:03.557" v="946" actId="14100"/>
        <pc:sldMkLst>
          <pc:docMk/>
          <pc:sldMk cId="2764582375" sldId="387"/>
        </pc:sldMkLst>
        <pc:spChg chg="add mod">
          <ac:chgData name="Guest User" userId="S::urn:spo:anon#6bbc8ad3065cd11d92081721a572e8f9c9b85cc64084c82913bb48609c033f69::" providerId="AD" clId="Web-{C0B79F31-32B3-3B16-EABD-C6ACC4281900}" dt="2022-04-18T18:24:44.468" v="859" actId="1076"/>
          <ac:spMkLst>
            <pc:docMk/>
            <pc:sldMk cId="2764582375" sldId="387"/>
            <ac:spMk id="7" creationId="{5DF7A6A0-D36F-9C0D-FC32-D8A5B2095478}"/>
          </ac:spMkLst>
        </pc:spChg>
        <pc:spChg chg="add del">
          <ac:chgData name="Guest User" userId="S::urn:spo:anon#6bbc8ad3065cd11d92081721a572e8f9c9b85cc64084c82913bb48609c033f69::" providerId="AD" clId="Web-{C0B79F31-32B3-3B16-EABD-C6ACC4281900}" dt="2022-04-18T18:27:27.925" v="886"/>
          <ac:spMkLst>
            <pc:docMk/>
            <pc:sldMk cId="2764582375" sldId="387"/>
            <ac:spMk id="8" creationId="{C57969EE-EB61-52BB-DD72-8726FE1C8286}"/>
          </ac:spMkLst>
        </pc:spChg>
        <pc:spChg chg="del mod">
          <ac:chgData name="Guest User" userId="S::urn:spo:anon#6bbc8ad3065cd11d92081721a572e8f9c9b85cc64084c82913bb48609c033f69::" providerId="AD" clId="Web-{C0B79F31-32B3-3B16-EABD-C6ACC4281900}" dt="2022-04-18T18:23:31.186" v="854"/>
          <ac:spMkLst>
            <pc:docMk/>
            <pc:sldMk cId="2764582375" sldId="387"/>
            <ac:spMk id="26" creationId="{955AC05E-33FB-3C44-F3BC-31A82617FF2F}"/>
          </ac:spMkLst>
        </pc:spChg>
        <pc:spChg chg="add del mod">
          <ac:chgData name="Guest User" userId="S::urn:spo:anon#6bbc8ad3065cd11d92081721a572e8f9c9b85cc64084c82913bb48609c033f69::" providerId="AD" clId="Web-{C0B79F31-32B3-3B16-EABD-C6ACC4281900}" dt="2022-04-18T18:22:17.997" v="840" actId="20577"/>
          <ac:spMkLst>
            <pc:docMk/>
            <pc:sldMk cId="2764582375" sldId="387"/>
            <ac:spMk id="28" creationId="{6BCD0965-B080-4C07-162C-B1793916C7AE}"/>
          </ac:spMkLst>
        </pc:spChg>
        <pc:spChg chg="mod">
          <ac:chgData name="Guest User" userId="S::urn:spo:anon#6bbc8ad3065cd11d92081721a572e8f9c9b85cc64084c82913bb48609c033f69::" providerId="AD" clId="Web-{C0B79F31-32B3-3B16-EABD-C6ACC4281900}" dt="2022-04-18T18:29:17.364" v="901" actId="14100"/>
          <ac:spMkLst>
            <pc:docMk/>
            <pc:sldMk cId="2764582375" sldId="387"/>
            <ac:spMk id="41" creationId="{3B6580CA-499D-CC3F-919D-5AA5927A4604}"/>
          </ac:spMkLst>
        </pc:spChg>
        <pc:spChg chg="mod">
          <ac:chgData name="Guest User" userId="S::urn:spo:anon#6bbc8ad3065cd11d92081721a572e8f9c9b85cc64084c82913bb48609c033f69::" providerId="AD" clId="Web-{C0B79F31-32B3-3B16-EABD-C6ACC4281900}" dt="2022-04-18T18:33:26.650" v="943" actId="20577"/>
          <ac:spMkLst>
            <pc:docMk/>
            <pc:sldMk cId="2764582375" sldId="387"/>
            <ac:spMk id="45" creationId="{BB66F23D-66B3-02EE-5766-5C1F76D9CAFF}"/>
          </ac:spMkLst>
        </pc:spChg>
        <pc:spChg chg="mod">
          <ac:chgData name="Guest User" userId="S::urn:spo:anon#6bbc8ad3065cd11d92081721a572e8f9c9b85cc64084c82913bb48609c033f69::" providerId="AD" clId="Web-{C0B79F31-32B3-3B16-EABD-C6ACC4281900}" dt="2022-04-18T18:29:39.287" v="904" actId="20577"/>
          <ac:spMkLst>
            <pc:docMk/>
            <pc:sldMk cId="2764582375" sldId="387"/>
            <ac:spMk id="55" creationId="{848D1D00-5AAC-E43D-57E3-DF6A3967DF99}"/>
          </ac:spMkLst>
        </pc:spChg>
        <pc:spChg chg="mod">
          <ac:chgData name="Guest User" userId="S::urn:spo:anon#6bbc8ad3065cd11d92081721a572e8f9c9b85cc64084c82913bb48609c033f69::" providerId="AD" clId="Web-{C0B79F31-32B3-3B16-EABD-C6ACC4281900}" dt="2022-04-18T18:31:25.914" v="918" actId="20577"/>
          <ac:spMkLst>
            <pc:docMk/>
            <pc:sldMk cId="2764582375" sldId="387"/>
            <ac:spMk id="57" creationId="{517415E3-5292-CB76-E3BF-5A88419C6143}"/>
          </ac:spMkLst>
        </pc:spChg>
        <pc:spChg chg="del">
          <ac:chgData name="Guest User" userId="S::urn:spo:anon#6bbc8ad3065cd11d92081721a572e8f9c9b85cc64084c82913bb48609c033f69::" providerId="AD" clId="Web-{C0B79F31-32B3-3B16-EABD-C6ACC4281900}" dt="2022-04-18T18:33:39.166" v="944"/>
          <ac:spMkLst>
            <pc:docMk/>
            <pc:sldMk cId="2764582375" sldId="387"/>
            <ac:spMk id="63" creationId="{74696D9C-DE03-D7F7-3DBD-BFACA06BDEE1}"/>
          </ac:spMkLst>
        </pc:spChg>
        <pc:spChg chg="mod ord">
          <ac:chgData name="Guest User" userId="S::urn:spo:anon#6bbc8ad3065cd11d92081721a572e8f9c9b85cc64084c82913bb48609c033f69::" providerId="AD" clId="Web-{C0B79F31-32B3-3B16-EABD-C6ACC4281900}" dt="2022-04-18T18:34:03.557" v="946" actId="14100"/>
          <ac:spMkLst>
            <pc:docMk/>
            <pc:sldMk cId="2764582375" sldId="387"/>
            <ac:spMk id="64" creationId="{1DCCC338-F425-4F47-B3C6-38C57252A6E8}"/>
          </ac:spMkLst>
        </pc:spChg>
        <pc:spChg chg="add mod">
          <ac:chgData name="Guest User" userId="S::urn:spo:anon#6bbc8ad3065cd11d92081721a572e8f9c9b85cc64084c82913bb48609c033f69::" providerId="AD" clId="Web-{C0B79F31-32B3-3B16-EABD-C6ACC4281900}" dt="2022-04-18T18:23:40.920" v="855" actId="1076"/>
          <ac:spMkLst>
            <pc:docMk/>
            <pc:sldMk cId="2764582375" sldId="387"/>
            <ac:spMk id="65" creationId="{BFD43CD8-FFB9-10CF-D184-49BAD77E05F2}"/>
          </ac:spMkLst>
        </pc:spChg>
        <pc:spChg chg="mod">
          <ac:chgData name="Guest User" userId="S::urn:spo:anon#6bbc8ad3065cd11d92081721a572e8f9c9b85cc64084c82913bb48609c033f69::" providerId="AD" clId="Web-{C0B79F31-32B3-3B16-EABD-C6ACC4281900}" dt="2022-04-18T18:32:25.008" v="924" actId="1076"/>
          <ac:spMkLst>
            <pc:docMk/>
            <pc:sldMk cId="2764582375" sldId="387"/>
            <ac:spMk id="68" creationId="{861BABA1-876C-78CE-7F83-46D5D21EA49D}"/>
          </ac:spMkLst>
        </pc:spChg>
        <pc:spChg chg="del mod">
          <ac:chgData name="Guest User" userId="S::urn:spo:anon#6bbc8ad3065cd11d92081721a572e8f9c9b85cc64084c82913bb48609c033f69::" providerId="AD" clId="Web-{C0B79F31-32B3-3B16-EABD-C6ACC4281900}" dt="2022-04-18T18:32:01.883" v="920"/>
          <ac:spMkLst>
            <pc:docMk/>
            <pc:sldMk cId="2764582375" sldId="387"/>
            <ac:spMk id="71" creationId="{E709CA53-DC94-ADE2-98AA-FECD57D89F46}"/>
          </ac:spMkLst>
        </pc:spChg>
        <pc:spChg chg="mod">
          <ac:chgData name="Guest User" userId="S::urn:spo:anon#6bbc8ad3065cd11d92081721a572e8f9c9b85cc64084c82913bb48609c033f69::" providerId="AD" clId="Web-{C0B79F31-32B3-3B16-EABD-C6ACC4281900}" dt="2022-04-18T18:28:01.488" v="889" actId="14100"/>
          <ac:spMkLst>
            <pc:docMk/>
            <pc:sldMk cId="2764582375" sldId="387"/>
            <ac:spMk id="72" creationId="{2076A5C8-D785-DF79-4D6A-C1A4C3D4A83F}"/>
          </ac:spMkLst>
        </pc:spChg>
        <pc:spChg chg="add mod">
          <ac:chgData name="Guest User" userId="S::urn:spo:anon#6bbc8ad3065cd11d92081721a572e8f9c9b85cc64084c82913bb48609c033f69::" providerId="AD" clId="Web-{C0B79F31-32B3-3B16-EABD-C6ACC4281900}" dt="2022-04-18T18:32:52.884" v="928" actId="14100"/>
          <ac:spMkLst>
            <pc:docMk/>
            <pc:sldMk cId="2764582375" sldId="387"/>
            <ac:spMk id="73" creationId="{89445BD3-1B41-3C1F-F8A5-517CFDC14467}"/>
          </ac:spMkLst>
        </pc:spChg>
        <pc:spChg chg="add mod">
          <ac:chgData name="Guest User" userId="S::urn:spo:anon#6bbc8ad3065cd11d92081721a572e8f9c9b85cc64084c82913bb48609c033f69::" providerId="AD" clId="Web-{C0B79F31-32B3-3B16-EABD-C6ACC4281900}" dt="2022-04-18T18:33:15.572" v="938" actId="20577"/>
          <ac:spMkLst>
            <pc:docMk/>
            <pc:sldMk cId="2764582375" sldId="387"/>
            <ac:spMk id="74" creationId="{39CD1502-9BEF-1CCF-2021-BDFA727CFEB4}"/>
          </ac:spMkLst>
        </pc:spChg>
        <pc:spChg chg="del mod">
          <ac:chgData name="Guest User" userId="S::urn:spo:anon#6bbc8ad3065cd11d92081721a572e8f9c9b85cc64084c82913bb48609c033f69::" providerId="AD" clId="Web-{C0B79F31-32B3-3B16-EABD-C6ACC4281900}" dt="2022-04-18T18:29:47.084" v="907"/>
          <ac:spMkLst>
            <pc:docMk/>
            <pc:sldMk cId="2764582375" sldId="387"/>
            <ac:spMk id="78" creationId="{85AA2B18-4964-80D8-597C-B2C0E4AC1A9F}"/>
          </ac:spMkLst>
        </pc:spChg>
        <pc:spChg chg="del mod">
          <ac:chgData name="Guest User" userId="S::urn:spo:anon#6bbc8ad3065cd11d92081721a572e8f9c9b85cc64084c82913bb48609c033f69::" providerId="AD" clId="Web-{C0B79F31-32B3-3B16-EABD-C6ACC4281900}" dt="2022-04-18T18:24:10.061" v="856"/>
          <ac:spMkLst>
            <pc:docMk/>
            <pc:sldMk cId="2764582375" sldId="387"/>
            <ac:spMk id="144" creationId="{B58147B5-8D15-0CDB-3D97-316282865257}"/>
          </ac:spMkLst>
        </pc:spChg>
        <pc:spChg chg="mod">
          <ac:chgData name="Guest User" userId="S::urn:spo:anon#6bbc8ad3065cd11d92081721a572e8f9c9b85cc64084c82913bb48609c033f69::" providerId="AD" clId="Web-{C0B79F31-32B3-3B16-EABD-C6ACC4281900}" dt="2022-04-18T18:25:32.735" v="866" actId="20577"/>
          <ac:spMkLst>
            <pc:docMk/>
            <pc:sldMk cId="2764582375" sldId="387"/>
            <ac:spMk id="152" creationId="{D045B593-F7C4-E5A1-A0EE-5FD358E7AB98}"/>
          </ac:spMkLst>
        </pc:spChg>
        <pc:spChg chg="mod">
          <ac:chgData name="Guest User" userId="S::urn:spo:anon#6bbc8ad3065cd11d92081721a572e8f9c9b85cc64084c82913bb48609c033f69::" providerId="AD" clId="Web-{C0B79F31-32B3-3B16-EABD-C6ACC4281900}" dt="2022-04-18T18:21:59.012" v="836" actId="20577"/>
          <ac:spMkLst>
            <pc:docMk/>
            <pc:sldMk cId="2764582375" sldId="387"/>
            <ac:spMk id="154" creationId="{78A581DC-04CB-AB07-CF99-5807E41BC636}"/>
          </ac:spMkLst>
        </pc:spChg>
        <pc:spChg chg="mod">
          <ac:chgData name="Guest User" userId="S::urn:spo:anon#6bbc8ad3065cd11d92081721a572e8f9c9b85cc64084c82913bb48609c033f69::" providerId="AD" clId="Web-{C0B79F31-32B3-3B16-EABD-C6ACC4281900}" dt="2022-04-18T18:26:03.501" v="874" actId="20577"/>
          <ac:spMkLst>
            <pc:docMk/>
            <pc:sldMk cId="2764582375" sldId="387"/>
            <ac:spMk id="160" creationId="{1B0BBF1C-E120-F159-D550-2E7E2D34401F}"/>
          </ac:spMkLst>
        </pc:spChg>
        <pc:grpChg chg="mod">
          <ac:chgData name="Guest User" userId="S::urn:spo:anon#6bbc8ad3065cd11d92081721a572e8f9c9b85cc64084c82913bb48609c033f69::" providerId="AD" clId="Web-{C0B79F31-32B3-3B16-EABD-C6ACC4281900}" dt="2022-04-18T18:31:13.960" v="914" actId="1076"/>
          <ac:grpSpMkLst>
            <pc:docMk/>
            <pc:sldMk cId="2764582375" sldId="387"/>
            <ac:grpSpMk id="3" creationId="{84A101B9-54A8-0DEF-7134-74702582A0A6}"/>
          </ac:grpSpMkLst>
        </pc:grpChg>
        <pc:cxnChg chg="mod">
          <ac:chgData name="Guest User" userId="S::urn:spo:anon#6bbc8ad3065cd11d92081721a572e8f9c9b85cc64084c82913bb48609c033f69::" providerId="AD" clId="Web-{C0B79F31-32B3-3B16-EABD-C6ACC4281900}" dt="2022-04-18T18:32:19.774" v="923" actId="1076"/>
          <ac:cxnSpMkLst>
            <pc:docMk/>
            <pc:sldMk cId="2764582375" sldId="387"/>
            <ac:cxnSpMk id="49" creationId="{09C53D46-26CE-2C5D-243C-4443A1C92223}"/>
          </ac:cxnSpMkLst>
        </pc:cxnChg>
      </pc:sldChg>
    </pc:docChg>
  </pc:docChgLst>
  <pc:docChgLst>
    <pc:chgData name="Guest User" userId="S::urn:spo:anon#c437c167f923f422528aee73b5e70e5726914197d2dec7f210a84ae49e8498a7::" providerId="AD" clId="Web-{8BFE9592-C905-ED58-3DFA-3E3F28878378}"/>
    <pc:docChg chg="modSld">
      <pc:chgData name="Guest User" userId="S::urn:spo:anon#c437c167f923f422528aee73b5e70e5726914197d2dec7f210a84ae49e8498a7::" providerId="AD" clId="Web-{8BFE9592-C905-ED58-3DFA-3E3F28878378}" dt="2022-04-05T00:43:54.162" v="372" actId="14100"/>
      <pc:docMkLst>
        <pc:docMk/>
      </pc:docMkLst>
      <pc:sldChg chg="delSp modSp">
        <pc:chgData name="Guest User" userId="S::urn:spo:anon#c437c167f923f422528aee73b5e70e5726914197d2dec7f210a84ae49e8498a7::" providerId="AD" clId="Web-{8BFE9592-C905-ED58-3DFA-3E3F28878378}" dt="2022-04-05T00:26:27.459" v="206"/>
        <pc:sldMkLst>
          <pc:docMk/>
          <pc:sldMk cId="3210015788" sldId="303"/>
        </pc:sldMkLst>
        <pc:spChg chg="del">
          <ac:chgData name="Guest User" userId="S::urn:spo:anon#c437c167f923f422528aee73b5e70e5726914197d2dec7f210a84ae49e8498a7::" providerId="AD" clId="Web-{8BFE9592-C905-ED58-3DFA-3E3F28878378}" dt="2022-04-05T00:26:27.459" v="206"/>
          <ac:spMkLst>
            <pc:docMk/>
            <pc:sldMk cId="3210015788" sldId="303"/>
            <ac:spMk id="25" creationId="{33379683-EB1F-4B6F-948D-4D47193E44D8}"/>
          </ac:spMkLst>
        </pc:spChg>
        <pc:spChg chg="mod">
          <ac:chgData name="Guest User" userId="S::urn:spo:anon#c437c167f923f422528aee73b5e70e5726914197d2dec7f210a84ae49e8498a7::" providerId="AD" clId="Web-{8BFE9592-C905-ED58-3DFA-3E3F28878378}" dt="2022-04-05T00:23:30.251" v="154" actId="20577"/>
          <ac:spMkLst>
            <pc:docMk/>
            <pc:sldMk cId="3210015788" sldId="303"/>
            <ac:spMk id="29" creationId="{9EDE1D44-C442-44A3-A246-C666D0FC9506}"/>
          </ac:spMkLst>
        </pc:spChg>
        <pc:spChg chg="mod">
          <ac:chgData name="Guest User" userId="S::urn:spo:anon#c437c167f923f422528aee73b5e70e5726914197d2dec7f210a84ae49e8498a7::" providerId="AD" clId="Web-{8BFE9592-C905-ED58-3DFA-3E3F28878378}" dt="2022-04-05T00:25:36.520" v="188" actId="20577"/>
          <ac:spMkLst>
            <pc:docMk/>
            <pc:sldMk cId="3210015788" sldId="303"/>
            <ac:spMk id="30" creationId="{F5E6A857-939B-428F-8E38-79E7432F9239}"/>
          </ac:spMkLst>
        </pc:spChg>
        <pc:spChg chg="mod">
          <ac:chgData name="Guest User" userId="S::urn:spo:anon#c437c167f923f422528aee73b5e70e5726914197d2dec7f210a84ae49e8498a7::" providerId="AD" clId="Web-{8BFE9592-C905-ED58-3DFA-3E3F28878378}" dt="2022-04-05T00:26:25.194" v="205" actId="20577"/>
          <ac:spMkLst>
            <pc:docMk/>
            <pc:sldMk cId="3210015788" sldId="303"/>
            <ac:spMk id="482" creationId="{00000000-0000-0000-0000-000000000000}"/>
          </ac:spMkLst>
        </pc:spChg>
      </pc:sldChg>
      <pc:sldChg chg="addSp delSp modSp">
        <pc:chgData name="Guest User" userId="S::urn:spo:anon#c437c167f923f422528aee73b5e70e5726914197d2dec7f210a84ae49e8498a7::" providerId="AD" clId="Web-{8BFE9592-C905-ED58-3DFA-3E3F28878378}" dt="2022-04-05T00:43:54.162" v="372" actId="14100"/>
        <pc:sldMkLst>
          <pc:docMk/>
          <pc:sldMk cId="604654217" sldId="375"/>
        </pc:sldMkLst>
        <pc:spChg chg="del">
          <ac:chgData name="Guest User" userId="S::urn:spo:anon#c437c167f923f422528aee73b5e70e5726914197d2dec7f210a84ae49e8498a7::" providerId="AD" clId="Web-{8BFE9592-C905-ED58-3DFA-3E3F28878378}" dt="2022-04-05T00:42:06.268" v="366"/>
          <ac:spMkLst>
            <pc:docMk/>
            <pc:sldMk cId="604654217" sldId="375"/>
            <ac:spMk id="9" creationId="{A559BC09-4387-488E-85BC-CBE75B1CE17C}"/>
          </ac:spMkLst>
        </pc:spChg>
        <pc:picChg chg="del">
          <ac:chgData name="Guest User" userId="S::urn:spo:anon#c437c167f923f422528aee73b5e70e5726914197d2dec7f210a84ae49e8498a7::" providerId="AD" clId="Web-{8BFE9592-C905-ED58-3DFA-3E3F28878378}" dt="2022-04-05T00:43:19.676" v="367"/>
          <ac:picMkLst>
            <pc:docMk/>
            <pc:sldMk cId="604654217" sldId="375"/>
            <ac:picMk id="10" creationId="{D00B0523-674C-CC99-F2A4-607C8B5BBE87}"/>
          </ac:picMkLst>
        </pc:picChg>
        <pc:picChg chg="add mod">
          <ac:chgData name="Guest User" userId="S::urn:spo:anon#c437c167f923f422528aee73b5e70e5726914197d2dec7f210a84ae49e8498a7::" providerId="AD" clId="Web-{8BFE9592-C905-ED58-3DFA-3E3F28878378}" dt="2022-04-05T00:43:54.162" v="372" actId="14100"/>
          <ac:picMkLst>
            <pc:docMk/>
            <pc:sldMk cId="604654217" sldId="375"/>
            <ac:picMk id="14" creationId="{CEC8603A-E559-D88F-8BB6-20BE147D64A6}"/>
          </ac:picMkLst>
        </pc:picChg>
        <pc:cxnChg chg="mod">
          <ac:chgData name="Guest User" userId="S::urn:spo:anon#c437c167f923f422528aee73b5e70e5726914197d2dec7f210a84ae49e8498a7::" providerId="AD" clId="Web-{8BFE9592-C905-ED58-3DFA-3E3F28878378}" dt="2022-04-05T00:41:29.829" v="362" actId="1076"/>
          <ac:cxnSpMkLst>
            <pc:docMk/>
            <pc:sldMk cId="604654217" sldId="375"/>
            <ac:cxnSpMk id="11" creationId="{80DA06C6-E09C-08BC-D6FB-BC20D8957044}"/>
          </ac:cxnSpMkLst>
        </pc:cxnChg>
        <pc:cxnChg chg="mod">
          <ac:chgData name="Guest User" userId="S::urn:spo:anon#c437c167f923f422528aee73b5e70e5726914197d2dec7f210a84ae49e8498a7::" providerId="AD" clId="Web-{8BFE9592-C905-ED58-3DFA-3E3F28878378}" dt="2022-04-05T00:41:40.377" v="363" actId="1076"/>
          <ac:cxnSpMkLst>
            <pc:docMk/>
            <pc:sldMk cId="604654217" sldId="375"/>
            <ac:cxnSpMk id="12" creationId="{77793D15-5876-2206-449B-4B1F41AFE012}"/>
          </ac:cxnSpMkLst>
        </pc:cxnChg>
        <pc:cxnChg chg="mod">
          <ac:chgData name="Guest User" userId="S::urn:spo:anon#c437c167f923f422528aee73b5e70e5726914197d2dec7f210a84ae49e8498a7::" providerId="AD" clId="Web-{8BFE9592-C905-ED58-3DFA-3E3F28878378}" dt="2022-04-05T00:41:55.018" v="365" actId="1076"/>
          <ac:cxnSpMkLst>
            <pc:docMk/>
            <pc:sldMk cId="604654217" sldId="375"/>
            <ac:cxnSpMk id="13" creationId="{70D6C415-5AB0-50A0-6B7B-F91A78ED3D34}"/>
          </ac:cxnSpMkLst>
        </pc:cxnChg>
      </pc:sldChg>
      <pc:sldChg chg="addSp delSp modSp">
        <pc:chgData name="Guest User" userId="S::urn:spo:anon#c437c167f923f422528aee73b5e70e5726914197d2dec7f210a84ae49e8498a7::" providerId="AD" clId="Web-{8BFE9592-C905-ED58-3DFA-3E3F28878378}" dt="2022-04-05T00:40:42.578" v="361" actId="20577"/>
        <pc:sldMkLst>
          <pc:docMk/>
          <pc:sldMk cId="108984178" sldId="376"/>
        </pc:sldMkLst>
        <pc:spChg chg="del">
          <ac:chgData name="Guest User" userId="S::urn:spo:anon#c437c167f923f422528aee73b5e70e5726914197d2dec7f210a84ae49e8498a7::" providerId="AD" clId="Web-{8BFE9592-C905-ED58-3DFA-3E3F28878378}" dt="2022-04-05T00:27:11.289" v="208"/>
          <ac:spMkLst>
            <pc:docMk/>
            <pc:sldMk cId="108984178" sldId="376"/>
            <ac:spMk id="100" creationId="{523D7184-991A-457B-AD7E-9585D81AD188}"/>
          </ac:spMkLst>
        </pc:spChg>
        <pc:spChg chg="add del mod">
          <ac:chgData name="Guest User" userId="S::urn:spo:anon#c437c167f923f422528aee73b5e70e5726914197d2dec7f210a84ae49e8498a7::" providerId="AD" clId="Web-{8BFE9592-C905-ED58-3DFA-3E3F28878378}" dt="2022-04-05T00:30:35.717" v="245"/>
          <ac:spMkLst>
            <pc:docMk/>
            <pc:sldMk cId="108984178" sldId="376"/>
            <ac:spMk id="101" creationId="{D507F1C2-8AB0-AC33-0E26-FB1C9236B8F5}"/>
          </ac:spMkLst>
        </pc:spChg>
        <pc:spChg chg="add del mod">
          <ac:chgData name="Guest User" userId="S::urn:spo:anon#c437c167f923f422528aee73b5e70e5726914197d2dec7f210a84ae49e8498a7::" providerId="AD" clId="Web-{8BFE9592-C905-ED58-3DFA-3E3F28878378}" dt="2022-04-05T00:29:36.887" v="237"/>
          <ac:spMkLst>
            <pc:docMk/>
            <pc:sldMk cId="108984178" sldId="376"/>
            <ac:spMk id="102" creationId="{F410FBAC-9994-83F8-0CE3-E8D0E8F93445}"/>
          </ac:spMkLst>
        </pc:spChg>
        <pc:spChg chg="add mod">
          <ac:chgData name="Guest User" userId="S::urn:spo:anon#c437c167f923f422528aee73b5e70e5726914197d2dec7f210a84ae49e8498a7::" providerId="AD" clId="Web-{8BFE9592-C905-ED58-3DFA-3E3F28878378}" dt="2022-04-05T00:31:45.125" v="254" actId="1076"/>
          <ac:spMkLst>
            <pc:docMk/>
            <pc:sldMk cId="108984178" sldId="376"/>
            <ac:spMk id="103" creationId="{BBD84C33-E4EA-5234-5A58-46F795902624}"/>
          </ac:spMkLst>
        </pc:spChg>
        <pc:spChg chg="add mod">
          <ac:chgData name="Guest User" userId="S::urn:spo:anon#c437c167f923f422528aee73b5e70e5726914197d2dec7f210a84ae49e8498a7::" providerId="AD" clId="Web-{8BFE9592-C905-ED58-3DFA-3E3F28878378}" dt="2022-04-05T00:32:11.922" v="267" actId="20577"/>
          <ac:spMkLst>
            <pc:docMk/>
            <pc:sldMk cId="108984178" sldId="376"/>
            <ac:spMk id="104" creationId="{552981D8-50F7-4937-0E3F-BC6E730EC5DF}"/>
          </ac:spMkLst>
        </pc:spChg>
        <pc:spChg chg="add mod">
          <ac:chgData name="Guest User" userId="S::urn:spo:anon#c437c167f923f422528aee73b5e70e5726914197d2dec7f210a84ae49e8498a7::" providerId="AD" clId="Web-{8BFE9592-C905-ED58-3DFA-3E3F28878378}" dt="2022-04-05T00:34:26.583" v="303" actId="14100"/>
          <ac:spMkLst>
            <pc:docMk/>
            <pc:sldMk cId="108984178" sldId="376"/>
            <ac:spMk id="105" creationId="{7081EBAA-86A9-8CF7-28D9-CBE9738124D9}"/>
          </ac:spMkLst>
        </pc:spChg>
        <pc:spChg chg="add mod">
          <ac:chgData name="Guest User" userId="S::urn:spo:anon#c437c167f923f422528aee73b5e70e5726914197d2dec7f210a84ae49e8498a7::" providerId="AD" clId="Web-{8BFE9592-C905-ED58-3DFA-3E3F28878378}" dt="2022-04-05T00:37:06.244" v="324" actId="1076"/>
          <ac:spMkLst>
            <pc:docMk/>
            <pc:sldMk cId="108984178" sldId="376"/>
            <ac:spMk id="106" creationId="{303D77F6-DB63-2FBB-AA42-ABAD423B9571}"/>
          </ac:spMkLst>
        </pc:spChg>
        <pc:spChg chg="add mod">
          <ac:chgData name="Guest User" userId="S::urn:spo:anon#c437c167f923f422528aee73b5e70e5726914197d2dec7f210a84ae49e8498a7::" providerId="AD" clId="Web-{8BFE9592-C905-ED58-3DFA-3E3F28878378}" dt="2022-04-05T00:39:59.749" v="344" actId="14100"/>
          <ac:spMkLst>
            <pc:docMk/>
            <pc:sldMk cId="108984178" sldId="376"/>
            <ac:spMk id="107" creationId="{0A60379C-4FFF-CD73-6CB8-5995C06FE3FB}"/>
          </ac:spMkLst>
        </pc:spChg>
        <pc:spChg chg="add mod">
          <ac:chgData name="Guest User" userId="S::urn:spo:anon#c437c167f923f422528aee73b5e70e5726914197d2dec7f210a84ae49e8498a7::" providerId="AD" clId="Web-{8BFE9592-C905-ED58-3DFA-3E3F28878378}" dt="2022-04-05T00:38:42.996" v="341" actId="20577"/>
          <ac:spMkLst>
            <pc:docMk/>
            <pc:sldMk cId="108984178" sldId="376"/>
            <ac:spMk id="108" creationId="{AF5F9446-B049-9C9E-BC73-D65B274FF91F}"/>
          </ac:spMkLst>
        </pc:spChg>
        <pc:spChg chg="add mod">
          <ac:chgData name="Guest User" userId="S::urn:spo:anon#c437c167f923f422528aee73b5e70e5726914197d2dec7f210a84ae49e8498a7::" providerId="AD" clId="Web-{8BFE9592-C905-ED58-3DFA-3E3F28878378}" dt="2022-04-05T00:40:11.530" v="351" actId="20577"/>
          <ac:spMkLst>
            <pc:docMk/>
            <pc:sldMk cId="108984178" sldId="376"/>
            <ac:spMk id="109" creationId="{6E292932-316D-6000-7BD6-52E1C382C2BC}"/>
          </ac:spMkLst>
        </pc:spChg>
        <pc:spChg chg="del">
          <ac:chgData name="Guest User" userId="S::urn:spo:anon#c437c167f923f422528aee73b5e70e5726914197d2dec7f210a84ae49e8498a7::" providerId="AD" clId="Web-{8BFE9592-C905-ED58-3DFA-3E3F28878378}" dt="2022-04-05T00:28:02.275" v="214"/>
          <ac:spMkLst>
            <pc:docMk/>
            <pc:sldMk cId="108984178" sldId="376"/>
            <ac:spMk id="116" creationId="{473E579E-3692-41BD-8D3D-A49F032BB7D1}"/>
          </ac:spMkLst>
        </pc:spChg>
        <pc:spChg chg="mod">
          <ac:chgData name="Guest User" userId="S::urn:spo:anon#c437c167f923f422528aee73b5e70e5726914197d2dec7f210a84ae49e8498a7::" providerId="AD" clId="Web-{8BFE9592-C905-ED58-3DFA-3E3F28878378}" dt="2022-04-05T00:40:42.578" v="361" actId="20577"/>
          <ac:spMkLst>
            <pc:docMk/>
            <pc:sldMk cId="108984178" sldId="376"/>
            <ac:spMk id="372" creationId="{00000000-0000-0000-0000-000000000000}"/>
          </ac:spMkLst>
        </pc:spChg>
        <pc:spChg chg="mod">
          <ac:chgData name="Guest User" userId="S::urn:spo:anon#c437c167f923f422528aee73b5e70e5726914197d2dec7f210a84ae49e8498a7::" providerId="AD" clId="Web-{8BFE9592-C905-ED58-3DFA-3E3F28878378}" dt="2022-04-05T00:30:01.309" v="239" actId="14100"/>
          <ac:spMkLst>
            <pc:docMk/>
            <pc:sldMk cId="108984178" sldId="376"/>
            <ac:spMk id="400" creationId="{00000000-0000-0000-0000-000000000000}"/>
          </ac:spMkLst>
        </pc:spChg>
        <pc:spChg chg="mod">
          <ac:chgData name="Guest User" userId="S::urn:spo:anon#c437c167f923f422528aee73b5e70e5726914197d2dec7f210a84ae49e8498a7::" providerId="AD" clId="Web-{8BFE9592-C905-ED58-3DFA-3E3F28878378}" dt="2022-04-05T00:31:03.905" v="249" actId="14100"/>
          <ac:spMkLst>
            <pc:docMk/>
            <pc:sldMk cId="108984178" sldId="376"/>
            <ac:spMk id="401" creationId="{00000000-0000-0000-0000-000000000000}"/>
          </ac:spMkLst>
        </pc:spChg>
        <pc:spChg chg="mod">
          <ac:chgData name="Guest User" userId="S::urn:spo:anon#c437c167f923f422528aee73b5e70e5726914197d2dec7f210a84ae49e8498a7::" providerId="AD" clId="Web-{8BFE9592-C905-ED58-3DFA-3E3F28878378}" dt="2022-04-05T00:35:42.397" v="304" actId="14100"/>
          <ac:spMkLst>
            <pc:docMk/>
            <pc:sldMk cId="108984178" sldId="376"/>
            <ac:spMk id="413" creationId="{00000000-0000-0000-0000-000000000000}"/>
          </ac:spMkLst>
        </pc:spChg>
        <pc:grpChg chg="mod">
          <ac:chgData name="Guest User" userId="S::urn:spo:anon#c437c167f923f422528aee73b5e70e5726914197d2dec7f210a84ae49e8498a7::" providerId="AD" clId="Web-{8BFE9592-C905-ED58-3DFA-3E3F28878378}" dt="2022-04-05T00:36:27.727" v="320" actId="1076"/>
          <ac:grpSpMkLst>
            <pc:docMk/>
            <pc:sldMk cId="108984178" sldId="376"/>
            <ac:grpSpMk id="3" creationId="{04B4B9EF-39BF-81F3-070D-703E1C6BC8C8}"/>
          </ac:grpSpMkLst>
        </pc:grpChg>
      </pc:sldChg>
    </pc:docChg>
  </pc:docChgLst>
  <pc:docChgLst>
    <pc:chgData name="Guest User" userId="S::urn:spo:anon#6bbc8ad3065cd11d92081721a572e8f9c9b85cc64084c82913bb48609c033f69::" providerId="AD" clId="Web-{19E50F89-6936-3FD0-5745-06B18059A239}"/>
    <pc:docChg chg="modSld">
      <pc:chgData name="Guest User" userId="S::urn:spo:anon#6bbc8ad3065cd11d92081721a572e8f9c9b85cc64084c82913bb48609c033f69::" providerId="AD" clId="Web-{19E50F89-6936-3FD0-5745-06B18059A239}" dt="2022-04-18T19:41:23.546" v="98" actId="20577"/>
      <pc:docMkLst>
        <pc:docMk/>
      </pc:docMkLst>
      <pc:sldChg chg="modSp">
        <pc:chgData name="Guest User" userId="S::urn:spo:anon#6bbc8ad3065cd11d92081721a572e8f9c9b85cc64084c82913bb48609c033f69::" providerId="AD" clId="Web-{19E50F89-6936-3FD0-5745-06B18059A239}" dt="2022-04-18T19:31:41.595" v="6" actId="14100"/>
        <pc:sldMkLst>
          <pc:docMk/>
          <pc:sldMk cId="0" sldId="259"/>
        </pc:sldMkLst>
        <pc:spChg chg="mod">
          <ac:chgData name="Guest User" userId="S::urn:spo:anon#6bbc8ad3065cd11d92081721a572e8f9c9b85cc64084c82913bb48609c033f69::" providerId="AD" clId="Web-{19E50F89-6936-3FD0-5745-06B18059A239}" dt="2022-04-18T19:31:41.595" v="6" actId="14100"/>
          <ac:spMkLst>
            <pc:docMk/>
            <pc:sldMk cId="0" sldId="259"/>
            <ac:spMk id="61" creationId="{C51DA092-9C64-E1F6-D5F1-DF5C36135B45}"/>
          </ac:spMkLst>
        </pc:spChg>
      </pc:sldChg>
      <pc:sldChg chg="modSp">
        <pc:chgData name="Guest User" userId="S::urn:spo:anon#6bbc8ad3065cd11d92081721a572e8f9c9b85cc64084c82913bb48609c033f69::" providerId="AD" clId="Web-{19E50F89-6936-3FD0-5745-06B18059A239}" dt="2022-04-18T19:33:42.316" v="48" actId="20577"/>
        <pc:sldMkLst>
          <pc:docMk/>
          <pc:sldMk cId="0" sldId="264"/>
        </pc:sldMkLst>
        <pc:spChg chg="mod">
          <ac:chgData name="Guest User" userId="S::urn:spo:anon#6bbc8ad3065cd11d92081721a572e8f9c9b85cc64084c82913bb48609c033f69::" providerId="AD" clId="Web-{19E50F89-6936-3FD0-5745-06B18059A239}" dt="2022-04-18T19:33:42.316" v="48" actId="20577"/>
          <ac:spMkLst>
            <pc:docMk/>
            <pc:sldMk cId="0" sldId="264"/>
            <ac:spMk id="26" creationId="{63D5B65A-793E-4E79-B52C-834340BABD85}"/>
          </ac:spMkLst>
        </pc:spChg>
        <pc:spChg chg="mod">
          <ac:chgData name="Guest User" userId="S::urn:spo:anon#6bbc8ad3065cd11d92081721a572e8f9c9b85cc64084c82913bb48609c033f69::" providerId="AD" clId="Web-{19E50F89-6936-3FD0-5745-06B18059A239}" dt="2022-04-18T19:32:07.845" v="13" actId="20577"/>
          <ac:spMkLst>
            <pc:docMk/>
            <pc:sldMk cId="0" sldId="264"/>
            <ac:spMk id="29" creationId="{CE4534C1-122C-4584-960F-B0117C9A488A}"/>
          </ac:spMkLst>
        </pc:spChg>
      </pc:sldChg>
      <pc:sldChg chg="modSp">
        <pc:chgData name="Guest User" userId="S::urn:spo:anon#6bbc8ad3065cd11d92081721a572e8f9c9b85cc64084c82913bb48609c033f69::" providerId="AD" clId="Web-{19E50F89-6936-3FD0-5745-06B18059A239}" dt="2022-04-18T19:40:05.138" v="77" actId="20577"/>
        <pc:sldMkLst>
          <pc:docMk/>
          <pc:sldMk cId="0" sldId="276"/>
        </pc:sldMkLst>
        <pc:spChg chg="mod">
          <ac:chgData name="Guest User" userId="S::urn:spo:anon#6bbc8ad3065cd11d92081721a572e8f9c9b85cc64084c82913bb48609c033f69::" providerId="AD" clId="Web-{19E50F89-6936-3FD0-5745-06B18059A239}" dt="2022-04-18T19:40:05.138" v="77" actId="20577"/>
          <ac:spMkLst>
            <pc:docMk/>
            <pc:sldMk cId="0" sldId="276"/>
            <ac:spMk id="704" creationId="{00000000-0000-0000-0000-000000000000}"/>
          </ac:spMkLst>
        </pc:spChg>
      </pc:sldChg>
      <pc:sldChg chg="modSp">
        <pc:chgData name="Guest User" userId="S::urn:spo:anon#6bbc8ad3065cd11d92081721a572e8f9c9b85cc64084c82913bb48609c033f69::" providerId="AD" clId="Web-{19E50F89-6936-3FD0-5745-06B18059A239}" dt="2022-04-18T19:40:15.373" v="79" actId="20577"/>
        <pc:sldMkLst>
          <pc:docMk/>
          <pc:sldMk cId="3210015788" sldId="303"/>
        </pc:sldMkLst>
        <pc:spChg chg="mod">
          <ac:chgData name="Guest User" userId="S::urn:spo:anon#6bbc8ad3065cd11d92081721a572e8f9c9b85cc64084c82913bb48609c033f69::" providerId="AD" clId="Web-{19E50F89-6936-3FD0-5745-06B18059A239}" dt="2022-04-18T19:40:15.373" v="79" actId="20577"/>
          <ac:spMkLst>
            <pc:docMk/>
            <pc:sldMk cId="3210015788" sldId="303"/>
            <ac:spMk id="7" creationId="{BE7F7455-B913-4524-B9A1-CFE51EA4FDC0}"/>
          </ac:spMkLst>
        </pc:spChg>
        <pc:spChg chg="mod">
          <ac:chgData name="Guest User" userId="S::urn:spo:anon#6bbc8ad3065cd11d92081721a572e8f9c9b85cc64084c82913bb48609c033f69::" providerId="AD" clId="Web-{19E50F89-6936-3FD0-5745-06B18059A239}" dt="2022-04-18T19:38:35.761" v="75" actId="20577"/>
          <ac:spMkLst>
            <pc:docMk/>
            <pc:sldMk cId="3210015788" sldId="303"/>
            <ac:spMk id="482" creationId="{00000000-0000-0000-0000-000000000000}"/>
          </ac:spMkLst>
        </pc:spChg>
      </pc:sldChg>
      <pc:sldChg chg="modSp">
        <pc:chgData name="Guest User" userId="S::urn:spo:anon#6bbc8ad3065cd11d92081721a572e8f9c9b85cc64084c82913bb48609c033f69::" providerId="AD" clId="Web-{19E50F89-6936-3FD0-5745-06B18059A239}" dt="2022-04-18T19:41:23.546" v="98" actId="20577"/>
        <pc:sldMkLst>
          <pc:docMk/>
          <pc:sldMk cId="108984178" sldId="376"/>
        </pc:sldMkLst>
        <pc:spChg chg="mod">
          <ac:chgData name="Guest User" userId="S::urn:spo:anon#6bbc8ad3065cd11d92081721a572e8f9c9b85cc64084c82913bb48609c033f69::" providerId="AD" clId="Web-{19E50F89-6936-3FD0-5745-06B18059A239}" dt="2022-04-18T19:41:13.780" v="92" actId="20577"/>
          <ac:spMkLst>
            <pc:docMk/>
            <pc:sldMk cId="108984178" sldId="376"/>
            <ac:spMk id="129" creationId="{679DDD97-7B33-4561-9F37-C9E486FFDBAF}"/>
          </ac:spMkLst>
        </pc:spChg>
        <pc:spChg chg="mod">
          <ac:chgData name="Guest User" userId="S::urn:spo:anon#6bbc8ad3065cd11d92081721a572e8f9c9b85cc64084c82913bb48609c033f69::" providerId="AD" clId="Web-{19E50F89-6936-3FD0-5745-06B18059A239}" dt="2022-04-18T19:40:24.951" v="81" actId="20577"/>
          <ac:spMkLst>
            <pc:docMk/>
            <pc:sldMk cId="108984178" sldId="376"/>
            <ac:spMk id="344" creationId="{00000000-0000-0000-0000-000000000000}"/>
          </ac:spMkLst>
        </pc:spChg>
        <pc:spChg chg="mod">
          <ac:chgData name="Guest User" userId="S::urn:spo:anon#6bbc8ad3065cd11d92081721a572e8f9c9b85cc64084c82913bb48609c033f69::" providerId="AD" clId="Web-{19E50F89-6936-3FD0-5745-06B18059A239}" dt="2022-04-18T19:40:27.467" v="83" actId="20577"/>
          <ac:spMkLst>
            <pc:docMk/>
            <pc:sldMk cId="108984178" sldId="376"/>
            <ac:spMk id="366" creationId="{00000000-0000-0000-0000-000000000000}"/>
          </ac:spMkLst>
        </pc:spChg>
        <pc:spChg chg="mod">
          <ac:chgData name="Guest User" userId="S::urn:spo:anon#6bbc8ad3065cd11d92081721a572e8f9c9b85cc64084c82913bb48609c033f69::" providerId="AD" clId="Web-{19E50F89-6936-3FD0-5745-06B18059A239}" dt="2022-04-18T19:40:57.733" v="86" actId="20577"/>
          <ac:spMkLst>
            <pc:docMk/>
            <pc:sldMk cId="108984178" sldId="376"/>
            <ac:spMk id="367" creationId="{00000000-0000-0000-0000-000000000000}"/>
          </ac:spMkLst>
        </pc:spChg>
        <pc:spChg chg="mod">
          <ac:chgData name="Guest User" userId="S::urn:spo:anon#6bbc8ad3065cd11d92081721a572e8f9c9b85cc64084c82913bb48609c033f69::" providerId="AD" clId="Web-{19E50F89-6936-3FD0-5745-06B18059A239}" dt="2022-04-18T19:41:00.280" v="88" actId="20577"/>
          <ac:spMkLst>
            <pc:docMk/>
            <pc:sldMk cId="108984178" sldId="376"/>
            <ac:spMk id="368" creationId="{00000000-0000-0000-0000-000000000000}"/>
          </ac:spMkLst>
        </pc:spChg>
        <pc:spChg chg="mod">
          <ac:chgData name="Guest User" userId="S::urn:spo:anon#6bbc8ad3065cd11d92081721a572e8f9c9b85cc64084c82913bb48609c033f69::" providerId="AD" clId="Web-{19E50F89-6936-3FD0-5745-06B18059A239}" dt="2022-04-18T19:41:07.139" v="89" actId="20577"/>
          <ac:spMkLst>
            <pc:docMk/>
            <pc:sldMk cId="108984178" sldId="376"/>
            <ac:spMk id="370" creationId="{00000000-0000-0000-0000-000000000000}"/>
          </ac:spMkLst>
        </pc:spChg>
        <pc:spChg chg="mod">
          <ac:chgData name="Guest User" userId="S::urn:spo:anon#6bbc8ad3065cd11d92081721a572e8f9c9b85cc64084c82913bb48609c033f69::" providerId="AD" clId="Web-{19E50F89-6936-3FD0-5745-06B18059A239}" dt="2022-04-18T19:41:23.546" v="98" actId="20577"/>
          <ac:spMkLst>
            <pc:docMk/>
            <pc:sldMk cId="108984178" sldId="376"/>
            <ac:spMk id="399" creationId="{00000000-0000-0000-0000-000000000000}"/>
          </ac:spMkLst>
        </pc:spChg>
      </pc:sldChg>
      <pc:sldChg chg="addSp modSp">
        <pc:chgData name="Guest User" userId="S::urn:spo:anon#6bbc8ad3065cd11d92081721a572e8f9c9b85cc64084c82913bb48609c033f69::" providerId="AD" clId="Web-{19E50F89-6936-3FD0-5745-06B18059A239}" dt="2022-04-18T18:15:53.553" v="5" actId="1076"/>
        <pc:sldMkLst>
          <pc:docMk/>
          <pc:sldMk cId="2988308840" sldId="386"/>
        </pc:sldMkLst>
        <pc:spChg chg="add mod">
          <ac:chgData name="Guest User" userId="S::urn:spo:anon#6bbc8ad3065cd11d92081721a572e8f9c9b85cc64084c82913bb48609c033f69::" providerId="AD" clId="Web-{19E50F89-6936-3FD0-5745-06B18059A239}" dt="2022-04-18T18:15:53.553" v="5" actId="1076"/>
          <ac:spMkLst>
            <pc:docMk/>
            <pc:sldMk cId="2988308840" sldId="386"/>
            <ac:spMk id="93" creationId="{1E0C47C8-1E7E-EADE-A56B-FAF12E915F6D}"/>
          </ac:spMkLst>
        </pc:spChg>
      </pc:sldChg>
    </pc:docChg>
  </pc:docChgLst>
  <pc:docChgLst>
    <pc:chgData name="Guest User" userId="S::urn:spo:anon#6bbc8ad3065cd11d92081721a572e8f9c9b85cc64084c82913bb48609c033f69::" providerId="AD" clId="Web-{897BE59E-A54C-43BE-9EF2-7E115F645F03}"/>
    <pc:docChg chg="addSld delSld modSld">
      <pc:chgData name="Guest User" userId="S::urn:spo:anon#6bbc8ad3065cd11d92081721a572e8f9c9b85cc64084c82913bb48609c033f69::" providerId="AD" clId="Web-{897BE59E-A54C-43BE-9EF2-7E115F645F03}" dt="2022-04-18T17:25:20.736" v="127" actId="20577"/>
      <pc:docMkLst>
        <pc:docMk/>
      </pc:docMkLst>
      <pc:sldChg chg="modSp">
        <pc:chgData name="Guest User" userId="S::urn:spo:anon#6bbc8ad3065cd11d92081721a572e8f9c9b85cc64084c82913bb48609c033f69::" providerId="AD" clId="Web-{897BE59E-A54C-43BE-9EF2-7E115F645F03}" dt="2022-04-18T17:07:08.599" v="51" actId="20577"/>
        <pc:sldMkLst>
          <pc:docMk/>
          <pc:sldMk cId="0" sldId="264"/>
        </pc:sldMkLst>
        <pc:spChg chg="mod">
          <ac:chgData name="Guest User" userId="S::urn:spo:anon#6bbc8ad3065cd11d92081721a572e8f9c9b85cc64084c82913bb48609c033f69::" providerId="AD" clId="Web-{897BE59E-A54C-43BE-9EF2-7E115F645F03}" dt="2022-04-18T17:07:08.599" v="51" actId="20577"/>
          <ac:spMkLst>
            <pc:docMk/>
            <pc:sldMk cId="0" sldId="264"/>
            <ac:spMk id="2" creationId="{307C9396-DD9E-444F-BAD7-0283934E741D}"/>
          </ac:spMkLst>
        </pc:spChg>
        <pc:spChg chg="mod">
          <ac:chgData name="Guest User" userId="S::urn:spo:anon#6bbc8ad3065cd11d92081721a572e8f9c9b85cc64084c82913bb48609c033f69::" providerId="AD" clId="Web-{897BE59E-A54C-43BE-9EF2-7E115F645F03}" dt="2022-04-18T14:58:06.525" v="36" actId="20577"/>
          <ac:spMkLst>
            <pc:docMk/>
            <pc:sldMk cId="0" sldId="264"/>
            <ac:spMk id="472" creationId="{00000000-0000-0000-0000-000000000000}"/>
          </ac:spMkLst>
        </pc:spChg>
      </pc:sldChg>
      <pc:sldChg chg="addSp modSp">
        <pc:chgData name="Guest User" userId="S::urn:spo:anon#6bbc8ad3065cd11d92081721a572e8f9c9b85cc64084c82913bb48609c033f69::" providerId="AD" clId="Web-{897BE59E-A54C-43BE-9EF2-7E115F645F03}" dt="2022-04-18T17:15:10.283" v="89" actId="1076"/>
        <pc:sldMkLst>
          <pc:docMk/>
          <pc:sldMk cId="0" sldId="275"/>
        </pc:sldMkLst>
        <pc:spChg chg="add mod">
          <ac:chgData name="Guest User" userId="S::urn:spo:anon#6bbc8ad3065cd11d92081721a572e8f9c9b85cc64084c82913bb48609c033f69::" providerId="AD" clId="Web-{897BE59E-A54C-43BE-9EF2-7E115F645F03}" dt="2022-04-18T17:15:10.283" v="89" actId="1076"/>
          <ac:spMkLst>
            <pc:docMk/>
            <pc:sldMk cId="0" sldId="275"/>
            <ac:spMk id="2" creationId="{1FA17069-679B-6880-2F9F-41B585A6CB51}"/>
          </ac:spMkLst>
        </pc:spChg>
      </pc:sldChg>
      <pc:sldChg chg="addSp modSp">
        <pc:chgData name="Guest User" userId="S::urn:spo:anon#6bbc8ad3065cd11d92081721a572e8f9c9b85cc64084c82913bb48609c033f69::" providerId="AD" clId="Web-{897BE59E-A54C-43BE-9EF2-7E115F645F03}" dt="2022-04-18T17:15:54.503" v="101" actId="20577"/>
        <pc:sldMkLst>
          <pc:docMk/>
          <pc:sldMk cId="3210015788" sldId="303"/>
        </pc:sldMkLst>
        <pc:spChg chg="add mod">
          <ac:chgData name="Guest User" userId="S::urn:spo:anon#6bbc8ad3065cd11d92081721a572e8f9c9b85cc64084c82913bb48609c033f69::" providerId="AD" clId="Web-{897BE59E-A54C-43BE-9EF2-7E115F645F03}" dt="2022-04-18T17:15:54.503" v="101" actId="20577"/>
          <ac:spMkLst>
            <pc:docMk/>
            <pc:sldMk cId="3210015788" sldId="303"/>
            <ac:spMk id="9" creationId="{435E219A-B1AB-3920-A7D4-1979B1168D65}"/>
          </ac:spMkLst>
        </pc:spChg>
      </pc:sldChg>
      <pc:sldChg chg="addSp modSp">
        <pc:chgData name="Guest User" userId="S::urn:spo:anon#6bbc8ad3065cd11d92081721a572e8f9c9b85cc64084c82913bb48609c033f69::" providerId="AD" clId="Web-{897BE59E-A54C-43BE-9EF2-7E115F645F03}" dt="2022-04-18T17:08:45.242" v="60" actId="20577"/>
        <pc:sldMkLst>
          <pc:docMk/>
          <pc:sldMk cId="3720673345" sldId="336"/>
        </pc:sldMkLst>
        <pc:spChg chg="add mod">
          <ac:chgData name="Guest User" userId="S::urn:spo:anon#6bbc8ad3065cd11d92081721a572e8f9c9b85cc64084c82913bb48609c033f69::" providerId="AD" clId="Web-{897BE59E-A54C-43BE-9EF2-7E115F645F03}" dt="2022-04-18T17:08:02.226" v="59" actId="20577"/>
          <ac:spMkLst>
            <pc:docMk/>
            <pc:sldMk cId="3720673345" sldId="336"/>
            <ac:spMk id="2" creationId="{1A6EA402-E1F1-9D58-80BB-66A95B672865}"/>
          </ac:spMkLst>
        </pc:spChg>
        <pc:spChg chg="mod">
          <ac:chgData name="Guest User" userId="S::urn:spo:anon#6bbc8ad3065cd11d92081721a572e8f9c9b85cc64084c82913bb48609c033f69::" providerId="AD" clId="Web-{897BE59E-A54C-43BE-9EF2-7E115F645F03}" dt="2022-04-18T17:08:45.242" v="60" actId="20577"/>
          <ac:spMkLst>
            <pc:docMk/>
            <pc:sldMk cId="3720673345" sldId="336"/>
            <ac:spMk id="21" creationId="{3FF578D4-4FB2-4797-A4AC-7C286ECC3CC1}"/>
          </ac:spMkLst>
        </pc:spChg>
      </pc:sldChg>
      <pc:sldChg chg="addSp">
        <pc:chgData name="Guest User" userId="S::urn:spo:anon#6bbc8ad3065cd11d92081721a572e8f9c9b85cc64084c82913bb48609c033f69::" providerId="AD" clId="Web-{897BE59E-A54C-43BE-9EF2-7E115F645F03}" dt="2022-04-18T17:10:31.307" v="63"/>
        <pc:sldMkLst>
          <pc:docMk/>
          <pc:sldMk cId="1209993513" sldId="338"/>
        </pc:sldMkLst>
        <pc:spChg chg="add">
          <ac:chgData name="Guest User" userId="S::urn:spo:anon#6bbc8ad3065cd11d92081721a572e8f9c9b85cc64084c82913bb48609c033f69::" providerId="AD" clId="Web-{897BE59E-A54C-43BE-9EF2-7E115F645F03}" dt="2022-04-18T17:10:31.307" v="63"/>
          <ac:spMkLst>
            <pc:docMk/>
            <pc:sldMk cId="1209993513" sldId="338"/>
            <ac:spMk id="4" creationId="{47425AA6-5A12-2FC0-F10B-5FC1B86092B6}"/>
          </ac:spMkLst>
        </pc:spChg>
      </pc:sldChg>
      <pc:sldChg chg="addSp modSp add del">
        <pc:chgData name="Guest User" userId="S::urn:spo:anon#6bbc8ad3065cd11d92081721a572e8f9c9b85cc64084c82913bb48609c033f69::" providerId="AD" clId="Web-{897BE59E-A54C-43BE-9EF2-7E115F645F03}" dt="2022-04-18T17:20:01.025" v="106" actId="1076"/>
        <pc:sldMkLst>
          <pc:docMk/>
          <pc:sldMk cId="2486721525" sldId="341"/>
        </pc:sldMkLst>
        <pc:spChg chg="add">
          <ac:chgData name="Guest User" userId="S::urn:spo:anon#6bbc8ad3065cd11d92081721a572e8f9c9b85cc64084c82913bb48609c033f69::" providerId="AD" clId="Web-{897BE59E-A54C-43BE-9EF2-7E115F645F03}" dt="2022-04-18T17:06:13.707" v="37"/>
          <ac:spMkLst>
            <pc:docMk/>
            <pc:sldMk cId="2486721525" sldId="341"/>
            <ac:spMk id="4" creationId="{17960284-3BED-7A99-1999-8C851AC96D3F}"/>
          </ac:spMkLst>
        </pc:spChg>
        <pc:spChg chg="add mod">
          <ac:chgData name="Guest User" userId="S::urn:spo:anon#6bbc8ad3065cd11d92081721a572e8f9c9b85cc64084c82913bb48609c033f69::" providerId="AD" clId="Web-{897BE59E-A54C-43BE-9EF2-7E115F645F03}" dt="2022-04-18T17:20:01.025" v="106" actId="1076"/>
          <ac:spMkLst>
            <pc:docMk/>
            <pc:sldMk cId="2486721525" sldId="341"/>
            <ac:spMk id="5" creationId="{E6EE69E3-DAD6-10C9-6D8E-4FEB9094BE3B}"/>
          </ac:spMkLst>
        </pc:spChg>
        <pc:spChg chg="mod">
          <ac:chgData name="Guest User" userId="S::urn:spo:anon#6bbc8ad3065cd11d92081721a572e8f9c9b85cc64084c82913bb48609c033f69::" providerId="AD" clId="Web-{897BE59E-A54C-43BE-9EF2-7E115F645F03}" dt="2022-04-18T17:19:55.322" v="104" actId="20577"/>
          <ac:spMkLst>
            <pc:docMk/>
            <pc:sldMk cId="2486721525" sldId="341"/>
            <ac:spMk id="344" creationId="{00000000-0000-0000-0000-000000000000}"/>
          </ac:spMkLst>
        </pc:spChg>
      </pc:sldChg>
      <pc:sldChg chg="addSp modSp">
        <pc:chgData name="Guest User" userId="S::urn:spo:anon#6bbc8ad3065cd11d92081721a572e8f9c9b85cc64084c82913bb48609c033f69::" providerId="AD" clId="Web-{897BE59E-A54C-43BE-9EF2-7E115F645F03}" dt="2022-04-18T17:25:20.736" v="127" actId="20577"/>
        <pc:sldMkLst>
          <pc:docMk/>
          <pc:sldMk cId="1695560817" sldId="366"/>
        </pc:sldMkLst>
        <pc:spChg chg="add mod">
          <ac:chgData name="Guest User" userId="S::urn:spo:anon#6bbc8ad3065cd11d92081721a572e8f9c9b85cc64084c82913bb48609c033f69::" providerId="AD" clId="Web-{897BE59E-A54C-43BE-9EF2-7E115F645F03}" dt="2022-04-18T17:11:06.090" v="66" actId="1076"/>
          <ac:spMkLst>
            <pc:docMk/>
            <pc:sldMk cId="1695560817" sldId="366"/>
            <ac:spMk id="2" creationId="{07D4471E-262B-6FAA-FD1D-CFE365054A86}"/>
          </ac:spMkLst>
        </pc:spChg>
        <pc:spChg chg="mod">
          <ac:chgData name="Guest User" userId="S::urn:spo:anon#6bbc8ad3065cd11d92081721a572e8f9c9b85cc64084c82913bb48609c033f69::" providerId="AD" clId="Web-{897BE59E-A54C-43BE-9EF2-7E115F645F03}" dt="2022-04-18T17:25:20.736" v="127" actId="20577"/>
          <ac:spMkLst>
            <pc:docMk/>
            <pc:sldMk cId="1695560817" sldId="366"/>
            <ac:spMk id="57" creationId="{517415E3-5292-CB76-E3BF-5A88419C6143}"/>
          </ac:spMkLst>
        </pc:spChg>
        <pc:spChg chg="mod">
          <ac:chgData name="Guest User" userId="S::urn:spo:anon#6bbc8ad3065cd11d92081721a572e8f9c9b85cc64084c82913bb48609c033f69::" providerId="AD" clId="Web-{897BE59E-A54C-43BE-9EF2-7E115F645F03}" dt="2022-04-18T17:24:50.814" v="125" actId="1076"/>
          <ac:spMkLst>
            <pc:docMk/>
            <pc:sldMk cId="1695560817" sldId="366"/>
            <ac:spMk id="64" creationId="{1DCCC338-F425-4F47-B3C6-38C57252A6E8}"/>
          </ac:spMkLst>
        </pc:spChg>
        <pc:spChg chg="mod">
          <ac:chgData name="Guest User" userId="S::urn:spo:anon#6bbc8ad3065cd11d92081721a572e8f9c9b85cc64084c82913bb48609c033f69::" providerId="AD" clId="Web-{897BE59E-A54C-43BE-9EF2-7E115F645F03}" dt="2022-04-18T17:24:35.782" v="124" actId="1076"/>
          <ac:spMkLst>
            <pc:docMk/>
            <pc:sldMk cId="1695560817" sldId="366"/>
            <ac:spMk id="78" creationId="{85AA2B18-4964-80D8-597C-B2C0E4AC1A9F}"/>
          </ac:spMkLst>
        </pc:spChg>
      </pc:sldChg>
      <pc:sldChg chg="addSp modSp">
        <pc:chgData name="Guest User" userId="S::urn:spo:anon#6bbc8ad3065cd11d92081721a572e8f9c9b85cc64084c82913bb48609c033f69::" providerId="AD" clId="Web-{897BE59E-A54C-43BE-9EF2-7E115F645F03}" dt="2022-04-18T17:13:26.890" v="76" actId="20577"/>
        <pc:sldMkLst>
          <pc:docMk/>
          <pc:sldMk cId="3762238417" sldId="367"/>
        </pc:sldMkLst>
        <pc:spChg chg="add mod">
          <ac:chgData name="Guest User" userId="S::urn:spo:anon#6bbc8ad3065cd11d92081721a572e8f9c9b85cc64084c82913bb48609c033f69::" providerId="AD" clId="Web-{897BE59E-A54C-43BE-9EF2-7E115F645F03}" dt="2022-04-18T17:11:17.324" v="68" actId="20577"/>
          <ac:spMkLst>
            <pc:docMk/>
            <pc:sldMk cId="3762238417" sldId="367"/>
            <ac:spMk id="5" creationId="{87C973D7-5F32-40C4-6B75-E6056C8725D8}"/>
          </ac:spMkLst>
        </pc:spChg>
        <pc:spChg chg="mod">
          <ac:chgData name="Guest User" userId="S::urn:spo:anon#6bbc8ad3065cd11d92081721a572e8f9c9b85cc64084c82913bb48609c033f69::" providerId="AD" clId="Web-{897BE59E-A54C-43BE-9EF2-7E115F645F03}" dt="2022-04-18T17:13:26.890" v="76" actId="20577"/>
          <ac:spMkLst>
            <pc:docMk/>
            <pc:sldMk cId="3762238417" sldId="367"/>
            <ac:spMk id="8" creationId="{0C428FE0-CEA6-4B06-818A-B15A33773397}"/>
          </ac:spMkLst>
        </pc:spChg>
      </pc:sldChg>
      <pc:sldChg chg="addSp modSp">
        <pc:chgData name="Guest User" userId="S::urn:spo:anon#6bbc8ad3065cd11d92081721a572e8f9c9b85cc64084c82913bb48609c033f69::" providerId="AD" clId="Web-{897BE59E-A54C-43BE-9EF2-7E115F645F03}" dt="2022-04-18T17:14:11.391" v="84" actId="14100"/>
        <pc:sldMkLst>
          <pc:docMk/>
          <pc:sldMk cId="604654217" sldId="375"/>
        </pc:sldMkLst>
        <pc:spChg chg="add mod">
          <ac:chgData name="Guest User" userId="S::urn:spo:anon#6bbc8ad3065cd11d92081721a572e8f9c9b85cc64084c82913bb48609c033f69::" providerId="AD" clId="Web-{897BE59E-A54C-43BE-9EF2-7E115F645F03}" dt="2022-04-18T17:14:11.391" v="84" actId="14100"/>
          <ac:spMkLst>
            <pc:docMk/>
            <pc:sldMk cId="604654217" sldId="375"/>
            <ac:spMk id="3" creationId="{F03BF3E3-2FF5-0140-4700-BF9F0847A0B5}"/>
          </ac:spMkLst>
        </pc:spChg>
      </pc:sldChg>
      <pc:sldChg chg="addSp">
        <pc:chgData name="Guest User" userId="S::urn:spo:anon#6bbc8ad3065cd11d92081721a572e8f9c9b85cc64084c82913bb48609c033f69::" providerId="AD" clId="Web-{897BE59E-A54C-43BE-9EF2-7E115F645F03}" dt="2022-04-18T17:09:43.119" v="61"/>
        <pc:sldMkLst>
          <pc:docMk/>
          <pc:sldMk cId="1746873201" sldId="380"/>
        </pc:sldMkLst>
        <pc:spChg chg="add">
          <ac:chgData name="Guest User" userId="S::urn:spo:anon#6bbc8ad3065cd11d92081721a572e8f9c9b85cc64084c82913bb48609c033f69::" providerId="AD" clId="Web-{897BE59E-A54C-43BE-9EF2-7E115F645F03}" dt="2022-04-18T17:09:43.119" v="61"/>
          <ac:spMkLst>
            <pc:docMk/>
            <pc:sldMk cId="1746873201" sldId="380"/>
            <ac:spMk id="2" creationId="{6DE5BCA7-B310-A987-A1DF-481957A90A09}"/>
          </ac:spMkLst>
        </pc:spChg>
      </pc:sldChg>
      <pc:sldChg chg="addSp modSp">
        <pc:chgData name="Guest User" userId="S::urn:spo:anon#6bbc8ad3065cd11d92081721a572e8f9c9b85cc64084c82913bb48609c033f69::" providerId="AD" clId="Web-{897BE59E-A54C-43BE-9EF2-7E115F645F03}" dt="2022-04-18T17:15:23.768" v="95" actId="1076"/>
        <pc:sldMkLst>
          <pc:docMk/>
          <pc:sldMk cId="2982907289" sldId="382"/>
        </pc:sldMkLst>
        <pc:spChg chg="add mod">
          <ac:chgData name="Guest User" userId="S::urn:spo:anon#6bbc8ad3065cd11d92081721a572e8f9c9b85cc64084c82913bb48609c033f69::" providerId="AD" clId="Web-{897BE59E-A54C-43BE-9EF2-7E115F645F03}" dt="2022-04-18T17:15:23.768" v="95" actId="1076"/>
          <ac:spMkLst>
            <pc:docMk/>
            <pc:sldMk cId="2982907289" sldId="382"/>
            <ac:spMk id="2" creationId="{9E2F5AB8-9016-1C85-CF16-AAE6DD933A9F}"/>
          </ac:spMkLst>
        </pc:spChg>
      </pc:sldChg>
      <pc:sldChg chg="addSp modSp">
        <pc:chgData name="Guest User" userId="S::urn:spo:anon#6bbc8ad3065cd11d92081721a572e8f9c9b85cc64084c82913bb48609c033f69::" providerId="AD" clId="Web-{897BE59E-A54C-43BE-9EF2-7E115F645F03}" dt="2022-04-18T17:15:37.471" v="97" actId="20577"/>
        <pc:sldMkLst>
          <pc:docMk/>
          <pc:sldMk cId="4163644480" sldId="383"/>
        </pc:sldMkLst>
        <pc:spChg chg="add mod">
          <ac:chgData name="Guest User" userId="S::urn:spo:anon#6bbc8ad3065cd11d92081721a572e8f9c9b85cc64084c82913bb48609c033f69::" providerId="AD" clId="Web-{897BE59E-A54C-43BE-9EF2-7E115F645F03}" dt="2022-04-18T17:15:37.471" v="97" actId="20577"/>
          <ac:spMkLst>
            <pc:docMk/>
            <pc:sldMk cId="4163644480" sldId="383"/>
            <ac:spMk id="2" creationId="{8586361E-04E6-A86F-78CE-4B5D9A6D881F}"/>
          </ac:spMkLst>
        </pc:spChg>
      </pc:sldChg>
      <pc:sldChg chg="addSp">
        <pc:chgData name="Guest User" userId="S::urn:spo:anon#6bbc8ad3065cd11d92081721a572e8f9c9b85cc64084c82913bb48609c033f69::" providerId="AD" clId="Web-{897BE59E-A54C-43BE-9EF2-7E115F645F03}" dt="2022-04-18T17:10:27.010" v="62"/>
        <pc:sldMkLst>
          <pc:docMk/>
          <pc:sldMk cId="2994314061" sldId="385"/>
        </pc:sldMkLst>
        <pc:spChg chg="add">
          <ac:chgData name="Guest User" userId="S::urn:spo:anon#6bbc8ad3065cd11d92081721a572e8f9c9b85cc64084c82913bb48609c033f69::" providerId="AD" clId="Web-{897BE59E-A54C-43BE-9EF2-7E115F645F03}" dt="2022-04-18T17:10:27.010" v="62"/>
          <ac:spMkLst>
            <pc:docMk/>
            <pc:sldMk cId="2994314061" sldId="385"/>
            <ac:spMk id="2" creationId="{B130319A-7C89-FDA7-FEA0-E56930B0A73C}"/>
          </ac:spMkLst>
        </pc:spChg>
      </pc:sldChg>
    </pc:docChg>
  </pc:docChgLst>
  <pc:docChgLst>
    <pc:chgData name="Tami Corson" userId="17b03132-2f21-4edf-a2df-f25c30f43233" providerId="ADAL" clId="{68B14A21-1A54-4054-8C52-4708997AF24A}"/>
    <pc:docChg chg="undo custSel addSld delSld modSld sldOrd">
      <pc:chgData name="Tami Corson" userId="17b03132-2f21-4edf-a2df-f25c30f43233" providerId="ADAL" clId="{68B14A21-1A54-4054-8C52-4708997AF24A}" dt="2022-04-19T16:39:58.719" v="16138" actId="20577"/>
      <pc:docMkLst>
        <pc:docMk/>
      </pc:docMkLst>
      <pc:sldChg chg="modSp mod">
        <pc:chgData name="Tami Corson" userId="17b03132-2f21-4edf-a2df-f25c30f43233" providerId="ADAL" clId="{68B14A21-1A54-4054-8C52-4708997AF24A}" dt="2022-04-05T21:55:48.466" v="4" actId="20577"/>
        <pc:sldMkLst>
          <pc:docMk/>
          <pc:sldMk cId="0" sldId="256"/>
        </pc:sldMkLst>
        <pc:spChg chg="mod">
          <ac:chgData name="Tami Corson" userId="17b03132-2f21-4edf-a2df-f25c30f43233" providerId="ADAL" clId="{68B14A21-1A54-4054-8C52-4708997AF24A}" dt="2022-04-05T21:55:37.715" v="1" actId="20577"/>
          <ac:spMkLst>
            <pc:docMk/>
            <pc:sldMk cId="0" sldId="256"/>
            <ac:spMk id="184" creationId="{00000000-0000-0000-0000-000000000000}"/>
          </ac:spMkLst>
        </pc:spChg>
        <pc:spChg chg="mod">
          <ac:chgData name="Tami Corson" userId="17b03132-2f21-4edf-a2df-f25c30f43233" providerId="ADAL" clId="{68B14A21-1A54-4054-8C52-4708997AF24A}" dt="2022-04-05T21:55:48.466" v="4" actId="20577"/>
          <ac:spMkLst>
            <pc:docMk/>
            <pc:sldMk cId="0" sldId="256"/>
            <ac:spMk id="185" creationId="{00000000-0000-0000-0000-000000000000}"/>
          </ac:spMkLst>
        </pc:spChg>
      </pc:sldChg>
      <pc:sldChg chg="modSp del mod">
        <pc:chgData name="Tami Corson" userId="17b03132-2f21-4edf-a2df-f25c30f43233" providerId="ADAL" clId="{68B14A21-1A54-4054-8C52-4708997AF24A}" dt="2022-04-18T12:58:14.290" v="7576" actId="47"/>
        <pc:sldMkLst>
          <pc:docMk/>
          <pc:sldMk cId="0" sldId="257"/>
        </pc:sldMkLst>
        <pc:spChg chg="mod">
          <ac:chgData name="Tami Corson" userId="17b03132-2f21-4edf-a2df-f25c30f43233" providerId="ADAL" clId="{68B14A21-1A54-4054-8C52-4708997AF24A}" dt="2022-04-05T21:56:08.123" v="10" actId="20577"/>
          <ac:spMkLst>
            <pc:docMk/>
            <pc:sldMk cId="0" sldId="257"/>
            <ac:spMk id="195" creationId="{00000000-0000-0000-0000-000000000000}"/>
          </ac:spMkLst>
        </pc:spChg>
      </pc:sldChg>
      <pc:sldChg chg="modSp mod">
        <pc:chgData name="Tami Corson" userId="17b03132-2f21-4edf-a2df-f25c30f43233" providerId="ADAL" clId="{68B14A21-1A54-4054-8C52-4708997AF24A}" dt="2022-04-05T21:56:46.140" v="18" actId="20577"/>
        <pc:sldMkLst>
          <pc:docMk/>
          <pc:sldMk cId="0" sldId="258"/>
        </pc:sldMkLst>
        <pc:spChg chg="mod">
          <ac:chgData name="Tami Corson" userId="17b03132-2f21-4edf-a2df-f25c30f43233" providerId="ADAL" clId="{68B14A21-1A54-4054-8C52-4708997AF24A}" dt="2022-04-05T21:56:46.140" v="18" actId="20577"/>
          <ac:spMkLst>
            <pc:docMk/>
            <pc:sldMk cId="0" sldId="258"/>
            <ac:spMk id="244" creationId="{00000000-0000-0000-0000-000000000000}"/>
          </ac:spMkLst>
        </pc:spChg>
        <pc:spChg chg="mod">
          <ac:chgData name="Tami Corson" userId="17b03132-2f21-4edf-a2df-f25c30f43233" providerId="ADAL" clId="{68B14A21-1A54-4054-8C52-4708997AF24A}" dt="2022-04-05T21:56:35.023" v="16" actId="20577"/>
          <ac:spMkLst>
            <pc:docMk/>
            <pc:sldMk cId="0" sldId="258"/>
            <ac:spMk id="245" creationId="{00000000-0000-0000-0000-000000000000}"/>
          </ac:spMkLst>
        </pc:spChg>
      </pc:sldChg>
      <pc:sldChg chg="modSp mod">
        <pc:chgData name="Tami Corson" userId="17b03132-2f21-4edf-a2df-f25c30f43233" providerId="ADAL" clId="{68B14A21-1A54-4054-8C52-4708997AF24A}" dt="2022-04-18T13:00:30.485" v="7614" actId="14100"/>
        <pc:sldMkLst>
          <pc:docMk/>
          <pc:sldMk cId="0" sldId="259"/>
        </pc:sldMkLst>
        <pc:spChg chg="mod ord">
          <ac:chgData name="Tami Corson" userId="17b03132-2f21-4edf-a2df-f25c30f43233" providerId="ADAL" clId="{68B14A21-1A54-4054-8C52-4708997AF24A}" dt="2022-04-18T13:00:19.024" v="7612" actId="14100"/>
          <ac:spMkLst>
            <pc:docMk/>
            <pc:sldMk cId="0" sldId="259"/>
            <ac:spMk id="60" creationId="{95952E1E-7F78-EB4E-C8DB-6C613AD4FCEC}"/>
          </ac:spMkLst>
        </pc:spChg>
        <pc:spChg chg="mod">
          <ac:chgData name="Tami Corson" userId="17b03132-2f21-4edf-a2df-f25c30f43233" providerId="ADAL" clId="{68B14A21-1A54-4054-8C52-4708997AF24A}" dt="2022-04-18T13:00:30.485" v="7614" actId="14100"/>
          <ac:spMkLst>
            <pc:docMk/>
            <pc:sldMk cId="0" sldId="259"/>
            <ac:spMk id="61" creationId="{C51DA092-9C64-E1F6-D5F1-DF5C36135B45}"/>
          </ac:spMkLst>
        </pc:spChg>
        <pc:spChg chg="mod">
          <ac:chgData name="Tami Corson" userId="17b03132-2f21-4edf-a2df-f25c30f43233" providerId="ADAL" clId="{68B14A21-1A54-4054-8C52-4708997AF24A}" dt="2022-04-05T21:57:08.527" v="24" actId="20577"/>
          <ac:spMkLst>
            <pc:docMk/>
            <pc:sldMk cId="0" sldId="259"/>
            <ac:spMk id="265" creationId="{00000000-0000-0000-0000-000000000000}"/>
          </ac:spMkLst>
        </pc:spChg>
        <pc:spChg chg="mod">
          <ac:chgData name="Tami Corson" userId="17b03132-2f21-4edf-a2df-f25c30f43233" providerId="ADAL" clId="{68B14A21-1A54-4054-8C52-4708997AF24A}" dt="2022-04-18T13:00:25.466" v="7613" actId="14100"/>
          <ac:spMkLst>
            <pc:docMk/>
            <pc:sldMk cId="0" sldId="259"/>
            <ac:spMk id="311" creationId="{00000000-0000-0000-0000-000000000000}"/>
          </ac:spMkLst>
        </pc:spChg>
        <pc:grpChg chg="mod">
          <ac:chgData name="Tami Corson" userId="17b03132-2f21-4edf-a2df-f25c30f43233" providerId="ADAL" clId="{68B14A21-1A54-4054-8C52-4708997AF24A}" dt="2022-04-05T21:57:45.541" v="29" actId="1076"/>
          <ac:grpSpMkLst>
            <pc:docMk/>
            <pc:sldMk cId="0" sldId="259"/>
            <ac:grpSpMk id="315" creationId="{00000000-0000-0000-0000-000000000000}"/>
          </ac:grpSpMkLst>
        </pc:grpChg>
        <pc:cxnChg chg="ord">
          <ac:chgData name="Tami Corson" userId="17b03132-2f21-4edf-a2df-f25c30f43233" providerId="ADAL" clId="{68B14A21-1A54-4054-8C52-4708997AF24A}" dt="2022-04-05T21:57:31.527" v="27" actId="166"/>
          <ac:cxnSpMkLst>
            <pc:docMk/>
            <pc:sldMk cId="0" sldId="259"/>
            <ac:cxnSpMk id="316" creationId="{00000000-0000-0000-0000-000000000000}"/>
          </ac:cxnSpMkLst>
        </pc:cxnChg>
      </pc:sldChg>
      <pc:sldChg chg="modSp mod">
        <pc:chgData name="Tami Corson" userId="17b03132-2f21-4edf-a2df-f25c30f43233" providerId="ADAL" clId="{68B14A21-1A54-4054-8C52-4708997AF24A}" dt="2022-04-05T22:05:04.787" v="1007" actId="20577"/>
        <pc:sldMkLst>
          <pc:docMk/>
          <pc:sldMk cId="0" sldId="260"/>
        </pc:sldMkLst>
        <pc:spChg chg="mod">
          <ac:chgData name="Tami Corson" userId="17b03132-2f21-4edf-a2df-f25c30f43233" providerId="ADAL" clId="{68B14A21-1A54-4054-8C52-4708997AF24A}" dt="2022-04-05T22:05:04.787" v="1007" actId="20577"/>
          <ac:spMkLst>
            <pc:docMk/>
            <pc:sldMk cId="0" sldId="260"/>
            <ac:spMk id="2" creationId="{F23191FC-7B29-89F5-21F1-7FF0E32525D9}"/>
          </ac:spMkLst>
        </pc:spChg>
        <pc:spChg chg="mod">
          <ac:chgData name="Tami Corson" userId="17b03132-2f21-4edf-a2df-f25c30f43233" providerId="ADAL" clId="{68B14A21-1A54-4054-8C52-4708997AF24A}" dt="2022-04-05T22:04:52.462" v="995" actId="20577"/>
          <ac:spMkLst>
            <pc:docMk/>
            <pc:sldMk cId="0" sldId="260"/>
            <ac:spMk id="325" creationId="{00000000-0000-0000-0000-000000000000}"/>
          </ac:spMkLst>
        </pc:spChg>
      </pc:sldChg>
      <pc:sldChg chg="modSp mod">
        <pc:chgData name="Tami Corson" userId="17b03132-2f21-4edf-a2df-f25c30f43233" providerId="ADAL" clId="{68B14A21-1A54-4054-8C52-4708997AF24A}" dt="2022-04-05T22:05:25.036" v="1013" actId="20577"/>
        <pc:sldMkLst>
          <pc:docMk/>
          <pc:sldMk cId="0" sldId="261"/>
        </pc:sldMkLst>
        <pc:spChg chg="mod">
          <ac:chgData name="Tami Corson" userId="17b03132-2f21-4edf-a2df-f25c30f43233" providerId="ADAL" clId="{68B14A21-1A54-4054-8C52-4708997AF24A}" dt="2022-04-05T22:05:25.036" v="1013" actId="20577"/>
          <ac:spMkLst>
            <pc:docMk/>
            <pc:sldMk cId="0" sldId="261"/>
            <ac:spMk id="337" creationId="{00000000-0000-0000-0000-000000000000}"/>
          </ac:spMkLst>
        </pc:spChg>
      </pc:sldChg>
      <pc:sldChg chg="modSp mod">
        <pc:chgData name="Tami Corson" userId="17b03132-2f21-4edf-a2df-f25c30f43233" providerId="ADAL" clId="{68B14A21-1A54-4054-8C52-4708997AF24A}" dt="2022-04-05T22:20:24.837" v="2775" actId="20577"/>
        <pc:sldMkLst>
          <pc:docMk/>
          <pc:sldMk cId="0" sldId="263"/>
        </pc:sldMkLst>
        <pc:spChg chg="mod">
          <ac:chgData name="Tami Corson" userId="17b03132-2f21-4edf-a2df-f25c30f43233" providerId="ADAL" clId="{68B14A21-1A54-4054-8C52-4708997AF24A}" dt="2022-04-05T22:20:24.837" v="2775" actId="20577"/>
          <ac:spMkLst>
            <pc:docMk/>
            <pc:sldMk cId="0" sldId="263"/>
            <ac:spMk id="2" creationId="{820A4734-2A64-812C-44F5-9C35D9905FB2}"/>
          </ac:spMkLst>
        </pc:spChg>
        <pc:spChg chg="mod">
          <ac:chgData name="Tami Corson" userId="17b03132-2f21-4edf-a2df-f25c30f43233" providerId="ADAL" clId="{68B14A21-1A54-4054-8C52-4708997AF24A}" dt="2022-04-05T22:20:10.467" v="2763" actId="20577"/>
          <ac:spMkLst>
            <pc:docMk/>
            <pc:sldMk cId="0" sldId="263"/>
            <ac:spMk id="461" creationId="{00000000-0000-0000-0000-000000000000}"/>
          </ac:spMkLst>
        </pc:spChg>
      </pc:sldChg>
      <pc:sldChg chg="addSp modSp mod">
        <pc:chgData name="Tami Corson" userId="17b03132-2f21-4edf-a2df-f25c30f43233" providerId="ADAL" clId="{68B14A21-1A54-4054-8C52-4708997AF24A}" dt="2022-04-18T23:42:47.482" v="15942" actId="1076"/>
        <pc:sldMkLst>
          <pc:docMk/>
          <pc:sldMk cId="0" sldId="264"/>
        </pc:sldMkLst>
        <pc:spChg chg="add mod">
          <ac:chgData name="Tami Corson" userId="17b03132-2f21-4edf-a2df-f25c30f43233" providerId="ADAL" clId="{68B14A21-1A54-4054-8C52-4708997AF24A}" dt="2022-04-18T23:42:47.482" v="15942" actId="1076"/>
          <ac:spMkLst>
            <pc:docMk/>
            <pc:sldMk cId="0" sldId="264"/>
            <ac:spMk id="2" creationId="{307C9396-DD9E-444F-BAD7-0283934E741D}"/>
          </ac:spMkLst>
        </pc:spChg>
        <pc:spChg chg="mod">
          <ac:chgData name="Tami Corson" userId="17b03132-2f21-4edf-a2df-f25c30f43233" providerId="ADAL" clId="{68B14A21-1A54-4054-8C52-4708997AF24A}" dt="2022-04-05T22:01:27.987" v="573" actId="6549"/>
          <ac:spMkLst>
            <pc:docMk/>
            <pc:sldMk cId="0" sldId="264"/>
            <ac:spMk id="26" creationId="{63D5B65A-793E-4E79-B52C-834340BABD85}"/>
          </ac:spMkLst>
        </pc:spChg>
        <pc:spChg chg="mod">
          <ac:chgData name="Tami Corson" userId="17b03132-2f21-4edf-a2df-f25c30f43233" providerId="ADAL" clId="{68B14A21-1A54-4054-8C52-4708997AF24A}" dt="2022-04-05T22:00:26.497" v="365" actId="20577"/>
          <ac:spMkLst>
            <pc:docMk/>
            <pc:sldMk cId="0" sldId="264"/>
            <ac:spMk id="29" creationId="{CE4534C1-122C-4584-960F-B0117C9A488A}"/>
          </ac:spMkLst>
        </pc:spChg>
        <pc:spChg chg="mod">
          <ac:chgData name="Tami Corson" userId="17b03132-2f21-4edf-a2df-f25c30f43233" providerId="ADAL" clId="{68B14A21-1A54-4054-8C52-4708997AF24A}" dt="2022-04-05T22:02:03.888" v="808" actId="6549"/>
          <ac:spMkLst>
            <pc:docMk/>
            <pc:sldMk cId="0" sldId="264"/>
            <ac:spMk id="30" creationId="{100AEE39-1F64-4466-ACEE-5B01ED088536}"/>
          </ac:spMkLst>
        </pc:spChg>
        <pc:spChg chg="mod">
          <ac:chgData name="Tami Corson" userId="17b03132-2f21-4edf-a2df-f25c30f43233" providerId="ADAL" clId="{68B14A21-1A54-4054-8C52-4708997AF24A}" dt="2022-04-05T22:02:13.330" v="814" actId="20577"/>
          <ac:spMkLst>
            <pc:docMk/>
            <pc:sldMk cId="0" sldId="264"/>
            <ac:spMk id="471" creationId="{00000000-0000-0000-0000-000000000000}"/>
          </ac:spMkLst>
        </pc:spChg>
        <pc:spChg chg="mod">
          <ac:chgData name="Tami Corson" userId="17b03132-2f21-4edf-a2df-f25c30f43233" providerId="ADAL" clId="{68B14A21-1A54-4054-8C52-4708997AF24A}" dt="2022-04-05T22:03:56.363" v="974" actId="13926"/>
          <ac:spMkLst>
            <pc:docMk/>
            <pc:sldMk cId="0" sldId="264"/>
            <ac:spMk id="472" creationId="{00000000-0000-0000-0000-000000000000}"/>
          </ac:spMkLst>
        </pc:spChg>
      </pc:sldChg>
      <pc:sldChg chg="addSp delSp modSp mod ord">
        <pc:chgData name="Tami Corson" userId="17b03132-2f21-4edf-a2df-f25c30f43233" providerId="ADAL" clId="{68B14A21-1A54-4054-8C52-4708997AF24A}" dt="2022-04-18T17:03:46.132" v="12829"/>
        <pc:sldMkLst>
          <pc:docMk/>
          <pc:sldMk cId="0" sldId="267"/>
        </pc:sldMkLst>
        <pc:spChg chg="mod">
          <ac:chgData name="Tami Corson" userId="17b03132-2f21-4edf-a2df-f25c30f43233" providerId="ADAL" clId="{68B14A21-1A54-4054-8C52-4708997AF24A}" dt="2022-04-05T22:17:05.958" v="2693" actId="20577"/>
          <ac:spMkLst>
            <pc:docMk/>
            <pc:sldMk cId="0" sldId="267"/>
            <ac:spMk id="7" creationId="{C840A1AA-DEE9-4A69-BC08-B46800497F9A}"/>
          </ac:spMkLst>
        </pc:spChg>
        <pc:spChg chg="del mod">
          <ac:chgData name="Tami Corson" userId="17b03132-2f21-4edf-a2df-f25c30f43233" providerId="ADAL" clId="{68B14A21-1A54-4054-8C52-4708997AF24A}" dt="2022-04-05T22:17:44.526" v="2694" actId="478"/>
          <ac:spMkLst>
            <pc:docMk/>
            <pc:sldMk cId="0" sldId="267"/>
            <ac:spMk id="15" creationId="{0FE28857-EB53-498A-9EED-560FE4996A1D}"/>
          </ac:spMkLst>
        </pc:spChg>
        <pc:spChg chg="del mod">
          <ac:chgData name="Tami Corson" userId="17b03132-2f21-4edf-a2df-f25c30f43233" providerId="ADAL" clId="{68B14A21-1A54-4054-8C52-4708997AF24A}" dt="2022-04-05T22:15:03.806" v="2455" actId="478"/>
          <ac:spMkLst>
            <pc:docMk/>
            <pc:sldMk cId="0" sldId="267"/>
            <ac:spMk id="16" creationId="{06D1BAE6-275A-40C2-ABFA-22E1B96BE960}"/>
          </ac:spMkLst>
        </pc:spChg>
        <pc:spChg chg="add mod">
          <ac:chgData name="Tami Corson" userId="17b03132-2f21-4edf-a2df-f25c30f43233" providerId="ADAL" clId="{68B14A21-1A54-4054-8C52-4708997AF24A}" dt="2022-04-05T22:15:13.226" v="2456"/>
          <ac:spMkLst>
            <pc:docMk/>
            <pc:sldMk cId="0" sldId="267"/>
            <ac:spMk id="17" creationId="{DEF69BFC-72EE-484A-919A-8AC606BDAD96}"/>
          </ac:spMkLst>
        </pc:spChg>
        <pc:spChg chg="add mod">
          <ac:chgData name="Tami Corson" userId="17b03132-2f21-4edf-a2df-f25c30f43233" providerId="ADAL" clId="{68B14A21-1A54-4054-8C52-4708997AF24A}" dt="2022-04-05T22:17:45.799" v="2695"/>
          <ac:spMkLst>
            <pc:docMk/>
            <pc:sldMk cId="0" sldId="267"/>
            <ac:spMk id="18" creationId="{A4455F1E-5439-4739-93B5-E2C39007984E}"/>
          </ac:spMkLst>
        </pc:spChg>
        <pc:spChg chg="mod">
          <ac:chgData name="Tami Corson" userId="17b03132-2f21-4edf-a2df-f25c30f43233" providerId="ADAL" clId="{68B14A21-1A54-4054-8C52-4708997AF24A}" dt="2022-04-05T22:12:44.223" v="2203" actId="20577"/>
          <ac:spMkLst>
            <pc:docMk/>
            <pc:sldMk cId="0" sldId="267"/>
            <ac:spMk id="572" creationId="{00000000-0000-0000-0000-000000000000}"/>
          </ac:spMkLst>
        </pc:spChg>
        <pc:spChg chg="mod">
          <ac:chgData name="Tami Corson" userId="17b03132-2f21-4edf-a2df-f25c30f43233" providerId="ADAL" clId="{68B14A21-1A54-4054-8C52-4708997AF24A}" dt="2022-04-05T22:14:54.500" v="2452" actId="3626"/>
          <ac:spMkLst>
            <pc:docMk/>
            <pc:sldMk cId="0" sldId="267"/>
            <ac:spMk id="579" creationId="{00000000-0000-0000-0000-000000000000}"/>
          </ac:spMkLst>
        </pc:spChg>
        <pc:picChg chg="del">
          <ac:chgData name="Tami Corson" userId="17b03132-2f21-4edf-a2df-f25c30f43233" providerId="ADAL" clId="{68B14A21-1A54-4054-8C52-4708997AF24A}" dt="2022-04-05T22:14:57.322" v="2453" actId="478"/>
          <ac:picMkLst>
            <pc:docMk/>
            <pc:sldMk cId="0" sldId="267"/>
            <ac:picMk id="4" creationId="{42EA391A-1865-00F6-A513-7451C70F9F89}"/>
          </ac:picMkLst>
        </pc:picChg>
      </pc:sldChg>
      <pc:sldChg chg="modSp mod">
        <pc:chgData name="Tami Corson" userId="17b03132-2f21-4edf-a2df-f25c30f43233" providerId="ADAL" clId="{68B14A21-1A54-4054-8C52-4708997AF24A}" dt="2022-04-19T16:37:03.619" v="16120" actId="6549"/>
        <pc:sldMkLst>
          <pc:docMk/>
          <pc:sldMk cId="0" sldId="275"/>
        </pc:sldMkLst>
        <pc:spChg chg="mod">
          <ac:chgData name="Tami Corson" userId="17b03132-2f21-4edf-a2df-f25c30f43233" providerId="ADAL" clId="{68B14A21-1A54-4054-8C52-4708997AF24A}" dt="2022-04-19T12:47:39.251" v="16002" actId="20577"/>
          <ac:spMkLst>
            <pc:docMk/>
            <pc:sldMk cId="0" sldId="275"/>
            <ac:spMk id="2" creationId="{1FA17069-679B-6880-2F9F-41B585A6CB51}"/>
          </ac:spMkLst>
        </pc:spChg>
        <pc:spChg chg="mod">
          <ac:chgData name="Tami Corson" userId="17b03132-2f21-4edf-a2df-f25c30f43233" providerId="ADAL" clId="{68B14A21-1A54-4054-8C52-4708997AF24A}" dt="2022-04-05T22:44:40.949" v="5827" actId="20577"/>
          <ac:spMkLst>
            <pc:docMk/>
            <pc:sldMk cId="0" sldId="275"/>
            <ac:spMk id="4" creationId="{9AFC4AAF-F922-425A-B866-F54294711148}"/>
          </ac:spMkLst>
        </pc:spChg>
        <pc:spChg chg="mod">
          <ac:chgData name="Tami Corson" userId="17b03132-2f21-4edf-a2df-f25c30f43233" providerId="ADAL" clId="{68B14A21-1A54-4054-8C52-4708997AF24A}" dt="2022-04-09T14:10:06.485" v="7528" actId="20577"/>
          <ac:spMkLst>
            <pc:docMk/>
            <pc:sldMk cId="0" sldId="275"/>
            <ac:spMk id="692" creationId="{00000000-0000-0000-0000-000000000000}"/>
          </ac:spMkLst>
        </pc:spChg>
        <pc:spChg chg="mod">
          <ac:chgData name="Tami Corson" userId="17b03132-2f21-4edf-a2df-f25c30f43233" providerId="ADAL" clId="{68B14A21-1A54-4054-8C52-4708997AF24A}" dt="2022-04-05T22:44:45.238" v="5829" actId="20577"/>
          <ac:spMkLst>
            <pc:docMk/>
            <pc:sldMk cId="0" sldId="275"/>
            <ac:spMk id="695" creationId="{00000000-0000-0000-0000-000000000000}"/>
          </ac:spMkLst>
        </pc:spChg>
        <pc:graphicFrameChg chg="mod modGraphic">
          <ac:chgData name="Tami Corson" userId="17b03132-2f21-4edf-a2df-f25c30f43233" providerId="ADAL" clId="{68B14A21-1A54-4054-8C52-4708997AF24A}" dt="2022-04-19T16:37:03.619" v="16120" actId="6549"/>
          <ac:graphicFrameMkLst>
            <pc:docMk/>
            <pc:sldMk cId="0" sldId="275"/>
            <ac:graphicFrameMk id="694" creationId="{00000000-0000-0000-0000-000000000000}"/>
          </ac:graphicFrameMkLst>
        </pc:graphicFrameChg>
      </pc:sldChg>
      <pc:sldChg chg="modSp mod">
        <pc:chgData name="Tami Corson" userId="17b03132-2f21-4edf-a2df-f25c30f43233" providerId="ADAL" clId="{68B14A21-1A54-4054-8C52-4708997AF24A}" dt="2022-04-18T14:32:15.034" v="11001" actId="20577"/>
        <pc:sldMkLst>
          <pc:docMk/>
          <pc:sldMk cId="0" sldId="276"/>
        </pc:sldMkLst>
        <pc:spChg chg="mod">
          <ac:chgData name="Tami Corson" userId="17b03132-2f21-4edf-a2df-f25c30f43233" providerId="ADAL" clId="{68B14A21-1A54-4054-8C52-4708997AF24A}" dt="2022-04-05T22:46:03.724" v="5859" actId="20577"/>
          <ac:spMkLst>
            <pc:docMk/>
            <pc:sldMk cId="0" sldId="276"/>
            <ac:spMk id="2" creationId="{218A2BF7-C208-A0CB-E88F-A3CA5FD0CE37}"/>
          </ac:spMkLst>
        </pc:spChg>
        <pc:spChg chg="mod">
          <ac:chgData name="Tami Corson" userId="17b03132-2f21-4edf-a2df-f25c30f43233" providerId="ADAL" clId="{68B14A21-1A54-4054-8C52-4708997AF24A}" dt="2022-04-18T14:32:15.034" v="11001" actId="20577"/>
          <ac:spMkLst>
            <pc:docMk/>
            <pc:sldMk cId="0" sldId="276"/>
            <ac:spMk id="704" creationId="{00000000-0000-0000-0000-000000000000}"/>
          </ac:spMkLst>
        </pc:spChg>
        <pc:spChg chg="mod">
          <ac:chgData name="Tami Corson" userId="17b03132-2f21-4edf-a2df-f25c30f43233" providerId="ADAL" clId="{68B14A21-1A54-4054-8C52-4708997AF24A}" dt="2022-04-05T22:45:56.601" v="5853" actId="20577"/>
          <ac:spMkLst>
            <pc:docMk/>
            <pc:sldMk cId="0" sldId="276"/>
            <ac:spMk id="705" creationId="{00000000-0000-0000-0000-000000000000}"/>
          </ac:spMkLst>
        </pc:spChg>
      </pc:sldChg>
      <pc:sldChg chg="modSp mod">
        <pc:chgData name="Tami Corson" userId="17b03132-2f21-4edf-a2df-f25c30f43233" providerId="ADAL" clId="{68B14A21-1A54-4054-8C52-4708997AF24A}" dt="2022-04-05T22:50:22.499" v="6291" actId="20577"/>
        <pc:sldMkLst>
          <pc:docMk/>
          <pc:sldMk cId="0" sldId="279"/>
        </pc:sldMkLst>
        <pc:spChg chg="mod">
          <ac:chgData name="Tami Corson" userId="17b03132-2f21-4edf-a2df-f25c30f43233" providerId="ADAL" clId="{68B14A21-1A54-4054-8C52-4708997AF24A}" dt="2022-04-05T22:50:22.499" v="6291" actId="20577"/>
          <ac:spMkLst>
            <pc:docMk/>
            <pc:sldMk cId="0" sldId="279"/>
            <ac:spMk id="852" creationId="{00000000-0000-0000-0000-000000000000}"/>
          </ac:spMkLst>
        </pc:spChg>
      </pc:sldChg>
      <pc:sldChg chg="addSp delSp modSp mod ord">
        <pc:chgData name="Tami Corson" userId="17b03132-2f21-4edf-a2df-f25c30f43233" providerId="ADAL" clId="{68B14A21-1A54-4054-8C52-4708997AF24A}" dt="2022-04-18T17:38:25.680" v="14753" actId="313"/>
        <pc:sldMkLst>
          <pc:docMk/>
          <pc:sldMk cId="0" sldId="280"/>
        </pc:sldMkLst>
        <pc:spChg chg="add del mod">
          <ac:chgData name="Tami Corson" userId="17b03132-2f21-4edf-a2df-f25c30f43233" providerId="ADAL" clId="{68B14A21-1A54-4054-8C52-4708997AF24A}" dt="2022-04-18T14:31:39.752" v="10990" actId="478"/>
          <ac:spMkLst>
            <pc:docMk/>
            <pc:sldMk cId="0" sldId="280"/>
            <ac:spMk id="10" creationId="{E44900B7-211A-493F-BD69-9C3757625AC1}"/>
          </ac:spMkLst>
        </pc:spChg>
        <pc:spChg chg="mod">
          <ac:chgData name="Tami Corson" userId="17b03132-2f21-4edf-a2df-f25c30f43233" providerId="ADAL" clId="{68B14A21-1A54-4054-8C52-4708997AF24A}" dt="2022-04-05T22:50:34.346" v="6297" actId="20577"/>
          <ac:spMkLst>
            <pc:docMk/>
            <pc:sldMk cId="0" sldId="280"/>
            <ac:spMk id="861" creationId="{00000000-0000-0000-0000-000000000000}"/>
          </ac:spMkLst>
        </pc:spChg>
        <pc:spChg chg="mod ord">
          <ac:chgData name="Tami Corson" userId="17b03132-2f21-4edf-a2df-f25c30f43233" providerId="ADAL" clId="{68B14A21-1A54-4054-8C52-4708997AF24A}" dt="2022-04-18T13:53:47.158" v="10020" actId="1076"/>
          <ac:spMkLst>
            <pc:docMk/>
            <pc:sldMk cId="0" sldId="280"/>
            <ac:spMk id="863" creationId="{00000000-0000-0000-0000-000000000000}"/>
          </ac:spMkLst>
        </pc:spChg>
        <pc:spChg chg="mod">
          <ac:chgData name="Tami Corson" userId="17b03132-2f21-4edf-a2df-f25c30f43233" providerId="ADAL" clId="{68B14A21-1A54-4054-8C52-4708997AF24A}" dt="2022-04-18T14:31:55.563" v="10999" actId="20577"/>
          <ac:spMkLst>
            <pc:docMk/>
            <pc:sldMk cId="0" sldId="280"/>
            <ac:spMk id="865" creationId="{00000000-0000-0000-0000-000000000000}"/>
          </ac:spMkLst>
        </pc:spChg>
        <pc:graphicFrameChg chg="modGraphic">
          <ac:chgData name="Tami Corson" userId="17b03132-2f21-4edf-a2df-f25c30f43233" providerId="ADAL" clId="{68B14A21-1A54-4054-8C52-4708997AF24A}" dt="2022-04-18T17:38:25.680" v="14753" actId="313"/>
          <ac:graphicFrameMkLst>
            <pc:docMk/>
            <pc:sldMk cId="0" sldId="280"/>
            <ac:graphicFrameMk id="858" creationId="{00000000-0000-0000-0000-000000000000}"/>
          </ac:graphicFrameMkLst>
        </pc:graphicFrameChg>
        <pc:picChg chg="del">
          <ac:chgData name="Tami Corson" userId="17b03132-2f21-4edf-a2df-f25c30f43233" providerId="ADAL" clId="{68B14A21-1A54-4054-8C52-4708997AF24A}" dt="2022-04-18T13:44:30.977" v="8891" actId="478"/>
          <ac:picMkLst>
            <pc:docMk/>
            <pc:sldMk cId="0" sldId="280"/>
            <ac:picMk id="3" creationId="{BF51D7E1-305B-471D-B2E7-58EAE7B022E5}"/>
          </ac:picMkLst>
        </pc:picChg>
        <pc:picChg chg="add mod modCrop">
          <ac:chgData name="Tami Corson" userId="17b03132-2f21-4edf-a2df-f25c30f43233" providerId="ADAL" clId="{68B14A21-1A54-4054-8C52-4708997AF24A}" dt="2022-04-18T13:53:41.862" v="10019" actId="1076"/>
          <ac:picMkLst>
            <pc:docMk/>
            <pc:sldMk cId="0" sldId="280"/>
            <ac:picMk id="4" creationId="{9E0B477C-8E8C-403C-8034-D9B807FC6707}"/>
          </ac:picMkLst>
        </pc:picChg>
        <pc:cxnChg chg="mod ord">
          <ac:chgData name="Tami Corson" userId="17b03132-2f21-4edf-a2df-f25c30f43233" providerId="ADAL" clId="{68B14A21-1A54-4054-8C52-4708997AF24A}" dt="2022-04-18T13:53:51.339" v="10021" actId="14100"/>
          <ac:cxnSpMkLst>
            <pc:docMk/>
            <pc:sldMk cId="0" sldId="280"/>
            <ac:cxnSpMk id="864" creationId="{00000000-0000-0000-0000-000000000000}"/>
          </ac:cxnSpMkLst>
        </pc:cxnChg>
      </pc:sldChg>
      <pc:sldChg chg="modSp mod">
        <pc:chgData name="Tami Corson" userId="17b03132-2f21-4edf-a2df-f25c30f43233" providerId="ADAL" clId="{68B14A21-1A54-4054-8C52-4708997AF24A}" dt="2022-04-19T14:44:13.104" v="16032" actId="20577"/>
        <pc:sldMkLst>
          <pc:docMk/>
          <pc:sldMk cId="0" sldId="283"/>
        </pc:sldMkLst>
        <pc:spChg chg="mod">
          <ac:chgData name="Tami Corson" userId="17b03132-2f21-4edf-a2df-f25c30f43233" providerId="ADAL" clId="{68B14A21-1A54-4054-8C52-4708997AF24A}" dt="2022-04-19T14:43:14.491" v="16025" actId="1076"/>
          <ac:spMkLst>
            <pc:docMk/>
            <pc:sldMk cId="0" sldId="283"/>
            <ac:spMk id="13" creationId="{CBBF7C82-D0BF-483D-8655-9680C99D1D18}"/>
          </ac:spMkLst>
        </pc:spChg>
        <pc:spChg chg="mod">
          <ac:chgData name="Tami Corson" userId="17b03132-2f21-4edf-a2df-f25c30f43233" providerId="ADAL" clId="{68B14A21-1A54-4054-8C52-4708997AF24A}" dt="2022-04-19T14:43:04.989" v="16023" actId="1076"/>
          <ac:spMkLst>
            <pc:docMk/>
            <pc:sldMk cId="0" sldId="283"/>
            <ac:spMk id="19" creationId="{4D271066-DA07-4647-B209-7C3919DF3ECC}"/>
          </ac:spMkLst>
        </pc:spChg>
        <pc:spChg chg="mod">
          <ac:chgData name="Tami Corson" userId="17b03132-2f21-4edf-a2df-f25c30f43233" providerId="ADAL" clId="{68B14A21-1A54-4054-8C52-4708997AF24A}" dt="2022-04-19T14:42:52.050" v="16022" actId="1076"/>
          <ac:spMkLst>
            <pc:docMk/>
            <pc:sldMk cId="0" sldId="283"/>
            <ac:spMk id="21" creationId="{7C092FA4-92F1-452C-973C-C91F4DCFAD78}"/>
          </ac:spMkLst>
        </pc:spChg>
        <pc:spChg chg="mod">
          <ac:chgData name="Tami Corson" userId="17b03132-2f21-4edf-a2df-f25c30f43233" providerId="ADAL" clId="{68B14A21-1A54-4054-8C52-4708997AF24A}" dt="2022-04-05T22:51:42.877" v="6408" actId="20577"/>
          <ac:spMkLst>
            <pc:docMk/>
            <pc:sldMk cId="0" sldId="283"/>
            <ac:spMk id="929" creationId="{00000000-0000-0000-0000-000000000000}"/>
          </ac:spMkLst>
        </pc:spChg>
        <pc:graphicFrameChg chg="mod modGraphic">
          <ac:chgData name="Tami Corson" userId="17b03132-2f21-4edf-a2df-f25c30f43233" providerId="ADAL" clId="{68B14A21-1A54-4054-8C52-4708997AF24A}" dt="2022-04-19T14:44:13.104" v="16032" actId="20577"/>
          <ac:graphicFrameMkLst>
            <pc:docMk/>
            <pc:sldMk cId="0" sldId="283"/>
            <ac:graphicFrameMk id="930" creationId="{00000000-0000-0000-0000-000000000000}"/>
          </ac:graphicFrameMkLst>
        </pc:graphicFrameChg>
      </pc:sldChg>
      <pc:sldChg chg="modSp mod">
        <pc:chgData name="Tami Corson" userId="17b03132-2f21-4edf-a2df-f25c30f43233" providerId="ADAL" clId="{68B14A21-1A54-4054-8C52-4708997AF24A}" dt="2022-04-18T14:31:28.345" v="10989" actId="1076"/>
        <pc:sldMkLst>
          <pc:docMk/>
          <pc:sldMk cId="3210015788" sldId="303"/>
        </pc:sldMkLst>
        <pc:spChg chg="mod">
          <ac:chgData name="Tami Corson" userId="17b03132-2f21-4edf-a2df-f25c30f43233" providerId="ADAL" clId="{68B14A21-1A54-4054-8C52-4708997AF24A}" dt="2022-04-18T14:30:29.691" v="10984" actId="20577"/>
          <ac:spMkLst>
            <pc:docMk/>
            <pc:sldMk cId="3210015788" sldId="303"/>
            <ac:spMk id="7" creationId="{BE7F7455-B913-4524-B9A1-CFE51EA4FDC0}"/>
          </ac:spMkLst>
        </pc:spChg>
        <pc:spChg chg="mod">
          <ac:chgData name="Tami Corson" userId="17b03132-2f21-4edf-a2df-f25c30f43233" providerId="ADAL" clId="{68B14A21-1A54-4054-8C52-4708997AF24A}" dt="2022-04-18T14:30:20.017" v="10968" actId="6549"/>
          <ac:spMkLst>
            <pc:docMk/>
            <pc:sldMk cId="3210015788" sldId="303"/>
            <ac:spMk id="8" creationId="{A19485DD-AF7A-4DC6-9406-74037D209156}"/>
          </ac:spMkLst>
        </pc:spChg>
        <pc:spChg chg="mod">
          <ac:chgData name="Tami Corson" userId="17b03132-2f21-4edf-a2df-f25c30f43233" providerId="ADAL" clId="{68B14A21-1A54-4054-8C52-4708997AF24A}" dt="2022-04-18T13:55:58.722" v="10027" actId="20577"/>
          <ac:spMkLst>
            <pc:docMk/>
            <pc:sldMk cId="3210015788" sldId="303"/>
            <ac:spMk id="15" creationId="{7CB18294-8481-4276-8B40-97E3110A50BA}"/>
          </ac:spMkLst>
        </pc:spChg>
        <pc:spChg chg="mod">
          <ac:chgData name="Tami Corson" userId="17b03132-2f21-4edf-a2df-f25c30f43233" providerId="ADAL" clId="{68B14A21-1A54-4054-8C52-4708997AF24A}" dt="2022-04-18T14:31:28.345" v="10989" actId="1076"/>
          <ac:spMkLst>
            <pc:docMk/>
            <pc:sldMk cId="3210015788" sldId="303"/>
            <ac:spMk id="29" creationId="{9EDE1D44-C442-44A3-A246-C666D0FC9506}"/>
          </ac:spMkLst>
        </pc:spChg>
        <pc:spChg chg="mod">
          <ac:chgData name="Tami Corson" userId="17b03132-2f21-4edf-a2df-f25c30f43233" providerId="ADAL" clId="{68B14A21-1A54-4054-8C52-4708997AF24A}" dt="2022-04-18T14:28:53.840" v="10947" actId="6549"/>
          <ac:spMkLst>
            <pc:docMk/>
            <pc:sldMk cId="3210015788" sldId="303"/>
            <ac:spMk id="30" creationId="{F5E6A857-939B-428F-8E38-79E7432F9239}"/>
          </ac:spMkLst>
        </pc:spChg>
        <pc:spChg chg="mod">
          <ac:chgData name="Tami Corson" userId="17b03132-2f21-4edf-a2df-f25c30f43233" providerId="ADAL" clId="{68B14A21-1A54-4054-8C52-4708997AF24A}" dt="2022-04-05T22:48:28.393" v="6242" actId="20577"/>
          <ac:spMkLst>
            <pc:docMk/>
            <pc:sldMk cId="3210015788" sldId="303"/>
            <ac:spMk id="471" creationId="{00000000-0000-0000-0000-000000000000}"/>
          </ac:spMkLst>
        </pc:spChg>
        <pc:spChg chg="mod">
          <ac:chgData name="Tami Corson" userId="17b03132-2f21-4edf-a2df-f25c30f43233" providerId="ADAL" clId="{68B14A21-1A54-4054-8C52-4708997AF24A}" dt="2022-04-18T14:24:09.289" v="10347" actId="20577"/>
          <ac:spMkLst>
            <pc:docMk/>
            <pc:sldMk cId="3210015788" sldId="303"/>
            <ac:spMk id="482" creationId="{00000000-0000-0000-0000-000000000000}"/>
          </ac:spMkLst>
        </pc:spChg>
        <pc:grpChg chg="mod">
          <ac:chgData name="Tami Corson" userId="17b03132-2f21-4edf-a2df-f25c30f43233" providerId="ADAL" clId="{68B14A21-1A54-4054-8C52-4708997AF24A}" dt="2022-04-18T14:31:24.301" v="10988" actId="1076"/>
          <ac:grpSpMkLst>
            <pc:docMk/>
            <pc:sldMk cId="3210015788" sldId="303"/>
            <ac:grpSpMk id="2" creationId="{5446D027-4741-472B-92E7-05F1C5E0D155}"/>
          </ac:grpSpMkLst>
        </pc:grpChg>
        <pc:graphicFrameChg chg="modGraphic">
          <ac:chgData name="Tami Corson" userId="17b03132-2f21-4edf-a2df-f25c30f43233" providerId="ADAL" clId="{68B14A21-1A54-4054-8C52-4708997AF24A}" dt="2022-04-05T22:48:46.640" v="6261" actId="5793"/>
          <ac:graphicFrameMkLst>
            <pc:docMk/>
            <pc:sldMk cId="3210015788" sldId="303"/>
            <ac:graphicFrameMk id="488" creationId="{00000000-0000-0000-0000-000000000000}"/>
          </ac:graphicFrameMkLst>
        </pc:graphicFrameChg>
        <pc:cxnChg chg="mod">
          <ac:chgData name="Tami Corson" userId="17b03132-2f21-4edf-a2df-f25c30f43233" providerId="ADAL" clId="{68B14A21-1A54-4054-8C52-4708997AF24A}" dt="2022-04-18T14:30:53.665" v="10986" actId="1076"/>
          <ac:cxnSpMkLst>
            <pc:docMk/>
            <pc:sldMk cId="3210015788" sldId="303"/>
            <ac:cxnSpMk id="485" creationId="{00000000-0000-0000-0000-000000000000}"/>
          </ac:cxnSpMkLst>
        </pc:cxnChg>
        <pc:cxnChg chg="mod">
          <ac:chgData name="Tami Corson" userId="17b03132-2f21-4edf-a2df-f25c30f43233" providerId="ADAL" clId="{68B14A21-1A54-4054-8C52-4708997AF24A}" dt="2022-04-18T14:31:03.130" v="10987" actId="1076"/>
          <ac:cxnSpMkLst>
            <pc:docMk/>
            <pc:sldMk cId="3210015788" sldId="303"/>
            <ac:cxnSpMk id="486" creationId="{00000000-0000-0000-0000-000000000000}"/>
          </ac:cxnSpMkLst>
        </pc:cxnChg>
        <pc:cxnChg chg="mod">
          <ac:chgData name="Tami Corson" userId="17b03132-2f21-4edf-a2df-f25c30f43233" providerId="ADAL" clId="{68B14A21-1A54-4054-8C52-4708997AF24A}" dt="2022-04-18T14:30:45.200" v="10985" actId="1076"/>
          <ac:cxnSpMkLst>
            <pc:docMk/>
            <pc:sldMk cId="3210015788" sldId="303"/>
            <ac:cxnSpMk id="487" creationId="{00000000-0000-0000-0000-000000000000}"/>
          </ac:cxnSpMkLst>
        </pc:cxnChg>
      </pc:sldChg>
      <pc:sldChg chg="addSp delSp modSp mod ord">
        <pc:chgData name="Tami Corson" userId="17b03132-2f21-4edf-a2df-f25c30f43233" providerId="ADAL" clId="{68B14A21-1A54-4054-8C52-4708997AF24A}" dt="2022-04-18T17:03:10.371" v="12823"/>
        <pc:sldMkLst>
          <pc:docMk/>
          <pc:sldMk cId="1756389301" sldId="323"/>
        </pc:sldMkLst>
        <pc:spChg chg="mod">
          <ac:chgData name="Tami Corson" userId="17b03132-2f21-4edf-a2df-f25c30f43233" providerId="ADAL" clId="{68B14A21-1A54-4054-8C52-4708997AF24A}" dt="2022-04-05T22:12:11.891" v="2115" actId="20577"/>
          <ac:spMkLst>
            <pc:docMk/>
            <pc:sldMk cId="1756389301" sldId="323"/>
            <ac:spMk id="7" creationId="{5EDFEF76-4A9B-4615-A291-9A3C8D686D4A}"/>
          </ac:spMkLst>
        </pc:spChg>
        <pc:spChg chg="mod">
          <ac:chgData name="Tami Corson" userId="17b03132-2f21-4edf-a2df-f25c30f43233" providerId="ADAL" clId="{68B14A21-1A54-4054-8C52-4708997AF24A}" dt="2022-04-05T22:11:58.736" v="2109" actId="20577"/>
          <ac:spMkLst>
            <pc:docMk/>
            <pc:sldMk cId="1756389301" sldId="323"/>
            <ac:spMk id="14" creationId="{D5AFD166-FDA5-49D0-9503-A4D355EE3E78}"/>
          </ac:spMkLst>
        </pc:spChg>
        <pc:spChg chg="mod">
          <ac:chgData name="Tami Corson" userId="17b03132-2f21-4edf-a2df-f25c30f43233" providerId="ADAL" clId="{68B14A21-1A54-4054-8C52-4708997AF24A}" dt="2022-04-05T22:11:13.373" v="1975" actId="3626"/>
          <ac:spMkLst>
            <pc:docMk/>
            <pc:sldMk cId="1756389301" sldId="323"/>
            <ac:spMk id="15" creationId="{9C4A17CE-EF6F-4ED7-ADC1-9CEE9825B750}"/>
          </ac:spMkLst>
        </pc:spChg>
        <pc:spChg chg="del">
          <ac:chgData name="Tami Corson" userId="17b03132-2f21-4edf-a2df-f25c30f43233" providerId="ADAL" clId="{68B14A21-1A54-4054-8C52-4708997AF24A}" dt="2022-04-05T22:11:26.374" v="2061" actId="478"/>
          <ac:spMkLst>
            <pc:docMk/>
            <pc:sldMk cId="1756389301" sldId="323"/>
            <ac:spMk id="16" creationId="{8F0CA37A-B6EB-4A17-9D52-2FBB285889D0}"/>
          </ac:spMkLst>
        </pc:spChg>
        <pc:spChg chg="add mod">
          <ac:chgData name="Tami Corson" userId="17b03132-2f21-4edf-a2df-f25c30f43233" providerId="ADAL" clId="{68B14A21-1A54-4054-8C52-4708997AF24A}" dt="2022-04-05T22:11:44.032" v="2064"/>
          <ac:spMkLst>
            <pc:docMk/>
            <pc:sldMk cId="1756389301" sldId="323"/>
            <ac:spMk id="17" creationId="{9B4E1B82-264F-413F-B032-EB1C242C8B8A}"/>
          </ac:spMkLst>
        </pc:spChg>
        <pc:spChg chg="mod">
          <ac:chgData name="Tami Corson" userId="17b03132-2f21-4edf-a2df-f25c30f43233" providerId="ADAL" clId="{68B14A21-1A54-4054-8C52-4708997AF24A}" dt="2022-04-05T22:11:22.004" v="2060" actId="20577"/>
          <ac:spMkLst>
            <pc:docMk/>
            <pc:sldMk cId="1756389301" sldId="323"/>
            <ac:spMk id="651" creationId="{00000000-0000-0000-0000-000000000000}"/>
          </ac:spMkLst>
        </pc:spChg>
        <pc:picChg chg="del">
          <ac:chgData name="Tami Corson" userId="17b03132-2f21-4edf-a2df-f25c30f43233" providerId="ADAL" clId="{68B14A21-1A54-4054-8C52-4708997AF24A}" dt="2022-04-05T22:11:46.576" v="2065" actId="478"/>
          <ac:picMkLst>
            <pc:docMk/>
            <pc:sldMk cId="1756389301" sldId="323"/>
            <ac:picMk id="8" creationId="{785988DC-4B70-4B83-AFED-79E89CF52FB3}"/>
          </ac:picMkLst>
        </pc:picChg>
        <pc:picChg chg="del">
          <ac:chgData name="Tami Corson" userId="17b03132-2f21-4edf-a2df-f25c30f43233" providerId="ADAL" clId="{68B14A21-1A54-4054-8C52-4708997AF24A}" dt="2022-04-05T22:11:48.998" v="2066" actId="478"/>
          <ac:picMkLst>
            <pc:docMk/>
            <pc:sldMk cId="1756389301" sldId="323"/>
            <ac:picMk id="10" creationId="{37E5AC81-5941-4702-87D9-892EEDC46324}"/>
          </ac:picMkLst>
        </pc:picChg>
      </pc:sldChg>
      <pc:sldChg chg="addSp delSp modSp mod">
        <pc:chgData name="Tami Corson" userId="17b03132-2f21-4edf-a2df-f25c30f43233" providerId="ADAL" clId="{68B14A21-1A54-4054-8C52-4708997AF24A}" dt="2022-04-18T21:33:44.065" v="15681" actId="1076"/>
        <pc:sldMkLst>
          <pc:docMk/>
          <pc:sldMk cId="3720673345" sldId="336"/>
        </pc:sldMkLst>
        <pc:spChg chg="mod">
          <ac:chgData name="Tami Corson" userId="17b03132-2f21-4edf-a2df-f25c30f43233" providerId="ADAL" clId="{68B14A21-1A54-4054-8C52-4708997AF24A}" dt="2022-04-18T17:38:28.468" v="14754" actId="313"/>
          <ac:spMkLst>
            <pc:docMk/>
            <pc:sldMk cId="3720673345" sldId="336"/>
            <ac:spMk id="2" creationId="{1A6EA402-E1F1-9D58-80BB-66A95B672865}"/>
          </ac:spMkLst>
        </pc:spChg>
        <pc:spChg chg="del mod">
          <ac:chgData name="Tami Corson" userId="17b03132-2f21-4edf-a2df-f25c30f43233" providerId="ADAL" clId="{68B14A21-1A54-4054-8C52-4708997AF24A}" dt="2022-04-05T22:07:03.320" v="1344" actId="478"/>
          <ac:spMkLst>
            <pc:docMk/>
            <pc:sldMk cId="3720673345" sldId="336"/>
            <ac:spMk id="5" creationId="{F9234196-FD9F-0245-3D15-9CAC8C82146D}"/>
          </ac:spMkLst>
        </pc:spChg>
        <pc:spChg chg="mod">
          <ac:chgData name="Tami Corson" userId="17b03132-2f21-4edf-a2df-f25c30f43233" providerId="ADAL" clId="{68B14A21-1A54-4054-8C52-4708997AF24A}" dt="2022-04-05T22:07:36.024" v="1370" actId="20577"/>
          <ac:spMkLst>
            <pc:docMk/>
            <pc:sldMk cId="3720673345" sldId="336"/>
            <ac:spMk id="11" creationId="{B8747EB6-5160-4889-A9E1-0A810192FC7B}"/>
          </ac:spMkLst>
        </pc:spChg>
        <pc:spChg chg="mod">
          <ac:chgData name="Tami Corson" userId="17b03132-2f21-4edf-a2df-f25c30f43233" providerId="ADAL" clId="{68B14A21-1A54-4054-8C52-4708997AF24A}" dt="2022-04-18T17:49:15.882" v="14808" actId="6549"/>
          <ac:spMkLst>
            <pc:docMk/>
            <pc:sldMk cId="3720673345" sldId="336"/>
            <ac:spMk id="12" creationId="{2A18C4E8-C461-494D-81E4-7EB6C08B7B32}"/>
          </ac:spMkLst>
        </pc:spChg>
        <pc:spChg chg="add mod">
          <ac:chgData name="Tami Corson" userId="17b03132-2f21-4edf-a2df-f25c30f43233" providerId="ADAL" clId="{68B14A21-1A54-4054-8C52-4708997AF24A}" dt="2022-04-05T22:07:28.281" v="1364" actId="20577"/>
          <ac:spMkLst>
            <pc:docMk/>
            <pc:sldMk cId="3720673345" sldId="336"/>
            <ac:spMk id="14" creationId="{59B9098F-2628-4EF5-89DD-EDEFBCFB2940}"/>
          </ac:spMkLst>
        </pc:spChg>
        <pc:spChg chg="mod">
          <ac:chgData name="Tami Corson" userId="17b03132-2f21-4edf-a2df-f25c30f43233" providerId="ADAL" clId="{68B14A21-1A54-4054-8C52-4708997AF24A}" dt="2022-04-18T17:31:41.920" v="14434"/>
          <ac:spMkLst>
            <pc:docMk/>
            <pc:sldMk cId="3720673345" sldId="336"/>
            <ac:spMk id="15" creationId="{7A0F02D8-9C6A-4E09-ABA3-A2E232163C72}"/>
          </ac:spMkLst>
        </pc:spChg>
        <pc:spChg chg="mod">
          <ac:chgData name="Tami Corson" userId="17b03132-2f21-4edf-a2df-f25c30f43233" providerId="ADAL" clId="{68B14A21-1A54-4054-8C52-4708997AF24A}" dt="2022-04-18T17:31:41.920" v="14434"/>
          <ac:spMkLst>
            <pc:docMk/>
            <pc:sldMk cId="3720673345" sldId="336"/>
            <ac:spMk id="16" creationId="{90219DD2-CC9C-4511-B6EF-59339F2E8C32}"/>
          </ac:spMkLst>
        </pc:spChg>
        <pc:spChg chg="mod">
          <ac:chgData name="Tami Corson" userId="17b03132-2f21-4edf-a2df-f25c30f43233" providerId="ADAL" clId="{68B14A21-1A54-4054-8C52-4708997AF24A}" dt="2022-04-18T17:32:12.790" v="14439"/>
          <ac:spMkLst>
            <pc:docMk/>
            <pc:sldMk cId="3720673345" sldId="336"/>
            <ac:spMk id="18" creationId="{ED102F7D-1ACC-4193-80E0-DF80CA59302B}"/>
          </ac:spMkLst>
        </pc:spChg>
        <pc:spChg chg="mod">
          <ac:chgData name="Tami Corson" userId="17b03132-2f21-4edf-a2df-f25c30f43233" providerId="ADAL" clId="{68B14A21-1A54-4054-8C52-4708997AF24A}" dt="2022-04-18T17:32:12.790" v="14439"/>
          <ac:spMkLst>
            <pc:docMk/>
            <pc:sldMk cId="3720673345" sldId="336"/>
            <ac:spMk id="19" creationId="{DB9FDF86-E71E-4512-AA5B-7D070AFA145B}"/>
          </ac:spMkLst>
        </pc:spChg>
        <pc:spChg chg="mod">
          <ac:chgData name="Tami Corson" userId="17b03132-2f21-4edf-a2df-f25c30f43233" providerId="ADAL" clId="{68B14A21-1A54-4054-8C52-4708997AF24A}" dt="2022-04-18T17:32:26.940" v="14440"/>
          <ac:spMkLst>
            <pc:docMk/>
            <pc:sldMk cId="3720673345" sldId="336"/>
            <ac:spMk id="23" creationId="{9D228F6C-A9CC-4A23-B9AE-2CB7707DF80F}"/>
          </ac:spMkLst>
        </pc:spChg>
        <pc:spChg chg="mod">
          <ac:chgData name="Tami Corson" userId="17b03132-2f21-4edf-a2df-f25c30f43233" providerId="ADAL" clId="{68B14A21-1A54-4054-8C52-4708997AF24A}" dt="2022-04-18T17:32:26.940" v="14440"/>
          <ac:spMkLst>
            <pc:docMk/>
            <pc:sldMk cId="3720673345" sldId="336"/>
            <ac:spMk id="24" creationId="{3618B1B6-794D-4E00-818D-3429C5DB7D1F}"/>
          </ac:spMkLst>
        </pc:spChg>
        <pc:spChg chg="mod">
          <ac:chgData name="Tami Corson" userId="17b03132-2f21-4edf-a2df-f25c30f43233" providerId="ADAL" clId="{68B14A21-1A54-4054-8C52-4708997AF24A}" dt="2022-04-18T17:32:55.340" v="14443"/>
          <ac:spMkLst>
            <pc:docMk/>
            <pc:sldMk cId="3720673345" sldId="336"/>
            <ac:spMk id="26" creationId="{32ECCC79-9515-4A87-AC22-D5CDB6812382}"/>
          </ac:spMkLst>
        </pc:spChg>
        <pc:spChg chg="mod">
          <ac:chgData name="Tami Corson" userId="17b03132-2f21-4edf-a2df-f25c30f43233" providerId="ADAL" clId="{68B14A21-1A54-4054-8C52-4708997AF24A}" dt="2022-04-18T17:32:55.340" v="14443"/>
          <ac:spMkLst>
            <pc:docMk/>
            <pc:sldMk cId="3720673345" sldId="336"/>
            <ac:spMk id="27" creationId="{F1EEA2E4-1754-4C80-882D-8E1233467FCD}"/>
          </ac:spMkLst>
        </pc:spChg>
        <pc:spChg chg="mod">
          <ac:chgData name="Tami Corson" userId="17b03132-2f21-4edf-a2df-f25c30f43233" providerId="ADAL" clId="{68B14A21-1A54-4054-8C52-4708997AF24A}" dt="2022-04-18T16:49:12.377" v="12182" actId="6549"/>
          <ac:spMkLst>
            <pc:docMk/>
            <pc:sldMk cId="3720673345" sldId="336"/>
            <ac:spMk id="616" creationId="{00000000-0000-0000-0000-000000000000}"/>
          </ac:spMkLst>
        </pc:spChg>
        <pc:grpChg chg="del">
          <ac:chgData name="Tami Corson" userId="17b03132-2f21-4edf-a2df-f25c30f43233" providerId="ADAL" clId="{68B14A21-1A54-4054-8C52-4708997AF24A}" dt="2022-04-18T17:32:04.486" v="14436" actId="478"/>
          <ac:grpSpMkLst>
            <pc:docMk/>
            <pc:sldMk cId="3720673345" sldId="336"/>
            <ac:grpSpMk id="9" creationId="{05E19E48-B4E9-449E-A058-92E5CEAB7640}"/>
          </ac:grpSpMkLst>
        </pc:grpChg>
        <pc:grpChg chg="add del mod">
          <ac:chgData name="Tami Corson" userId="17b03132-2f21-4edf-a2df-f25c30f43233" providerId="ADAL" clId="{68B14A21-1A54-4054-8C52-4708997AF24A}" dt="2022-04-18T17:32:11.553" v="14438" actId="478"/>
          <ac:grpSpMkLst>
            <pc:docMk/>
            <pc:sldMk cId="3720673345" sldId="336"/>
            <ac:grpSpMk id="13" creationId="{12594349-9D78-4276-B198-AF5AE3ED6129}"/>
          </ac:grpSpMkLst>
        </pc:grpChg>
        <pc:grpChg chg="add del mod">
          <ac:chgData name="Tami Corson" userId="17b03132-2f21-4edf-a2df-f25c30f43233" providerId="ADAL" clId="{68B14A21-1A54-4054-8C52-4708997AF24A}" dt="2022-04-18T17:32:34.579" v="14442" actId="478"/>
          <ac:grpSpMkLst>
            <pc:docMk/>
            <pc:sldMk cId="3720673345" sldId="336"/>
            <ac:grpSpMk id="17" creationId="{238ED233-1389-4E28-A0C6-08065402CEAD}"/>
          </ac:grpSpMkLst>
        </pc:grpChg>
        <pc:grpChg chg="add mod">
          <ac:chgData name="Tami Corson" userId="17b03132-2f21-4edf-a2df-f25c30f43233" providerId="ADAL" clId="{68B14A21-1A54-4054-8C52-4708997AF24A}" dt="2022-04-18T17:32:26.940" v="14440"/>
          <ac:grpSpMkLst>
            <pc:docMk/>
            <pc:sldMk cId="3720673345" sldId="336"/>
            <ac:grpSpMk id="22" creationId="{E4160E5C-A9CF-4FF0-B104-181C5EB04A46}"/>
          </ac:grpSpMkLst>
        </pc:grpChg>
        <pc:grpChg chg="add mod">
          <ac:chgData name="Tami Corson" userId="17b03132-2f21-4edf-a2df-f25c30f43233" providerId="ADAL" clId="{68B14A21-1A54-4054-8C52-4708997AF24A}" dt="2022-04-18T17:33:03.340" v="14444" actId="1076"/>
          <ac:grpSpMkLst>
            <pc:docMk/>
            <pc:sldMk cId="3720673345" sldId="336"/>
            <ac:grpSpMk id="25" creationId="{19FA68F1-91E8-41EB-9653-003E63010358}"/>
          </ac:grpSpMkLst>
        </pc:grpChg>
        <pc:picChg chg="del">
          <ac:chgData name="Tami Corson" userId="17b03132-2f21-4edf-a2df-f25c30f43233" providerId="ADAL" clId="{68B14A21-1A54-4054-8C52-4708997AF24A}" dt="2022-04-05T22:06:33.371" v="1150" actId="478"/>
          <ac:picMkLst>
            <pc:docMk/>
            <pc:sldMk cId="3720673345" sldId="336"/>
            <ac:picMk id="3" creationId="{B724F98D-FF1B-BCB1-E2C4-E208C15BF35F}"/>
          </ac:picMkLst>
        </pc:picChg>
        <pc:picChg chg="del">
          <ac:chgData name="Tami Corson" userId="17b03132-2f21-4edf-a2df-f25c30f43233" providerId="ADAL" clId="{68B14A21-1A54-4054-8C52-4708997AF24A}" dt="2022-04-05T22:06:31.427" v="1149" actId="478"/>
          <ac:picMkLst>
            <pc:docMk/>
            <pc:sldMk cId="3720673345" sldId="336"/>
            <ac:picMk id="4" creationId="{09CA8A60-BBAA-9446-D21F-66F43DA127B3}"/>
          </ac:picMkLst>
        </pc:picChg>
        <pc:picChg chg="del">
          <ac:chgData name="Tami Corson" userId="17b03132-2f21-4edf-a2df-f25c30f43233" providerId="ADAL" clId="{68B14A21-1A54-4054-8C52-4708997AF24A}" dt="2022-04-18T21:33:18.499" v="15675" actId="478"/>
          <ac:picMkLst>
            <pc:docMk/>
            <pc:sldMk cId="3720673345" sldId="336"/>
            <ac:picMk id="5" creationId="{C8255192-308F-71AE-7F55-805D8CAF929B}"/>
          </ac:picMkLst>
        </pc:picChg>
        <pc:picChg chg="mod">
          <ac:chgData name="Tami Corson" userId="17b03132-2f21-4edf-a2df-f25c30f43233" providerId="ADAL" clId="{68B14A21-1A54-4054-8C52-4708997AF24A}" dt="2022-04-18T21:33:41.036" v="15680" actId="1076"/>
          <ac:picMkLst>
            <pc:docMk/>
            <pc:sldMk cId="3720673345" sldId="336"/>
            <ac:picMk id="6" creationId="{AE5C0E55-70AC-1F15-A92B-02C62068F4FC}"/>
          </ac:picMkLst>
        </pc:picChg>
        <pc:picChg chg="del">
          <ac:chgData name="Tami Corson" userId="17b03132-2f21-4edf-a2df-f25c30f43233" providerId="ADAL" clId="{68B14A21-1A54-4054-8C52-4708997AF24A}" dt="2022-04-05T22:06:29.626" v="1148" actId="478"/>
          <ac:picMkLst>
            <pc:docMk/>
            <pc:sldMk cId="3720673345" sldId="336"/>
            <ac:picMk id="6" creationId="{C960AA0D-8A45-1E16-84E3-8E85DDC162F3}"/>
          </ac:picMkLst>
        </pc:picChg>
        <pc:picChg chg="add mod">
          <ac:chgData name="Tami Corson" userId="17b03132-2f21-4edf-a2df-f25c30f43233" providerId="ADAL" clId="{68B14A21-1A54-4054-8C52-4708997AF24A}" dt="2022-04-18T21:33:44.065" v="15681" actId="1076"/>
          <ac:picMkLst>
            <pc:docMk/>
            <pc:sldMk cId="3720673345" sldId="336"/>
            <ac:picMk id="8" creationId="{BC5714B0-CF26-4B11-B42D-0D84AED57A5C}"/>
          </ac:picMkLst>
        </pc:picChg>
      </pc:sldChg>
      <pc:sldChg chg="addSp delSp modSp mod ord">
        <pc:chgData name="Tami Corson" userId="17b03132-2f21-4edf-a2df-f25c30f43233" providerId="ADAL" clId="{68B14A21-1A54-4054-8C52-4708997AF24A}" dt="2022-04-19T00:03:10.247" v="15952" actId="478"/>
        <pc:sldMkLst>
          <pc:docMk/>
          <pc:sldMk cId="1209993513" sldId="338"/>
        </pc:sldMkLst>
        <pc:spChg chg="mod">
          <ac:chgData name="Tami Corson" userId="17b03132-2f21-4edf-a2df-f25c30f43233" providerId="ADAL" clId="{68B14A21-1A54-4054-8C52-4708997AF24A}" dt="2022-04-05T22:09:38.725" v="1808" actId="20577"/>
          <ac:spMkLst>
            <pc:docMk/>
            <pc:sldMk cId="1209993513" sldId="338"/>
            <ac:spMk id="3" creationId="{AC311647-2B4D-4E6C-81D1-9F8580567C0E}"/>
          </ac:spMkLst>
        </pc:spChg>
        <pc:spChg chg="del mod">
          <ac:chgData name="Tami Corson" userId="17b03132-2f21-4edf-a2df-f25c30f43233" providerId="ADAL" clId="{68B14A21-1A54-4054-8C52-4708997AF24A}" dt="2022-04-19T00:03:10.247" v="15952" actId="478"/>
          <ac:spMkLst>
            <pc:docMk/>
            <pc:sldMk cId="1209993513" sldId="338"/>
            <ac:spMk id="4" creationId="{47425AA6-5A12-2FC0-F10B-5FC1B86092B6}"/>
          </ac:spMkLst>
        </pc:spChg>
        <pc:spChg chg="mod">
          <ac:chgData name="Tami Corson" userId="17b03132-2f21-4edf-a2df-f25c30f43233" providerId="ADAL" clId="{68B14A21-1A54-4054-8C52-4708997AF24A}" dt="2022-04-18T17:02:03.564" v="12813"/>
          <ac:spMkLst>
            <pc:docMk/>
            <pc:sldMk cId="1209993513" sldId="338"/>
            <ac:spMk id="14" creationId="{944DA956-9A2D-493C-8D98-EB7CB3D3ACF8}"/>
          </ac:spMkLst>
        </pc:spChg>
        <pc:spChg chg="mod">
          <ac:chgData name="Tami Corson" userId="17b03132-2f21-4edf-a2df-f25c30f43233" providerId="ADAL" clId="{68B14A21-1A54-4054-8C52-4708997AF24A}" dt="2022-04-18T17:02:03.564" v="12813"/>
          <ac:spMkLst>
            <pc:docMk/>
            <pc:sldMk cId="1209993513" sldId="338"/>
            <ac:spMk id="15" creationId="{32BC12B7-C623-4ECE-8891-31D36A77E6B5}"/>
          </ac:spMkLst>
        </pc:spChg>
        <pc:spChg chg="del mod">
          <ac:chgData name="Tami Corson" userId="17b03132-2f21-4edf-a2df-f25c30f43233" providerId="ADAL" clId="{68B14A21-1A54-4054-8C52-4708997AF24A}" dt="2022-04-18T23:54:06.034" v="15947" actId="478"/>
          <ac:spMkLst>
            <pc:docMk/>
            <pc:sldMk cId="1209993513" sldId="338"/>
            <ac:spMk id="16" creationId="{F29BBF2D-5F15-45EC-BE2A-14ABF1E18DB5}"/>
          </ac:spMkLst>
        </pc:spChg>
        <pc:spChg chg="mod">
          <ac:chgData name="Tami Corson" userId="17b03132-2f21-4edf-a2df-f25c30f43233" providerId="ADAL" clId="{68B14A21-1A54-4054-8C52-4708997AF24A}" dt="2022-04-18T17:10:03.209" v="13106" actId="255"/>
          <ac:spMkLst>
            <pc:docMk/>
            <pc:sldMk cId="1209993513" sldId="338"/>
            <ac:spMk id="601" creationId="{00000000-0000-0000-0000-000000000000}"/>
          </ac:spMkLst>
        </pc:spChg>
        <pc:spChg chg="mod">
          <ac:chgData name="Tami Corson" userId="17b03132-2f21-4edf-a2df-f25c30f43233" providerId="ADAL" clId="{68B14A21-1A54-4054-8C52-4708997AF24A}" dt="2022-04-18T17:01:32.959" v="12811" actId="20577"/>
          <ac:spMkLst>
            <pc:docMk/>
            <pc:sldMk cId="1209993513" sldId="338"/>
            <ac:spMk id="604" creationId="{00000000-0000-0000-0000-000000000000}"/>
          </ac:spMkLst>
        </pc:spChg>
        <pc:spChg chg="mod">
          <ac:chgData name="Tami Corson" userId="17b03132-2f21-4edf-a2df-f25c30f43233" providerId="ADAL" clId="{68B14A21-1A54-4054-8C52-4708997AF24A}" dt="2022-04-18T17:50:28.616" v="14820" actId="20577"/>
          <ac:spMkLst>
            <pc:docMk/>
            <pc:sldMk cId="1209993513" sldId="338"/>
            <ac:spMk id="605" creationId="{00000000-0000-0000-0000-000000000000}"/>
          </ac:spMkLst>
        </pc:spChg>
        <pc:spChg chg="mod">
          <ac:chgData name="Tami Corson" userId="17b03132-2f21-4edf-a2df-f25c30f43233" providerId="ADAL" clId="{68B14A21-1A54-4054-8C52-4708997AF24A}" dt="2022-04-18T21:30:09.283" v="15672" actId="313"/>
          <ac:spMkLst>
            <pc:docMk/>
            <pc:sldMk cId="1209993513" sldId="338"/>
            <ac:spMk id="609" creationId="{00000000-0000-0000-0000-000000000000}"/>
          </ac:spMkLst>
        </pc:spChg>
        <pc:grpChg chg="add mod">
          <ac:chgData name="Tami Corson" userId="17b03132-2f21-4edf-a2df-f25c30f43233" providerId="ADAL" clId="{68B14A21-1A54-4054-8C52-4708997AF24A}" dt="2022-04-18T17:02:03.564" v="12813"/>
          <ac:grpSpMkLst>
            <pc:docMk/>
            <pc:sldMk cId="1209993513" sldId="338"/>
            <ac:grpSpMk id="13" creationId="{1B61C508-F71D-4533-A542-026E129D5ACA}"/>
          </ac:grpSpMkLst>
        </pc:grpChg>
        <pc:grpChg chg="del">
          <ac:chgData name="Tami Corson" userId="17b03132-2f21-4edf-a2df-f25c30f43233" providerId="ADAL" clId="{68B14A21-1A54-4054-8C52-4708997AF24A}" dt="2022-04-18T17:02:02.265" v="12812" actId="478"/>
          <ac:grpSpMkLst>
            <pc:docMk/>
            <pc:sldMk cId="1209993513" sldId="338"/>
            <ac:grpSpMk id="602" creationId="{00000000-0000-0000-0000-000000000000}"/>
          </ac:grpSpMkLst>
        </pc:grpChg>
        <pc:picChg chg="del">
          <ac:chgData name="Tami Corson" userId="17b03132-2f21-4edf-a2df-f25c30f43233" providerId="ADAL" clId="{68B14A21-1A54-4054-8C52-4708997AF24A}" dt="2022-04-05T22:08:28.998" v="1571" actId="478"/>
          <ac:picMkLst>
            <pc:docMk/>
            <pc:sldMk cId="1209993513" sldId="338"/>
            <ac:picMk id="6" creationId="{6018BBB5-6794-AEE2-EA2A-9D3DB1FBF604}"/>
          </ac:picMkLst>
        </pc:picChg>
        <pc:picChg chg="add mod modCrop">
          <ac:chgData name="Tami Corson" userId="17b03132-2f21-4edf-a2df-f25c30f43233" providerId="ADAL" clId="{68B14A21-1A54-4054-8C52-4708997AF24A}" dt="2022-04-18T23:54:25.274" v="15950" actId="1076"/>
          <ac:picMkLst>
            <pc:docMk/>
            <pc:sldMk cId="1209993513" sldId="338"/>
            <ac:picMk id="6" creationId="{D5E314D8-DE5E-4712-A6CB-CB8ACFF0F13C}"/>
          </ac:picMkLst>
        </pc:picChg>
      </pc:sldChg>
      <pc:sldChg chg="addSp delSp modSp mod">
        <pc:chgData name="Tami Corson" userId="17b03132-2f21-4edf-a2df-f25c30f43233" providerId="ADAL" clId="{68B14A21-1A54-4054-8C52-4708997AF24A}" dt="2022-04-18T13:08:08.230" v="7732" actId="20577"/>
        <pc:sldMkLst>
          <pc:docMk/>
          <pc:sldMk cId="2486721525" sldId="341"/>
        </pc:sldMkLst>
        <pc:spChg chg="add del mod">
          <ac:chgData name="Tami Corson" userId="17b03132-2f21-4edf-a2df-f25c30f43233" providerId="ADAL" clId="{68B14A21-1A54-4054-8C52-4708997AF24A}" dt="2022-04-18T13:02:01.910" v="7617" actId="478"/>
          <ac:spMkLst>
            <pc:docMk/>
            <pc:sldMk cId="2486721525" sldId="341"/>
            <ac:spMk id="4" creationId="{76A3DEA3-A099-4546-B2A0-272BF60C9FAE}"/>
          </ac:spMkLst>
        </pc:spChg>
        <pc:spChg chg="mod">
          <ac:chgData name="Tami Corson" userId="17b03132-2f21-4edf-a2df-f25c30f43233" providerId="ADAL" clId="{68B14A21-1A54-4054-8C52-4708997AF24A}" dt="2022-04-05T21:59:35.748" v="103" actId="20577"/>
          <ac:spMkLst>
            <pc:docMk/>
            <pc:sldMk cId="2486721525" sldId="341"/>
            <ac:spMk id="94" creationId="{E31314A6-B11D-4476-9803-2FB49A1BD625}"/>
          </ac:spMkLst>
        </pc:spChg>
        <pc:spChg chg="mod">
          <ac:chgData name="Tami Corson" userId="17b03132-2f21-4edf-a2df-f25c30f43233" providerId="ADAL" clId="{68B14A21-1A54-4054-8C52-4708997AF24A}" dt="2022-04-18T13:07:30.790" v="7645" actId="403"/>
          <ac:spMkLst>
            <pc:docMk/>
            <pc:sldMk cId="2486721525" sldId="341"/>
            <ac:spMk id="100" creationId="{5947DC3C-0898-F15B-1FFF-22C2270AF5A5}"/>
          </ac:spMkLst>
        </pc:spChg>
        <pc:spChg chg="mod">
          <ac:chgData name="Tami Corson" userId="17b03132-2f21-4edf-a2df-f25c30f43233" providerId="ADAL" clId="{68B14A21-1A54-4054-8C52-4708997AF24A}" dt="2022-04-18T13:07:30.790" v="7645" actId="403"/>
          <ac:spMkLst>
            <pc:docMk/>
            <pc:sldMk cId="2486721525" sldId="341"/>
            <ac:spMk id="101" creationId="{C490854A-3705-D3C2-CB0B-CA528B8E7892}"/>
          </ac:spMkLst>
        </pc:spChg>
        <pc:spChg chg="mod">
          <ac:chgData name="Tami Corson" userId="17b03132-2f21-4edf-a2df-f25c30f43233" providerId="ADAL" clId="{68B14A21-1A54-4054-8C52-4708997AF24A}" dt="2022-04-18T13:07:30.790" v="7645" actId="403"/>
          <ac:spMkLst>
            <pc:docMk/>
            <pc:sldMk cId="2486721525" sldId="341"/>
            <ac:spMk id="102" creationId="{1A6A5D54-4780-E7F1-2C5A-B261190E065C}"/>
          </ac:spMkLst>
        </pc:spChg>
        <pc:spChg chg="mod">
          <ac:chgData name="Tami Corson" userId="17b03132-2f21-4edf-a2df-f25c30f43233" providerId="ADAL" clId="{68B14A21-1A54-4054-8C52-4708997AF24A}" dt="2022-04-18T13:07:30.790" v="7645" actId="403"/>
          <ac:spMkLst>
            <pc:docMk/>
            <pc:sldMk cId="2486721525" sldId="341"/>
            <ac:spMk id="103" creationId="{B04D06FE-476F-DCF7-C3DF-A504A11C4BB5}"/>
          </ac:spMkLst>
        </pc:spChg>
        <pc:spChg chg="mod">
          <ac:chgData name="Tami Corson" userId="17b03132-2f21-4edf-a2df-f25c30f43233" providerId="ADAL" clId="{68B14A21-1A54-4054-8C52-4708997AF24A}" dt="2022-04-18T13:07:30.790" v="7645" actId="403"/>
          <ac:spMkLst>
            <pc:docMk/>
            <pc:sldMk cId="2486721525" sldId="341"/>
            <ac:spMk id="104" creationId="{101460AC-09E4-C2F8-07D6-6ADD36E67708}"/>
          </ac:spMkLst>
        </pc:spChg>
        <pc:spChg chg="mod">
          <ac:chgData name="Tami Corson" userId="17b03132-2f21-4edf-a2df-f25c30f43233" providerId="ADAL" clId="{68B14A21-1A54-4054-8C52-4708997AF24A}" dt="2022-04-18T13:07:30.790" v="7645" actId="403"/>
          <ac:spMkLst>
            <pc:docMk/>
            <pc:sldMk cId="2486721525" sldId="341"/>
            <ac:spMk id="116" creationId="{473E579E-3692-41BD-8D3D-A49F032BB7D1}"/>
          </ac:spMkLst>
        </pc:spChg>
        <pc:spChg chg="mod">
          <ac:chgData name="Tami Corson" userId="17b03132-2f21-4edf-a2df-f25c30f43233" providerId="ADAL" clId="{68B14A21-1A54-4054-8C52-4708997AF24A}" dt="2022-04-18T13:07:30.790" v="7645" actId="403"/>
          <ac:spMkLst>
            <pc:docMk/>
            <pc:sldMk cId="2486721525" sldId="341"/>
            <ac:spMk id="117" creationId="{E2FD5C6C-CA12-4E89-9D17-227059EEB7D4}"/>
          </ac:spMkLst>
        </pc:spChg>
        <pc:spChg chg="mod">
          <ac:chgData name="Tami Corson" userId="17b03132-2f21-4edf-a2df-f25c30f43233" providerId="ADAL" clId="{68B14A21-1A54-4054-8C52-4708997AF24A}" dt="2022-04-18T13:07:30.790" v="7645" actId="403"/>
          <ac:spMkLst>
            <pc:docMk/>
            <pc:sldMk cId="2486721525" sldId="341"/>
            <ac:spMk id="128" creationId="{C61FD168-ED42-4403-BA38-E257254F57EF}"/>
          </ac:spMkLst>
        </pc:spChg>
        <pc:spChg chg="mod">
          <ac:chgData name="Tami Corson" userId="17b03132-2f21-4edf-a2df-f25c30f43233" providerId="ADAL" clId="{68B14A21-1A54-4054-8C52-4708997AF24A}" dt="2022-04-18T13:07:30.790" v="7645" actId="403"/>
          <ac:spMkLst>
            <pc:docMk/>
            <pc:sldMk cId="2486721525" sldId="341"/>
            <ac:spMk id="129" creationId="{679DDD97-7B33-4561-9F37-C9E486FFDBAF}"/>
          </ac:spMkLst>
        </pc:spChg>
        <pc:spChg chg="mod">
          <ac:chgData name="Tami Corson" userId="17b03132-2f21-4edf-a2df-f25c30f43233" providerId="ADAL" clId="{68B14A21-1A54-4054-8C52-4708997AF24A}" dt="2022-04-18T13:07:30.790" v="7645" actId="403"/>
          <ac:spMkLst>
            <pc:docMk/>
            <pc:sldMk cId="2486721525" sldId="341"/>
            <ac:spMk id="137" creationId="{1301D16D-0233-425B-8533-705B8AA7A3FB}"/>
          </ac:spMkLst>
        </pc:spChg>
        <pc:spChg chg="mod">
          <ac:chgData name="Tami Corson" userId="17b03132-2f21-4edf-a2df-f25c30f43233" providerId="ADAL" clId="{68B14A21-1A54-4054-8C52-4708997AF24A}" dt="2022-04-18T13:07:30.790" v="7645" actId="403"/>
          <ac:spMkLst>
            <pc:docMk/>
            <pc:sldMk cId="2486721525" sldId="341"/>
            <ac:spMk id="343" creationId="{00000000-0000-0000-0000-000000000000}"/>
          </ac:spMkLst>
        </pc:spChg>
        <pc:spChg chg="mod">
          <ac:chgData name="Tami Corson" userId="17b03132-2f21-4edf-a2df-f25c30f43233" providerId="ADAL" clId="{68B14A21-1A54-4054-8C52-4708997AF24A}" dt="2022-04-18T13:07:30.790" v="7645" actId="403"/>
          <ac:spMkLst>
            <pc:docMk/>
            <pc:sldMk cId="2486721525" sldId="341"/>
            <ac:spMk id="358" creationId="{00000000-0000-0000-0000-000000000000}"/>
          </ac:spMkLst>
        </pc:spChg>
        <pc:spChg chg="mod">
          <ac:chgData name="Tami Corson" userId="17b03132-2f21-4edf-a2df-f25c30f43233" providerId="ADAL" clId="{68B14A21-1A54-4054-8C52-4708997AF24A}" dt="2022-04-18T13:07:30.790" v="7645" actId="403"/>
          <ac:spMkLst>
            <pc:docMk/>
            <pc:sldMk cId="2486721525" sldId="341"/>
            <ac:spMk id="359" creationId="{00000000-0000-0000-0000-000000000000}"/>
          </ac:spMkLst>
        </pc:spChg>
        <pc:spChg chg="mod">
          <ac:chgData name="Tami Corson" userId="17b03132-2f21-4edf-a2df-f25c30f43233" providerId="ADAL" clId="{68B14A21-1A54-4054-8C52-4708997AF24A}" dt="2022-04-18T13:07:30.790" v="7645" actId="403"/>
          <ac:spMkLst>
            <pc:docMk/>
            <pc:sldMk cId="2486721525" sldId="341"/>
            <ac:spMk id="360" creationId="{00000000-0000-0000-0000-000000000000}"/>
          </ac:spMkLst>
        </pc:spChg>
        <pc:spChg chg="mod">
          <ac:chgData name="Tami Corson" userId="17b03132-2f21-4edf-a2df-f25c30f43233" providerId="ADAL" clId="{68B14A21-1A54-4054-8C52-4708997AF24A}" dt="2022-04-18T13:07:30.790" v="7645" actId="403"/>
          <ac:spMkLst>
            <pc:docMk/>
            <pc:sldMk cId="2486721525" sldId="341"/>
            <ac:spMk id="361" creationId="{00000000-0000-0000-0000-000000000000}"/>
          </ac:spMkLst>
        </pc:spChg>
        <pc:spChg chg="mod">
          <ac:chgData name="Tami Corson" userId="17b03132-2f21-4edf-a2df-f25c30f43233" providerId="ADAL" clId="{68B14A21-1A54-4054-8C52-4708997AF24A}" dt="2022-04-18T13:07:30.790" v="7645" actId="403"/>
          <ac:spMkLst>
            <pc:docMk/>
            <pc:sldMk cId="2486721525" sldId="341"/>
            <ac:spMk id="362" creationId="{00000000-0000-0000-0000-000000000000}"/>
          </ac:spMkLst>
        </pc:spChg>
        <pc:spChg chg="mod">
          <ac:chgData name="Tami Corson" userId="17b03132-2f21-4edf-a2df-f25c30f43233" providerId="ADAL" clId="{68B14A21-1A54-4054-8C52-4708997AF24A}" dt="2022-04-18T13:07:30.790" v="7645" actId="403"/>
          <ac:spMkLst>
            <pc:docMk/>
            <pc:sldMk cId="2486721525" sldId="341"/>
            <ac:spMk id="363" creationId="{00000000-0000-0000-0000-000000000000}"/>
          </ac:spMkLst>
        </pc:spChg>
        <pc:spChg chg="mod">
          <ac:chgData name="Tami Corson" userId="17b03132-2f21-4edf-a2df-f25c30f43233" providerId="ADAL" clId="{68B14A21-1A54-4054-8C52-4708997AF24A}" dt="2022-04-18T13:07:30.790" v="7645" actId="403"/>
          <ac:spMkLst>
            <pc:docMk/>
            <pc:sldMk cId="2486721525" sldId="341"/>
            <ac:spMk id="366" creationId="{00000000-0000-0000-0000-000000000000}"/>
          </ac:spMkLst>
        </pc:spChg>
        <pc:spChg chg="mod">
          <ac:chgData name="Tami Corson" userId="17b03132-2f21-4edf-a2df-f25c30f43233" providerId="ADAL" clId="{68B14A21-1A54-4054-8C52-4708997AF24A}" dt="2022-04-18T13:07:30.790" v="7645" actId="403"/>
          <ac:spMkLst>
            <pc:docMk/>
            <pc:sldMk cId="2486721525" sldId="341"/>
            <ac:spMk id="367" creationId="{00000000-0000-0000-0000-000000000000}"/>
          </ac:spMkLst>
        </pc:spChg>
        <pc:spChg chg="mod">
          <ac:chgData name="Tami Corson" userId="17b03132-2f21-4edf-a2df-f25c30f43233" providerId="ADAL" clId="{68B14A21-1A54-4054-8C52-4708997AF24A}" dt="2022-04-18T13:07:30.790" v="7645" actId="403"/>
          <ac:spMkLst>
            <pc:docMk/>
            <pc:sldMk cId="2486721525" sldId="341"/>
            <ac:spMk id="368" creationId="{00000000-0000-0000-0000-000000000000}"/>
          </ac:spMkLst>
        </pc:spChg>
        <pc:spChg chg="mod">
          <ac:chgData name="Tami Corson" userId="17b03132-2f21-4edf-a2df-f25c30f43233" providerId="ADAL" clId="{68B14A21-1A54-4054-8C52-4708997AF24A}" dt="2022-04-18T13:07:30.790" v="7645" actId="403"/>
          <ac:spMkLst>
            <pc:docMk/>
            <pc:sldMk cId="2486721525" sldId="341"/>
            <ac:spMk id="369" creationId="{00000000-0000-0000-0000-000000000000}"/>
          </ac:spMkLst>
        </pc:spChg>
        <pc:spChg chg="mod">
          <ac:chgData name="Tami Corson" userId="17b03132-2f21-4edf-a2df-f25c30f43233" providerId="ADAL" clId="{68B14A21-1A54-4054-8C52-4708997AF24A}" dt="2022-04-18T13:07:30.790" v="7645" actId="403"/>
          <ac:spMkLst>
            <pc:docMk/>
            <pc:sldMk cId="2486721525" sldId="341"/>
            <ac:spMk id="370" creationId="{00000000-0000-0000-0000-000000000000}"/>
          </ac:spMkLst>
        </pc:spChg>
        <pc:spChg chg="mod">
          <ac:chgData name="Tami Corson" userId="17b03132-2f21-4edf-a2df-f25c30f43233" providerId="ADAL" clId="{68B14A21-1A54-4054-8C52-4708997AF24A}" dt="2022-04-18T13:07:30.790" v="7645" actId="403"/>
          <ac:spMkLst>
            <pc:docMk/>
            <pc:sldMk cId="2486721525" sldId="341"/>
            <ac:spMk id="371" creationId="{00000000-0000-0000-0000-000000000000}"/>
          </ac:spMkLst>
        </pc:spChg>
        <pc:spChg chg="mod">
          <ac:chgData name="Tami Corson" userId="17b03132-2f21-4edf-a2df-f25c30f43233" providerId="ADAL" clId="{68B14A21-1A54-4054-8C52-4708997AF24A}" dt="2022-04-18T13:07:30.790" v="7645" actId="403"/>
          <ac:spMkLst>
            <pc:docMk/>
            <pc:sldMk cId="2486721525" sldId="341"/>
            <ac:spMk id="372" creationId="{00000000-0000-0000-0000-000000000000}"/>
          </ac:spMkLst>
        </pc:spChg>
        <pc:spChg chg="mod">
          <ac:chgData name="Tami Corson" userId="17b03132-2f21-4edf-a2df-f25c30f43233" providerId="ADAL" clId="{68B14A21-1A54-4054-8C52-4708997AF24A}" dt="2022-04-18T13:07:30.790" v="7645" actId="403"/>
          <ac:spMkLst>
            <pc:docMk/>
            <pc:sldMk cId="2486721525" sldId="341"/>
            <ac:spMk id="376" creationId="{00000000-0000-0000-0000-000000000000}"/>
          </ac:spMkLst>
        </pc:spChg>
        <pc:spChg chg="mod">
          <ac:chgData name="Tami Corson" userId="17b03132-2f21-4edf-a2df-f25c30f43233" providerId="ADAL" clId="{68B14A21-1A54-4054-8C52-4708997AF24A}" dt="2022-04-18T13:07:30.790" v="7645" actId="403"/>
          <ac:spMkLst>
            <pc:docMk/>
            <pc:sldMk cId="2486721525" sldId="341"/>
            <ac:spMk id="377" creationId="{00000000-0000-0000-0000-000000000000}"/>
          </ac:spMkLst>
        </pc:spChg>
        <pc:spChg chg="mod">
          <ac:chgData name="Tami Corson" userId="17b03132-2f21-4edf-a2df-f25c30f43233" providerId="ADAL" clId="{68B14A21-1A54-4054-8C52-4708997AF24A}" dt="2022-04-18T13:07:30.790" v="7645" actId="403"/>
          <ac:spMkLst>
            <pc:docMk/>
            <pc:sldMk cId="2486721525" sldId="341"/>
            <ac:spMk id="378" creationId="{00000000-0000-0000-0000-000000000000}"/>
          </ac:spMkLst>
        </pc:spChg>
        <pc:spChg chg="mod">
          <ac:chgData name="Tami Corson" userId="17b03132-2f21-4edf-a2df-f25c30f43233" providerId="ADAL" clId="{68B14A21-1A54-4054-8C52-4708997AF24A}" dt="2022-04-18T13:07:30.790" v="7645" actId="403"/>
          <ac:spMkLst>
            <pc:docMk/>
            <pc:sldMk cId="2486721525" sldId="341"/>
            <ac:spMk id="379" creationId="{00000000-0000-0000-0000-000000000000}"/>
          </ac:spMkLst>
        </pc:spChg>
        <pc:spChg chg="mod">
          <ac:chgData name="Tami Corson" userId="17b03132-2f21-4edf-a2df-f25c30f43233" providerId="ADAL" clId="{68B14A21-1A54-4054-8C52-4708997AF24A}" dt="2022-04-18T13:07:30.790" v="7645" actId="403"/>
          <ac:spMkLst>
            <pc:docMk/>
            <pc:sldMk cId="2486721525" sldId="341"/>
            <ac:spMk id="380" creationId="{00000000-0000-0000-0000-000000000000}"/>
          </ac:spMkLst>
        </pc:spChg>
        <pc:spChg chg="mod">
          <ac:chgData name="Tami Corson" userId="17b03132-2f21-4edf-a2df-f25c30f43233" providerId="ADAL" clId="{68B14A21-1A54-4054-8C52-4708997AF24A}" dt="2022-04-18T13:07:30.790" v="7645" actId="403"/>
          <ac:spMkLst>
            <pc:docMk/>
            <pc:sldMk cId="2486721525" sldId="341"/>
            <ac:spMk id="381" creationId="{00000000-0000-0000-0000-000000000000}"/>
          </ac:spMkLst>
        </pc:spChg>
        <pc:spChg chg="mod">
          <ac:chgData name="Tami Corson" userId="17b03132-2f21-4edf-a2df-f25c30f43233" providerId="ADAL" clId="{68B14A21-1A54-4054-8C52-4708997AF24A}" dt="2022-04-18T13:07:30.790" v="7645" actId="403"/>
          <ac:spMkLst>
            <pc:docMk/>
            <pc:sldMk cId="2486721525" sldId="341"/>
            <ac:spMk id="384" creationId="{00000000-0000-0000-0000-000000000000}"/>
          </ac:spMkLst>
        </pc:spChg>
        <pc:spChg chg="mod">
          <ac:chgData name="Tami Corson" userId="17b03132-2f21-4edf-a2df-f25c30f43233" providerId="ADAL" clId="{68B14A21-1A54-4054-8C52-4708997AF24A}" dt="2022-04-18T13:07:30.790" v="7645" actId="403"/>
          <ac:spMkLst>
            <pc:docMk/>
            <pc:sldMk cId="2486721525" sldId="341"/>
            <ac:spMk id="399" creationId="{00000000-0000-0000-0000-000000000000}"/>
          </ac:spMkLst>
        </pc:spChg>
        <pc:spChg chg="mod">
          <ac:chgData name="Tami Corson" userId="17b03132-2f21-4edf-a2df-f25c30f43233" providerId="ADAL" clId="{68B14A21-1A54-4054-8C52-4708997AF24A}" dt="2022-04-18T13:07:30.790" v="7645" actId="403"/>
          <ac:spMkLst>
            <pc:docMk/>
            <pc:sldMk cId="2486721525" sldId="341"/>
            <ac:spMk id="400" creationId="{00000000-0000-0000-0000-000000000000}"/>
          </ac:spMkLst>
        </pc:spChg>
        <pc:spChg chg="mod">
          <ac:chgData name="Tami Corson" userId="17b03132-2f21-4edf-a2df-f25c30f43233" providerId="ADAL" clId="{68B14A21-1A54-4054-8C52-4708997AF24A}" dt="2022-04-18T13:07:30.790" v="7645" actId="403"/>
          <ac:spMkLst>
            <pc:docMk/>
            <pc:sldMk cId="2486721525" sldId="341"/>
            <ac:spMk id="401" creationId="{00000000-0000-0000-0000-000000000000}"/>
          </ac:spMkLst>
        </pc:spChg>
        <pc:spChg chg="mod">
          <ac:chgData name="Tami Corson" userId="17b03132-2f21-4edf-a2df-f25c30f43233" providerId="ADAL" clId="{68B14A21-1A54-4054-8C52-4708997AF24A}" dt="2022-04-18T13:07:30.790" v="7645" actId="403"/>
          <ac:spMkLst>
            <pc:docMk/>
            <pc:sldMk cId="2486721525" sldId="341"/>
            <ac:spMk id="404" creationId="{00000000-0000-0000-0000-000000000000}"/>
          </ac:spMkLst>
        </pc:spChg>
        <pc:spChg chg="mod">
          <ac:chgData name="Tami Corson" userId="17b03132-2f21-4edf-a2df-f25c30f43233" providerId="ADAL" clId="{68B14A21-1A54-4054-8C52-4708997AF24A}" dt="2022-04-18T13:07:30.790" v="7645" actId="403"/>
          <ac:spMkLst>
            <pc:docMk/>
            <pc:sldMk cId="2486721525" sldId="341"/>
            <ac:spMk id="409" creationId="{00000000-0000-0000-0000-000000000000}"/>
          </ac:spMkLst>
        </pc:spChg>
        <pc:spChg chg="mod">
          <ac:chgData name="Tami Corson" userId="17b03132-2f21-4edf-a2df-f25c30f43233" providerId="ADAL" clId="{68B14A21-1A54-4054-8C52-4708997AF24A}" dt="2022-04-18T13:07:30.790" v="7645" actId="403"/>
          <ac:spMkLst>
            <pc:docMk/>
            <pc:sldMk cId="2486721525" sldId="341"/>
            <ac:spMk id="410" creationId="{00000000-0000-0000-0000-000000000000}"/>
          </ac:spMkLst>
        </pc:spChg>
        <pc:spChg chg="mod">
          <ac:chgData name="Tami Corson" userId="17b03132-2f21-4edf-a2df-f25c30f43233" providerId="ADAL" clId="{68B14A21-1A54-4054-8C52-4708997AF24A}" dt="2022-04-18T13:07:30.790" v="7645" actId="403"/>
          <ac:spMkLst>
            <pc:docMk/>
            <pc:sldMk cId="2486721525" sldId="341"/>
            <ac:spMk id="413" creationId="{00000000-0000-0000-0000-000000000000}"/>
          </ac:spMkLst>
        </pc:spChg>
        <pc:spChg chg="mod">
          <ac:chgData name="Tami Corson" userId="17b03132-2f21-4edf-a2df-f25c30f43233" providerId="ADAL" clId="{68B14A21-1A54-4054-8C52-4708997AF24A}" dt="2022-04-18T13:06:15.756" v="7643" actId="1076"/>
          <ac:spMkLst>
            <pc:docMk/>
            <pc:sldMk cId="2486721525" sldId="341"/>
            <ac:spMk id="416" creationId="{00000000-0000-0000-0000-000000000000}"/>
          </ac:spMkLst>
        </pc:spChg>
        <pc:spChg chg="mod">
          <ac:chgData name="Tami Corson" userId="17b03132-2f21-4edf-a2df-f25c30f43233" providerId="ADAL" clId="{68B14A21-1A54-4054-8C52-4708997AF24A}" dt="2022-04-18T13:07:30.790" v="7645" actId="403"/>
          <ac:spMkLst>
            <pc:docMk/>
            <pc:sldMk cId="2486721525" sldId="341"/>
            <ac:spMk id="417" creationId="{00000000-0000-0000-0000-000000000000}"/>
          </ac:spMkLst>
        </pc:spChg>
        <pc:spChg chg="mod">
          <ac:chgData name="Tami Corson" userId="17b03132-2f21-4edf-a2df-f25c30f43233" providerId="ADAL" clId="{68B14A21-1A54-4054-8C52-4708997AF24A}" dt="2022-04-18T13:07:30.790" v="7645" actId="403"/>
          <ac:spMkLst>
            <pc:docMk/>
            <pc:sldMk cId="2486721525" sldId="341"/>
            <ac:spMk id="426" creationId="{00000000-0000-0000-0000-000000000000}"/>
          </ac:spMkLst>
        </pc:spChg>
        <pc:spChg chg="mod">
          <ac:chgData name="Tami Corson" userId="17b03132-2f21-4edf-a2df-f25c30f43233" providerId="ADAL" clId="{68B14A21-1A54-4054-8C52-4708997AF24A}" dt="2022-04-18T13:07:30.790" v="7645" actId="403"/>
          <ac:spMkLst>
            <pc:docMk/>
            <pc:sldMk cId="2486721525" sldId="341"/>
            <ac:spMk id="430" creationId="{00000000-0000-0000-0000-000000000000}"/>
          </ac:spMkLst>
        </pc:spChg>
        <pc:spChg chg="mod">
          <ac:chgData name="Tami Corson" userId="17b03132-2f21-4edf-a2df-f25c30f43233" providerId="ADAL" clId="{68B14A21-1A54-4054-8C52-4708997AF24A}" dt="2022-04-18T13:07:30.790" v="7645" actId="403"/>
          <ac:spMkLst>
            <pc:docMk/>
            <pc:sldMk cId="2486721525" sldId="341"/>
            <ac:spMk id="431" creationId="{00000000-0000-0000-0000-000000000000}"/>
          </ac:spMkLst>
        </pc:spChg>
        <pc:spChg chg="mod">
          <ac:chgData name="Tami Corson" userId="17b03132-2f21-4edf-a2df-f25c30f43233" providerId="ADAL" clId="{68B14A21-1A54-4054-8C52-4708997AF24A}" dt="2022-04-18T13:07:30.790" v="7645" actId="403"/>
          <ac:spMkLst>
            <pc:docMk/>
            <pc:sldMk cId="2486721525" sldId="341"/>
            <ac:spMk id="432" creationId="{00000000-0000-0000-0000-000000000000}"/>
          </ac:spMkLst>
        </pc:spChg>
        <pc:spChg chg="mod">
          <ac:chgData name="Tami Corson" userId="17b03132-2f21-4edf-a2df-f25c30f43233" providerId="ADAL" clId="{68B14A21-1A54-4054-8C52-4708997AF24A}" dt="2022-04-18T13:07:30.790" v="7645" actId="403"/>
          <ac:spMkLst>
            <pc:docMk/>
            <pc:sldMk cId="2486721525" sldId="341"/>
            <ac:spMk id="433" creationId="{00000000-0000-0000-0000-000000000000}"/>
          </ac:spMkLst>
        </pc:spChg>
        <pc:spChg chg="mod">
          <ac:chgData name="Tami Corson" userId="17b03132-2f21-4edf-a2df-f25c30f43233" providerId="ADAL" clId="{68B14A21-1A54-4054-8C52-4708997AF24A}" dt="2022-04-18T13:07:30.790" v="7645" actId="403"/>
          <ac:spMkLst>
            <pc:docMk/>
            <pc:sldMk cId="2486721525" sldId="341"/>
            <ac:spMk id="436" creationId="{00000000-0000-0000-0000-000000000000}"/>
          </ac:spMkLst>
        </pc:spChg>
        <pc:spChg chg="mod">
          <ac:chgData name="Tami Corson" userId="17b03132-2f21-4edf-a2df-f25c30f43233" providerId="ADAL" clId="{68B14A21-1A54-4054-8C52-4708997AF24A}" dt="2022-04-18T13:07:30.790" v="7645" actId="403"/>
          <ac:spMkLst>
            <pc:docMk/>
            <pc:sldMk cId="2486721525" sldId="341"/>
            <ac:spMk id="437" creationId="{00000000-0000-0000-0000-000000000000}"/>
          </ac:spMkLst>
        </pc:spChg>
        <pc:spChg chg="mod">
          <ac:chgData name="Tami Corson" userId="17b03132-2f21-4edf-a2df-f25c30f43233" providerId="ADAL" clId="{68B14A21-1A54-4054-8C52-4708997AF24A}" dt="2022-04-18T13:07:30.790" v="7645" actId="403"/>
          <ac:spMkLst>
            <pc:docMk/>
            <pc:sldMk cId="2486721525" sldId="341"/>
            <ac:spMk id="440" creationId="{00000000-0000-0000-0000-000000000000}"/>
          </ac:spMkLst>
        </pc:spChg>
        <pc:spChg chg="mod">
          <ac:chgData name="Tami Corson" userId="17b03132-2f21-4edf-a2df-f25c30f43233" providerId="ADAL" clId="{68B14A21-1A54-4054-8C52-4708997AF24A}" dt="2022-04-18T13:07:30.790" v="7645" actId="403"/>
          <ac:spMkLst>
            <pc:docMk/>
            <pc:sldMk cId="2486721525" sldId="341"/>
            <ac:spMk id="441" creationId="{00000000-0000-0000-0000-000000000000}"/>
          </ac:spMkLst>
        </pc:spChg>
        <pc:spChg chg="mod">
          <ac:chgData name="Tami Corson" userId="17b03132-2f21-4edf-a2df-f25c30f43233" providerId="ADAL" clId="{68B14A21-1A54-4054-8C52-4708997AF24A}" dt="2022-04-18T13:07:30.790" v="7645" actId="403"/>
          <ac:spMkLst>
            <pc:docMk/>
            <pc:sldMk cId="2486721525" sldId="341"/>
            <ac:spMk id="442" creationId="{00000000-0000-0000-0000-000000000000}"/>
          </ac:spMkLst>
        </pc:spChg>
        <pc:spChg chg="mod">
          <ac:chgData name="Tami Corson" userId="17b03132-2f21-4edf-a2df-f25c30f43233" providerId="ADAL" clId="{68B14A21-1A54-4054-8C52-4708997AF24A}" dt="2022-04-18T13:07:30.790" v="7645" actId="403"/>
          <ac:spMkLst>
            <pc:docMk/>
            <pc:sldMk cId="2486721525" sldId="341"/>
            <ac:spMk id="443" creationId="{00000000-0000-0000-0000-000000000000}"/>
          </ac:spMkLst>
        </pc:spChg>
        <pc:spChg chg="mod">
          <ac:chgData name="Tami Corson" userId="17b03132-2f21-4edf-a2df-f25c30f43233" providerId="ADAL" clId="{68B14A21-1A54-4054-8C52-4708997AF24A}" dt="2022-04-18T13:07:30.790" v="7645" actId="403"/>
          <ac:spMkLst>
            <pc:docMk/>
            <pc:sldMk cId="2486721525" sldId="341"/>
            <ac:spMk id="444" creationId="{00000000-0000-0000-0000-000000000000}"/>
          </ac:spMkLst>
        </pc:spChg>
        <pc:spChg chg="mod">
          <ac:chgData name="Tami Corson" userId="17b03132-2f21-4edf-a2df-f25c30f43233" providerId="ADAL" clId="{68B14A21-1A54-4054-8C52-4708997AF24A}" dt="2022-04-18T13:07:30.790" v="7645" actId="403"/>
          <ac:spMkLst>
            <pc:docMk/>
            <pc:sldMk cId="2486721525" sldId="341"/>
            <ac:spMk id="445" creationId="{00000000-0000-0000-0000-000000000000}"/>
          </ac:spMkLst>
        </pc:spChg>
        <pc:spChg chg="mod">
          <ac:chgData name="Tami Corson" userId="17b03132-2f21-4edf-a2df-f25c30f43233" providerId="ADAL" clId="{68B14A21-1A54-4054-8C52-4708997AF24A}" dt="2022-04-18T13:07:30.790" v="7645" actId="403"/>
          <ac:spMkLst>
            <pc:docMk/>
            <pc:sldMk cId="2486721525" sldId="341"/>
            <ac:spMk id="446" creationId="{00000000-0000-0000-0000-000000000000}"/>
          </ac:spMkLst>
        </pc:spChg>
        <pc:spChg chg="mod">
          <ac:chgData name="Tami Corson" userId="17b03132-2f21-4edf-a2df-f25c30f43233" providerId="ADAL" clId="{68B14A21-1A54-4054-8C52-4708997AF24A}" dt="2022-04-18T13:07:30.790" v="7645" actId="403"/>
          <ac:spMkLst>
            <pc:docMk/>
            <pc:sldMk cId="2486721525" sldId="341"/>
            <ac:spMk id="447" creationId="{00000000-0000-0000-0000-000000000000}"/>
          </ac:spMkLst>
        </pc:spChg>
        <pc:spChg chg="mod">
          <ac:chgData name="Tami Corson" userId="17b03132-2f21-4edf-a2df-f25c30f43233" providerId="ADAL" clId="{68B14A21-1A54-4054-8C52-4708997AF24A}" dt="2022-04-18T13:08:08.230" v="7732" actId="20577"/>
          <ac:spMkLst>
            <pc:docMk/>
            <pc:sldMk cId="2486721525" sldId="341"/>
            <ac:spMk id="453" creationId="{00000000-0000-0000-0000-000000000000}"/>
          </ac:spMkLst>
        </pc:spChg>
        <pc:spChg chg="mod">
          <ac:chgData name="Tami Corson" userId="17b03132-2f21-4edf-a2df-f25c30f43233" providerId="ADAL" clId="{68B14A21-1A54-4054-8C52-4708997AF24A}" dt="2022-04-18T13:07:30.790" v="7645" actId="403"/>
          <ac:spMkLst>
            <pc:docMk/>
            <pc:sldMk cId="2486721525" sldId="341"/>
            <ac:spMk id="454" creationId="{00000000-0000-0000-0000-000000000000}"/>
          </ac:spMkLst>
        </pc:spChg>
        <pc:spChg chg="mod">
          <ac:chgData name="Tami Corson" userId="17b03132-2f21-4edf-a2df-f25c30f43233" providerId="ADAL" clId="{68B14A21-1A54-4054-8C52-4708997AF24A}" dt="2022-04-18T13:07:30.790" v="7645" actId="403"/>
          <ac:spMkLst>
            <pc:docMk/>
            <pc:sldMk cId="2486721525" sldId="341"/>
            <ac:spMk id="455" creationId="{00000000-0000-0000-0000-000000000000}"/>
          </ac:spMkLst>
        </pc:spChg>
        <pc:grpChg chg="mod">
          <ac:chgData name="Tami Corson" userId="17b03132-2f21-4edf-a2df-f25c30f43233" providerId="ADAL" clId="{68B14A21-1A54-4054-8C52-4708997AF24A}" dt="2022-04-18T13:01:15.080" v="7616" actId="1076"/>
          <ac:grpSpMkLst>
            <pc:docMk/>
            <pc:sldMk cId="2486721525" sldId="341"/>
            <ac:grpSpMk id="3" creationId="{04B4B9EF-39BF-81F3-070D-703E1C6BC8C8}"/>
          </ac:grpSpMkLst>
        </pc:grpChg>
        <pc:cxnChg chg="mod">
          <ac:chgData name="Tami Corson" userId="17b03132-2f21-4edf-a2df-f25c30f43233" providerId="ADAL" clId="{68B14A21-1A54-4054-8C52-4708997AF24A}" dt="2022-04-18T13:05:22.994" v="7635" actId="1076"/>
          <ac:cxnSpMkLst>
            <pc:docMk/>
            <pc:sldMk cId="2486721525" sldId="341"/>
            <ac:cxnSpMk id="138" creationId="{72CD5195-4FCE-4FC8-B037-A7E561D0D2AA}"/>
          </ac:cxnSpMkLst>
        </pc:cxnChg>
        <pc:cxnChg chg="del">
          <ac:chgData name="Tami Corson" userId="17b03132-2f21-4edf-a2df-f25c30f43233" providerId="ADAL" clId="{68B14A21-1A54-4054-8C52-4708997AF24A}" dt="2022-04-18T13:07:42.924" v="7646" actId="478"/>
          <ac:cxnSpMkLst>
            <pc:docMk/>
            <pc:sldMk cId="2486721525" sldId="341"/>
            <ac:cxnSpMk id="390" creationId="{00000000-0000-0000-0000-000000000000}"/>
          </ac:cxnSpMkLst>
        </pc:cxnChg>
      </pc:sldChg>
      <pc:sldChg chg="addSp modSp mod">
        <pc:chgData name="Tami Corson" userId="17b03132-2f21-4edf-a2df-f25c30f43233" providerId="ADAL" clId="{68B14A21-1A54-4054-8C52-4708997AF24A}" dt="2022-04-18T17:38:32.841" v="14755" actId="2"/>
        <pc:sldMkLst>
          <pc:docMk/>
          <pc:sldMk cId="4114424017" sldId="342"/>
        </pc:sldMkLst>
        <pc:spChg chg="add mod">
          <ac:chgData name="Tami Corson" userId="17b03132-2f21-4edf-a2df-f25c30f43233" providerId="ADAL" clId="{68B14A21-1A54-4054-8C52-4708997AF24A}" dt="2022-04-05T22:19:14.643" v="2752" actId="207"/>
          <ac:spMkLst>
            <pc:docMk/>
            <pc:sldMk cId="4114424017" sldId="342"/>
            <ac:spMk id="3" creationId="{AD3B325A-7230-4592-A6DD-FB5D3A58728A}"/>
          </ac:spMkLst>
        </pc:spChg>
        <pc:spChg chg="mod">
          <ac:chgData name="Tami Corson" userId="17b03132-2f21-4edf-a2df-f25c30f43233" providerId="ADAL" clId="{68B14A21-1A54-4054-8C52-4708997AF24A}" dt="2022-04-05T22:19:52.150" v="2761" actId="20577"/>
          <ac:spMkLst>
            <pc:docMk/>
            <pc:sldMk cId="4114424017" sldId="342"/>
            <ac:spMk id="7" creationId="{3A459B18-D705-4DD6-8A98-83D381B62CE4}"/>
          </ac:spMkLst>
        </pc:spChg>
        <pc:graphicFrameChg chg="modGraphic">
          <ac:chgData name="Tami Corson" userId="17b03132-2f21-4edf-a2df-f25c30f43233" providerId="ADAL" clId="{68B14A21-1A54-4054-8C52-4708997AF24A}" dt="2022-04-18T17:38:32.841" v="14755" actId="2"/>
          <ac:graphicFrameMkLst>
            <pc:docMk/>
            <pc:sldMk cId="4114424017" sldId="342"/>
            <ac:graphicFrameMk id="23" creationId="{F4A84191-3BFB-48AA-A343-19DE4EA3891C}"/>
          </ac:graphicFrameMkLst>
        </pc:graphicFrameChg>
      </pc:sldChg>
      <pc:sldChg chg="addSp modSp">
        <pc:chgData name="Tami Corson" userId="17b03132-2f21-4edf-a2df-f25c30f43233" providerId="ADAL" clId="{68B14A21-1A54-4054-8C52-4708997AF24A}" dt="2022-04-05T22:19:38.741" v="2753"/>
        <pc:sldMkLst>
          <pc:docMk/>
          <pc:sldMk cId="754587697" sldId="352"/>
        </pc:sldMkLst>
        <pc:spChg chg="add mod">
          <ac:chgData name="Tami Corson" userId="17b03132-2f21-4edf-a2df-f25c30f43233" providerId="ADAL" clId="{68B14A21-1A54-4054-8C52-4708997AF24A}" dt="2022-04-05T22:19:38.741" v="2753"/>
          <ac:spMkLst>
            <pc:docMk/>
            <pc:sldMk cId="754587697" sldId="352"/>
            <ac:spMk id="8" creationId="{2EB41360-E158-4118-855D-5FC8A22B5B1A}"/>
          </ac:spMkLst>
        </pc:spChg>
      </pc:sldChg>
      <pc:sldChg chg="modSp mod">
        <pc:chgData name="Tami Corson" userId="17b03132-2f21-4edf-a2df-f25c30f43233" providerId="ADAL" clId="{68B14A21-1A54-4054-8C52-4708997AF24A}" dt="2022-04-05T22:41:30.814" v="5587" actId="20577"/>
        <pc:sldMkLst>
          <pc:docMk/>
          <pc:sldMk cId="1101287747" sldId="363"/>
        </pc:sldMkLst>
        <pc:spChg chg="mod">
          <ac:chgData name="Tami Corson" userId="17b03132-2f21-4edf-a2df-f25c30f43233" providerId="ADAL" clId="{68B14A21-1A54-4054-8C52-4708997AF24A}" dt="2022-04-05T22:41:30.814" v="5587" actId="20577"/>
          <ac:spMkLst>
            <pc:docMk/>
            <pc:sldMk cId="1101287747" sldId="363"/>
            <ac:spMk id="2" creationId="{820A4734-2A64-812C-44F5-9C35D9905FB2}"/>
          </ac:spMkLst>
        </pc:spChg>
        <pc:spChg chg="mod">
          <ac:chgData name="Tami Corson" userId="17b03132-2f21-4edf-a2df-f25c30f43233" providerId="ADAL" clId="{68B14A21-1A54-4054-8C52-4708997AF24A}" dt="2022-04-05T22:41:20.922" v="5581" actId="20577"/>
          <ac:spMkLst>
            <pc:docMk/>
            <pc:sldMk cId="1101287747" sldId="363"/>
            <ac:spMk id="461" creationId="{00000000-0000-0000-0000-000000000000}"/>
          </ac:spMkLst>
        </pc:spChg>
      </pc:sldChg>
      <pc:sldChg chg="del">
        <pc:chgData name="Tami Corson" userId="17b03132-2f21-4edf-a2df-f25c30f43233" providerId="ADAL" clId="{68B14A21-1A54-4054-8C52-4708997AF24A}" dt="2022-04-05T22:26:27.308" v="2831" actId="47"/>
        <pc:sldMkLst>
          <pc:docMk/>
          <pc:sldMk cId="2576879601" sldId="365"/>
        </pc:sldMkLst>
      </pc:sldChg>
      <pc:sldChg chg="addSp delSp modSp mod">
        <pc:chgData name="Tami Corson" userId="17b03132-2f21-4edf-a2df-f25c30f43233" providerId="ADAL" clId="{68B14A21-1A54-4054-8C52-4708997AF24A}" dt="2022-04-05T22:33:20.999" v="4816" actId="20577"/>
        <pc:sldMkLst>
          <pc:docMk/>
          <pc:sldMk cId="1695560817" sldId="366"/>
        </pc:sldMkLst>
        <pc:spChg chg="del">
          <ac:chgData name="Tami Corson" userId="17b03132-2f21-4edf-a2df-f25c30f43233" providerId="ADAL" clId="{68B14A21-1A54-4054-8C52-4708997AF24A}" dt="2022-04-05T22:22:00.886" v="2777" actId="478"/>
          <ac:spMkLst>
            <pc:docMk/>
            <pc:sldMk cId="1695560817" sldId="366"/>
            <ac:spMk id="2" creationId="{AB52A157-2CB8-6DCB-8D3B-00713BF25DCA}"/>
          </ac:spMkLst>
        </pc:spChg>
        <pc:spChg chg="mod">
          <ac:chgData name="Tami Corson" userId="17b03132-2f21-4edf-a2df-f25c30f43233" providerId="ADAL" clId="{68B14A21-1A54-4054-8C52-4708997AF24A}" dt="2022-04-05T22:33:13.435" v="4803" actId="20577"/>
          <ac:spMkLst>
            <pc:docMk/>
            <pc:sldMk cId="1695560817" sldId="366"/>
            <ac:spMk id="6" creationId="{E748C5ED-C778-8D35-B701-D92CD51D7C71}"/>
          </ac:spMkLst>
        </pc:spChg>
        <pc:spChg chg="del">
          <ac:chgData name="Tami Corson" userId="17b03132-2f21-4edf-a2df-f25c30f43233" providerId="ADAL" clId="{68B14A21-1A54-4054-8C52-4708997AF24A}" dt="2022-04-05T22:25:41.878" v="2828" actId="478"/>
          <ac:spMkLst>
            <pc:docMk/>
            <pc:sldMk cId="1695560817" sldId="366"/>
            <ac:spMk id="7" creationId="{13934D1C-6E4A-EDA6-05C5-4249C9B8C8B5}"/>
          </ac:spMkLst>
        </pc:spChg>
        <pc:spChg chg="add mod">
          <ac:chgData name="Tami Corson" userId="17b03132-2f21-4edf-a2df-f25c30f43233" providerId="ADAL" clId="{68B14A21-1A54-4054-8C52-4708997AF24A}" dt="2022-04-05T22:33:20.999" v="4816" actId="20577"/>
          <ac:spMkLst>
            <pc:docMk/>
            <pc:sldMk cId="1695560817" sldId="366"/>
            <ac:spMk id="9" creationId="{9D3353E1-0037-4CC2-96E5-8920C7F77217}"/>
          </ac:spMkLst>
        </pc:spChg>
        <pc:spChg chg="add del mod">
          <ac:chgData name="Tami Corson" userId="17b03132-2f21-4edf-a2df-f25c30f43233" providerId="ADAL" clId="{68B14A21-1A54-4054-8C52-4708997AF24A}" dt="2022-04-05T22:24:44.468" v="2809" actId="478"/>
          <ac:spMkLst>
            <pc:docMk/>
            <pc:sldMk cId="1695560817" sldId="366"/>
            <ac:spMk id="10" creationId="{21A59CDE-8986-4103-ACBD-BF2E0113C5DA}"/>
          </ac:spMkLst>
        </pc:spChg>
        <pc:spChg chg="add mod">
          <ac:chgData name="Tami Corson" userId="17b03132-2f21-4edf-a2df-f25c30f43233" providerId="ADAL" clId="{68B14A21-1A54-4054-8C52-4708997AF24A}" dt="2022-04-05T22:25:14.106" v="2811" actId="14100"/>
          <ac:spMkLst>
            <pc:docMk/>
            <pc:sldMk cId="1695560817" sldId="366"/>
            <ac:spMk id="64" creationId="{1DCCC338-F425-4F47-B3C6-38C57252A6E8}"/>
          </ac:spMkLst>
        </pc:spChg>
        <pc:spChg chg="mod">
          <ac:chgData name="Tami Corson" userId="17b03132-2f21-4edf-a2df-f25c30f43233" providerId="ADAL" clId="{68B14A21-1A54-4054-8C52-4708997AF24A}" dt="2022-04-05T22:22:49.351" v="2778" actId="14100"/>
          <ac:spMkLst>
            <pc:docMk/>
            <pc:sldMk cId="1695560817" sldId="366"/>
            <ac:spMk id="67" creationId="{ADFAC7F7-AEE5-A67D-FFCB-EBDD5EEB5CF0}"/>
          </ac:spMkLst>
        </pc:spChg>
        <pc:grpChg chg="mod">
          <ac:chgData name="Tami Corson" userId="17b03132-2f21-4edf-a2df-f25c30f43233" providerId="ADAL" clId="{68B14A21-1A54-4054-8C52-4708997AF24A}" dt="2022-04-05T22:26:00.932" v="2830" actId="1076"/>
          <ac:grpSpMkLst>
            <pc:docMk/>
            <pc:sldMk cId="1695560817" sldId="366"/>
            <ac:grpSpMk id="3" creationId="{84A101B9-54A8-0DEF-7134-74702582A0A6}"/>
          </ac:grpSpMkLst>
        </pc:grpChg>
        <pc:cxnChg chg="mod">
          <ac:chgData name="Tami Corson" userId="17b03132-2f21-4edf-a2df-f25c30f43233" providerId="ADAL" clId="{68B14A21-1A54-4054-8C52-4708997AF24A}" dt="2022-04-05T22:25:51.353" v="2829" actId="14100"/>
          <ac:cxnSpMkLst>
            <pc:docMk/>
            <pc:sldMk cId="1695560817" sldId="366"/>
            <ac:cxnSpMk id="60" creationId="{02BE5020-33F7-66E4-4A1C-71874FD6410E}"/>
          </ac:cxnSpMkLst>
        </pc:cxnChg>
      </pc:sldChg>
      <pc:sldChg chg="addSp delSp modSp del mod">
        <pc:chgData name="Tami Corson" userId="17b03132-2f21-4edf-a2df-f25c30f43233" providerId="ADAL" clId="{68B14A21-1A54-4054-8C52-4708997AF24A}" dt="2022-04-18T17:14:31.650" v="13327" actId="47"/>
        <pc:sldMkLst>
          <pc:docMk/>
          <pc:sldMk cId="3762238417" sldId="367"/>
        </pc:sldMkLst>
        <pc:spChg chg="mod">
          <ac:chgData name="Tami Corson" userId="17b03132-2f21-4edf-a2df-f25c30f43233" providerId="ADAL" clId="{68B14A21-1A54-4054-8C52-4708997AF24A}" dt="2022-04-18T17:07:49.368" v="13101" actId="14100"/>
          <ac:spMkLst>
            <pc:docMk/>
            <pc:sldMk cId="3762238417" sldId="367"/>
            <ac:spMk id="2" creationId="{AB52A157-2CB8-6DCB-8D3B-00713BF25DCA}"/>
          </ac:spMkLst>
        </pc:spChg>
        <pc:spChg chg="mod">
          <ac:chgData name="Tami Corson" userId="17b03132-2f21-4edf-a2df-f25c30f43233" providerId="ADAL" clId="{68B14A21-1A54-4054-8C52-4708997AF24A}" dt="2022-04-05T22:35:26.991" v="5013" actId="14100"/>
          <ac:spMkLst>
            <pc:docMk/>
            <pc:sldMk cId="3762238417" sldId="367"/>
            <ac:spMk id="3" creationId="{346B9D98-5C00-250F-2E85-76FD3A920D22}"/>
          </ac:spMkLst>
        </pc:spChg>
        <pc:spChg chg="del mod">
          <ac:chgData name="Tami Corson" userId="17b03132-2f21-4edf-a2df-f25c30f43233" providerId="ADAL" clId="{68B14A21-1A54-4054-8C52-4708997AF24A}" dt="2022-04-05T22:32:26.973" v="4790" actId="478"/>
          <ac:spMkLst>
            <pc:docMk/>
            <pc:sldMk cId="3762238417" sldId="367"/>
            <ac:spMk id="5" creationId="{36D64229-262E-4A6E-9C18-00F422DCB439}"/>
          </ac:spMkLst>
        </pc:spChg>
        <pc:spChg chg="mod">
          <ac:chgData name="Tami Corson" userId="17b03132-2f21-4edf-a2df-f25c30f43233" providerId="ADAL" clId="{68B14A21-1A54-4054-8C52-4708997AF24A}" dt="2022-04-05T22:32:48.627" v="4797" actId="20577"/>
          <ac:spMkLst>
            <pc:docMk/>
            <pc:sldMk cId="3762238417" sldId="367"/>
            <ac:spMk id="10" creationId="{1E5EB53C-4C7C-0E54-81CD-8BA7C0A66A7F}"/>
          </ac:spMkLst>
        </pc:spChg>
        <pc:spChg chg="del mod">
          <ac:chgData name="Tami Corson" userId="17b03132-2f21-4edf-a2df-f25c30f43233" providerId="ADAL" clId="{68B14A21-1A54-4054-8C52-4708997AF24A}" dt="2022-04-05T22:35:13.206" v="5011" actId="478"/>
          <ac:spMkLst>
            <pc:docMk/>
            <pc:sldMk cId="3762238417" sldId="367"/>
            <ac:spMk id="12" creationId="{33B203BF-E480-8FAF-0565-392D3EFF8B4E}"/>
          </ac:spMkLst>
        </pc:spChg>
        <pc:spChg chg="add mod">
          <ac:chgData name="Tami Corson" userId="17b03132-2f21-4edf-a2df-f25c30f43233" providerId="ADAL" clId="{68B14A21-1A54-4054-8C52-4708997AF24A}" dt="2022-04-18T17:07:33.281" v="13100" actId="6549"/>
          <ac:spMkLst>
            <pc:docMk/>
            <pc:sldMk cId="3762238417" sldId="367"/>
            <ac:spMk id="14" creationId="{B7F30615-2377-4227-875C-5098AE86CDA4}"/>
          </ac:spMkLst>
        </pc:spChg>
        <pc:spChg chg="add mod">
          <ac:chgData name="Tami Corson" userId="17b03132-2f21-4edf-a2df-f25c30f43233" providerId="ADAL" clId="{68B14A21-1A54-4054-8C52-4708997AF24A}" dt="2022-04-05T22:39:54.248" v="5429"/>
          <ac:spMkLst>
            <pc:docMk/>
            <pc:sldMk cId="3762238417" sldId="367"/>
            <ac:spMk id="15" creationId="{B3427B41-4C10-42DF-8E8B-1724E40F2C7D}"/>
          </ac:spMkLst>
        </pc:spChg>
      </pc:sldChg>
      <pc:sldChg chg="del">
        <pc:chgData name="Tami Corson" userId="17b03132-2f21-4edf-a2df-f25c30f43233" providerId="ADAL" clId="{68B14A21-1A54-4054-8C52-4708997AF24A}" dt="2022-04-05T22:44:58.155" v="5832" actId="47"/>
        <pc:sldMkLst>
          <pc:docMk/>
          <pc:sldMk cId="1138474479" sldId="369"/>
        </pc:sldMkLst>
      </pc:sldChg>
      <pc:sldChg chg="del">
        <pc:chgData name="Tami Corson" userId="17b03132-2f21-4edf-a2df-f25c30f43233" providerId="ADAL" clId="{68B14A21-1A54-4054-8C52-4708997AF24A}" dt="2022-04-05T22:44:55.287" v="5830" actId="47"/>
        <pc:sldMkLst>
          <pc:docMk/>
          <pc:sldMk cId="388901022" sldId="370"/>
        </pc:sldMkLst>
      </pc:sldChg>
      <pc:sldChg chg="del">
        <pc:chgData name="Tami Corson" userId="17b03132-2f21-4edf-a2df-f25c30f43233" providerId="ADAL" clId="{68B14A21-1A54-4054-8C52-4708997AF24A}" dt="2022-04-05T22:44:56.721" v="5831" actId="47"/>
        <pc:sldMkLst>
          <pc:docMk/>
          <pc:sldMk cId="603633981" sldId="371"/>
        </pc:sldMkLst>
      </pc:sldChg>
      <pc:sldChg chg="addSp delSp modSp mod ord">
        <pc:chgData name="Tami Corson" userId="17b03132-2f21-4edf-a2df-f25c30f43233" providerId="ADAL" clId="{68B14A21-1A54-4054-8C52-4708997AF24A}" dt="2022-04-18T17:04:07.460" v="12833"/>
        <pc:sldMkLst>
          <pc:docMk/>
          <pc:sldMk cId="874573340" sldId="373"/>
        </pc:sldMkLst>
        <pc:spChg chg="mod">
          <ac:chgData name="Tami Corson" userId="17b03132-2f21-4edf-a2df-f25c30f43233" providerId="ADAL" clId="{68B14A21-1A54-4054-8C52-4708997AF24A}" dt="2022-04-05T22:16:49.142" v="2687" actId="20577"/>
          <ac:spMkLst>
            <pc:docMk/>
            <pc:sldMk cId="874573340" sldId="373"/>
            <ac:spMk id="7" creationId="{C840A1AA-DEE9-4A69-BC08-B46800497F9A}"/>
          </ac:spMkLst>
        </pc:spChg>
        <pc:spChg chg="del">
          <ac:chgData name="Tami Corson" userId="17b03132-2f21-4edf-a2df-f25c30f43233" providerId="ADAL" clId="{68B14A21-1A54-4054-8C52-4708997AF24A}" dt="2022-04-05T22:15:40.239" v="2526" actId="478"/>
          <ac:spMkLst>
            <pc:docMk/>
            <pc:sldMk cId="874573340" sldId="373"/>
            <ac:spMk id="11" creationId="{F13F0CCB-25F8-472D-B660-682063222549}"/>
          </ac:spMkLst>
        </pc:spChg>
        <pc:spChg chg="del mod">
          <ac:chgData name="Tami Corson" userId="17b03132-2f21-4edf-a2df-f25c30f43233" providerId="ADAL" clId="{68B14A21-1A54-4054-8C52-4708997AF24A}" dt="2022-04-05T22:15:48.807" v="2528" actId="478"/>
          <ac:spMkLst>
            <pc:docMk/>
            <pc:sldMk cId="874573340" sldId="373"/>
            <ac:spMk id="15" creationId="{C4C62486-463F-4FC0-B499-CE49552602ED}"/>
          </ac:spMkLst>
        </pc:spChg>
        <pc:spChg chg="add mod">
          <ac:chgData name="Tami Corson" userId="17b03132-2f21-4edf-a2df-f25c30f43233" providerId="ADAL" clId="{68B14A21-1A54-4054-8C52-4708997AF24A}" dt="2022-04-05T22:17:54.109" v="2697"/>
          <ac:spMkLst>
            <pc:docMk/>
            <pc:sldMk cId="874573340" sldId="373"/>
            <ac:spMk id="16" creationId="{65AD7A62-D7DC-4090-BACD-38307E3301E5}"/>
          </ac:spMkLst>
        </pc:spChg>
        <pc:spChg chg="mod">
          <ac:chgData name="Tami Corson" userId="17b03132-2f21-4edf-a2df-f25c30f43233" providerId="ADAL" clId="{68B14A21-1A54-4054-8C52-4708997AF24A}" dt="2022-04-05T22:40:35.347" v="5556" actId="20577"/>
          <ac:spMkLst>
            <pc:docMk/>
            <pc:sldMk cId="874573340" sldId="373"/>
            <ac:spMk id="572" creationId="{00000000-0000-0000-0000-000000000000}"/>
          </ac:spMkLst>
        </pc:spChg>
        <pc:spChg chg="del mod">
          <ac:chgData name="Tami Corson" userId="17b03132-2f21-4edf-a2df-f25c30f43233" providerId="ADAL" clId="{68B14A21-1A54-4054-8C52-4708997AF24A}" dt="2022-04-05T22:17:53" v="2696" actId="478"/>
          <ac:spMkLst>
            <pc:docMk/>
            <pc:sldMk cId="874573340" sldId="373"/>
            <ac:spMk id="575" creationId="{00000000-0000-0000-0000-000000000000}"/>
          </ac:spMkLst>
        </pc:spChg>
        <pc:spChg chg="mod">
          <ac:chgData name="Tami Corson" userId="17b03132-2f21-4edf-a2df-f25c30f43233" providerId="ADAL" clId="{68B14A21-1A54-4054-8C52-4708997AF24A}" dt="2022-04-05T22:16:28.493" v="2632" actId="20577"/>
          <ac:spMkLst>
            <pc:docMk/>
            <pc:sldMk cId="874573340" sldId="373"/>
            <ac:spMk id="579" creationId="{00000000-0000-0000-0000-000000000000}"/>
          </ac:spMkLst>
        </pc:spChg>
        <pc:picChg chg="del">
          <ac:chgData name="Tami Corson" userId="17b03132-2f21-4edf-a2df-f25c30f43233" providerId="ADAL" clId="{68B14A21-1A54-4054-8C52-4708997AF24A}" dt="2022-04-05T22:15:36.940" v="2525" actId="478"/>
          <ac:picMkLst>
            <pc:docMk/>
            <pc:sldMk cId="874573340" sldId="373"/>
            <ac:picMk id="9" creationId="{3848CF10-59F7-42DA-AB47-C24BD859DBFB}"/>
          </ac:picMkLst>
        </pc:picChg>
      </pc:sldChg>
      <pc:sldChg chg="del">
        <pc:chgData name="Tami Corson" userId="17b03132-2f21-4edf-a2df-f25c30f43233" providerId="ADAL" clId="{68B14A21-1A54-4054-8C52-4708997AF24A}" dt="2022-04-05T22:21:49.109" v="2776" actId="47"/>
        <pc:sldMkLst>
          <pc:docMk/>
          <pc:sldMk cId="3514561185" sldId="374"/>
        </pc:sldMkLst>
      </pc:sldChg>
      <pc:sldChg chg="addSp delSp modSp mod">
        <pc:chgData name="Tami Corson" userId="17b03132-2f21-4edf-a2df-f25c30f43233" providerId="ADAL" clId="{68B14A21-1A54-4054-8C52-4708997AF24A}" dt="2022-04-19T14:38:50.701" v="16013" actId="3626"/>
        <pc:sldMkLst>
          <pc:docMk/>
          <pc:sldMk cId="604654217" sldId="375"/>
        </pc:sldMkLst>
        <pc:spChg chg="mod">
          <ac:chgData name="Tami Corson" userId="17b03132-2f21-4edf-a2df-f25c30f43233" providerId="ADAL" clId="{68B14A21-1A54-4054-8C52-4708997AF24A}" dt="2022-04-18T17:12:35.133" v="13258" actId="20577"/>
          <ac:spMkLst>
            <pc:docMk/>
            <pc:sldMk cId="604654217" sldId="375"/>
            <ac:spMk id="2" creationId="{AB52A157-2CB8-6DCB-8D3B-00713BF25DCA}"/>
          </ac:spMkLst>
        </pc:spChg>
        <pc:spChg chg="del">
          <ac:chgData name="Tami Corson" userId="17b03132-2f21-4edf-a2df-f25c30f43233" providerId="ADAL" clId="{68B14A21-1A54-4054-8C52-4708997AF24A}" dt="2022-04-05T22:38:43.020" v="5416" actId="478"/>
          <ac:spMkLst>
            <pc:docMk/>
            <pc:sldMk cId="604654217" sldId="375"/>
            <ac:spMk id="3" creationId="{346B9D98-5C00-250F-2E85-76FD3A920D22}"/>
          </ac:spMkLst>
        </pc:spChg>
        <pc:spChg chg="add del mod">
          <ac:chgData name="Tami Corson" userId="17b03132-2f21-4edf-a2df-f25c30f43233" providerId="ADAL" clId="{68B14A21-1A54-4054-8C52-4708997AF24A}" dt="2022-04-18T17:53:12.213" v="14850" actId="20577"/>
          <ac:spMkLst>
            <pc:docMk/>
            <pc:sldMk cId="604654217" sldId="375"/>
            <ac:spMk id="5" creationId="{36D64229-262E-4A6E-9C18-00F422DCB439}"/>
          </ac:spMkLst>
        </pc:spChg>
        <pc:spChg chg="mod">
          <ac:chgData name="Tami Corson" userId="17b03132-2f21-4edf-a2df-f25c30f43233" providerId="ADAL" clId="{68B14A21-1A54-4054-8C52-4708997AF24A}" dt="2022-04-05T22:40:08.245" v="5439" actId="20577"/>
          <ac:spMkLst>
            <pc:docMk/>
            <pc:sldMk cId="604654217" sldId="375"/>
            <ac:spMk id="8" creationId="{0C428FE0-CEA6-4B06-818A-B15A33773397}"/>
          </ac:spMkLst>
        </pc:spChg>
        <pc:spChg chg="mod">
          <ac:chgData name="Tami Corson" userId="17b03132-2f21-4edf-a2df-f25c30f43233" providerId="ADAL" clId="{68B14A21-1A54-4054-8C52-4708997AF24A}" dt="2022-04-05T22:39:38.543" v="5426" actId="20577"/>
          <ac:spMkLst>
            <pc:docMk/>
            <pc:sldMk cId="604654217" sldId="375"/>
            <ac:spMk id="9" creationId="{1673559D-641B-CEF7-656B-BA67BB200460}"/>
          </ac:spMkLst>
        </pc:spChg>
        <pc:spChg chg="add del mod">
          <ac:chgData name="Tami Corson" userId="17b03132-2f21-4edf-a2df-f25c30f43233" providerId="ADAL" clId="{68B14A21-1A54-4054-8C52-4708997AF24A}" dt="2022-04-05T22:38:55.459" v="5417" actId="478"/>
          <ac:spMkLst>
            <pc:docMk/>
            <pc:sldMk cId="604654217" sldId="375"/>
            <ac:spMk id="11" creationId="{EBB116D8-3387-4428-B729-39F5AAB71935}"/>
          </ac:spMkLst>
        </pc:spChg>
        <pc:spChg chg="mod">
          <ac:chgData name="Tami Corson" userId="17b03132-2f21-4edf-a2df-f25c30f43233" providerId="ADAL" clId="{68B14A21-1A54-4054-8C52-4708997AF24A}" dt="2022-04-19T14:38:50.701" v="16013" actId="3626"/>
          <ac:spMkLst>
            <pc:docMk/>
            <pc:sldMk cId="604654217" sldId="375"/>
            <ac:spMk id="12" creationId="{11A97723-78EB-2746-C449-97F68B2B20F8}"/>
          </ac:spMkLst>
        </pc:spChg>
        <pc:spChg chg="del">
          <ac:chgData name="Tami Corson" userId="17b03132-2f21-4edf-a2df-f25c30f43233" providerId="ADAL" clId="{68B14A21-1A54-4054-8C52-4708997AF24A}" dt="2022-04-05T22:39:07.334" v="5419" actId="478"/>
          <ac:spMkLst>
            <pc:docMk/>
            <pc:sldMk cId="604654217" sldId="375"/>
            <ac:spMk id="15" creationId="{8234A49B-42C8-4AB6-91D6-8149E021948F}"/>
          </ac:spMkLst>
        </pc:spChg>
        <pc:spChg chg="add mod">
          <ac:chgData name="Tami Corson" userId="17b03132-2f21-4edf-a2df-f25c30f43233" providerId="ADAL" clId="{68B14A21-1A54-4054-8C52-4708997AF24A}" dt="2022-04-18T17:15:12.100" v="13342" actId="27636"/>
          <ac:spMkLst>
            <pc:docMk/>
            <pc:sldMk cId="604654217" sldId="375"/>
            <ac:spMk id="17" creationId="{16623418-AEE4-4D13-9926-C0DB516429A9}"/>
          </ac:spMkLst>
        </pc:spChg>
        <pc:spChg chg="add mod">
          <ac:chgData name="Tami Corson" userId="17b03132-2f21-4edf-a2df-f25c30f43233" providerId="ADAL" clId="{68B14A21-1A54-4054-8C52-4708997AF24A}" dt="2022-04-18T21:29:06.440" v="15652" actId="20577"/>
          <ac:spMkLst>
            <pc:docMk/>
            <pc:sldMk cId="604654217" sldId="375"/>
            <ac:spMk id="18" creationId="{B370B159-D794-4F64-86E6-5EB05042EAF3}"/>
          </ac:spMkLst>
        </pc:spChg>
        <pc:picChg chg="del">
          <ac:chgData name="Tami Corson" userId="17b03132-2f21-4edf-a2df-f25c30f43233" providerId="ADAL" clId="{68B14A21-1A54-4054-8C52-4708997AF24A}" dt="2022-04-05T22:38:36.573" v="5415" actId="478"/>
          <ac:picMkLst>
            <pc:docMk/>
            <pc:sldMk cId="604654217" sldId="375"/>
            <ac:picMk id="14" creationId="{CEC8603A-E559-D88F-8BB6-20BE147D64A6}"/>
          </ac:picMkLst>
        </pc:picChg>
      </pc:sldChg>
      <pc:sldChg chg="addSp delSp modSp mod">
        <pc:chgData name="Tami Corson" userId="17b03132-2f21-4edf-a2df-f25c30f43233" providerId="ADAL" clId="{68B14A21-1A54-4054-8C52-4708997AF24A}" dt="2022-04-18T16:16:36.463" v="11878" actId="14100"/>
        <pc:sldMkLst>
          <pc:docMk/>
          <pc:sldMk cId="108984178" sldId="376"/>
        </pc:sldMkLst>
        <pc:spChg chg="add mod">
          <ac:chgData name="Tami Corson" userId="17b03132-2f21-4edf-a2df-f25c30f43233" providerId="ADAL" clId="{68B14A21-1A54-4054-8C52-4708997AF24A}" dt="2022-04-18T14:49:10.432" v="11463" actId="207"/>
          <ac:spMkLst>
            <pc:docMk/>
            <pc:sldMk cId="108984178" sldId="376"/>
            <ac:spMk id="6" creationId="{0AD4B1BE-EA5F-46E2-BA43-352AFB870781}"/>
          </ac:spMkLst>
        </pc:spChg>
        <pc:spChg chg="mod">
          <ac:chgData name="Tami Corson" userId="17b03132-2f21-4edf-a2df-f25c30f43233" providerId="ADAL" clId="{68B14A21-1A54-4054-8C52-4708997AF24A}" dt="2022-04-05T22:50:15.462" v="6289" actId="20577"/>
          <ac:spMkLst>
            <pc:docMk/>
            <pc:sldMk cId="108984178" sldId="376"/>
            <ac:spMk id="94" creationId="{E31314A6-B11D-4476-9803-2FB49A1BD625}"/>
          </ac:spMkLst>
        </pc:spChg>
        <pc:spChg chg="mod">
          <ac:chgData name="Tami Corson" userId="17b03132-2f21-4edf-a2df-f25c30f43233" providerId="ADAL" clId="{68B14A21-1A54-4054-8C52-4708997AF24A}" dt="2022-04-18T13:54:04.487" v="10022" actId="1076"/>
          <ac:spMkLst>
            <pc:docMk/>
            <pc:sldMk cId="108984178" sldId="376"/>
            <ac:spMk id="98" creationId="{3A23AAE2-4269-C3E7-E699-BA0249A4E5CE}"/>
          </ac:spMkLst>
        </pc:spChg>
        <pc:spChg chg="mod">
          <ac:chgData name="Tami Corson" userId="17b03132-2f21-4edf-a2df-f25c30f43233" providerId="ADAL" clId="{68B14A21-1A54-4054-8C52-4708997AF24A}" dt="2022-04-18T14:51:27.301" v="11539" actId="20577"/>
          <ac:spMkLst>
            <pc:docMk/>
            <pc:sldMk cId="108984178" sldId="376"/>
            <ac:spMk id="103" creationId="{BBD84C33-E4EA-5234-5A58-46F795902624}"/>
          </ac:spMkLst>
        </pc:spChg>
        <pc:spChg chg="del">
          <ac:chgData name="Tami Corson" userId="17b03132-2f21-4edf-a2df-f25c30f43233" providerId="ADAL" clId="{68B14A21-1A54-4054-8C52-4708997AF24A}" dt="2022-04-18T14:46:29.629" v="11389" actId="478"/>
          <ac:spMkLst>
            <pc:docMk/>
            <pc:sldMk cId="108984178" sldId="376"/>
            <ac:spMk id="104" creationId="{552981D8-50F7-4937-0E3F-BC6E730EC5DF}"/>
          </ac:spMkLst>
        </pc:spChg>
        <pc:spChg chg="del">
          <ac:chgData name="Tami Corson" userId="17b03132-2f21-4edf-a2df-f25c30f43233" providerId="ADAL" clId="{68B14A21-1A54-4054-8C52-4708997AF24A}" dt="2022-04-18T14:46:33.849" v="11390" actId="478"/>
          <ac:spMkLst>
            <pc:docMk/>
            <pc:sldMk cId="108984178" sldId="376"/>
            <ac:spMk id="105" creationId="{7081EBAA-86A9-8CF7-28D9-CBE9738124D9}"/>
          </ac:spMkLst>
        </pc:spChg>
        <pc:spChg chg="del mod">
          <ac:chgData name="Tami Corson" userId="17b03132-2f21-4edf-a2df-f25c30f43233" providerId="ADAL" clId="{68B14A21-1A54-4054-8C52-4708997AF24A}" dt="2022-04-18T14:46:44.234" v="11391" actId="478"/>
          <ac:spMkLst>
            <pc:docMk/>
            <pc:sldMk cId="108984178" sldId="376"/>
            <ac:spMk id="106" creationId="{303D77F6-DB63-2FBB-AA42-ABAD423B9571}"/>
          </ac:spMkLst>
        </pc:spChg>
        <pc:spChg chg="mod">
          <ac:chgData name="Tami Corson" userId="17b03132-2f21-4edf-a2df-f25c30f43233" providerId="ADAL" clId="{68B14A21-1A54-4054-8C52-4708997AF24A}" dt="2022-04-18T14:53:06.954" v="11580" actId="20577"/>
          <ac:spMkLst>
            <pc:docMk/>
            <pc:sldMk cId="108984178" sldId="376"/>
            <ac:spMk id="107" creationId="{0A60379C-4FFF-CD73-6CB8-5995C06FE3FB}"/>
          </ac:spMkLst>
        </pc:spChg>
        <pc:spChg chg="mod">
          <ac:chgData name="Tami Corson" userId="17b03132-2f21-4edf-a2df-f25c30f43233" providerId="ADAL" clId="{68B14A21-1A54-4054-8C52-4708997AF24A}" dt="2022-04-18T14:52:47.663" v="11571" actId="20577"/>
          <ac:spMkLst>
            <pc:docMk/>
            <pc:sldMk cId="108984178" sldId="376"/>
            <ac:spMk id="108" creationId="{AF5F9446-B049-9C9E-BC73-D65B274FF91F}"/>
          </ac:spMkLst>
        </pc:spChg>
        <pc:spChg chg="mod">
          <ac:chgData name="Tami Corson" userId="17b03132-2f21-4edf-a2df-f25c30f43233" providerId="ADAL" clId="{68B14A21-1A54-4054-8C52-4708997AF24A}" dt="2022-04-18T16:00:02.974" v="11783" actId="14100"/>
          <ac:spMkLst>
            <pc:docMk/>
            <pc:sldMk cId="108984178" sldId="376"/>
            <ac:spMk id="109" creationId="{6E292932-316D-6000-7BD6-52E1C382C2BC}"/>
          </ac:spMkLst>
        </pc:spChg>
        <pc:spChg chg="add del mod">
          <ac:chgData name="Tami Corson" userId="17b03132-2f21-4edf-a2df-f25c30f43233" providerId="ADAL" clId="{68B14A21-1A54-4054-8C52-4708997AF24A}" dt="2022-04-18T13:54:20.732" v="10024" actId="478"/>
          <ac:spMkLst>
            <pc:docMk/>
            <pc:sldMk cId="108984178" sldId="376"/>
            <ac:spMk id="110" creationId="{C1267169-191F-4AA9-82B4-31F9D693CE4C}"/>
          </ac:spMkLst>
        </pc:spChg>
        <pc:spChg chg="add mod">
          <ac:chgData name="Tami Corson" userId="17b03132-2f21-4edf-a2df-f25c30f43233" providerId="ADAL" clId="{68B14A21-1A54-4054-8C52-4708997AF24A}" dt="2022-04-18T14:51:33.694" v="11541" actId="20577"/>
          <ac:spMkLst>
            <pc:docMk/>
            <pc:sldMk cId="108984178" sldId="376"/>
            <ac:spMk id="111" creationId="{9D2DDA46-8745-4572-B8C9-CF87AF968C8D}"/>
          </ac:spMkLst>
        </pc:spChg>
        <pc:spChg chg="add mod">
          <ac:chgData name="Tami Corson" userId="17b03132-2f21-4edf-a2df-f25c30f43233" providerId="ADAL" clId="{68B14A21-1A54-4054-8C52-4708997AF24A}" dt="2022-04-18T14:51:36.947" v="11542" actId="20577"/>
          <ac:spMkLst>
            <pc:docMk/>
            <pc:sldMk cId="108984178" sldId="376"/>
            <ac:spMk id="113" creationId="{CC2DB4A4-D1A4-4ECC-A335-5C5A972151B6}"/>
          </ac:spMkLst>
        </pc:spChg>
        <pc:spChg chg="add mod">
          <ac:chgData name="Tami Corson" userId="17b03132-2f21-4edf-a2df-f25c30f43233" providerId="ADAL" clId="{68B14A21-1A54-4054-8C52-4708997AF24A}" dt="2022-04-18T14:52:42.588" v="11570" actId="1076"/>
          <ac:spMkLst>
            <pc:docMk/>
            <pc:sldMk cId="108984178" sldId="376"/>
            <ac:spMk id="114" creationId="{9BAFEB20-7FDA-4A6F-923F-4576E8A156F8}"/>
          </ac:spMkLst>
        </pc:spChg>
        <pc:spChg chg="add mod">
          <ac:chgData name="Tami Corson" userId="17b03132-2f21-4edf-a2df-f25c30f43233" providerId="ADAL" clId="{68B14A21-1A54-4054-8C52-4708997AF24A}" dt="2022-04-18T15:55:22.190" v="11652" actId="1076"/>
          <ac:spMkLst>
            <pc:docMk/>
            <pc:sldMk cId="108984178" sldId="376"/>
            <ac:spMk id="115" creationId="{D6688165-3D4C-416E-BF20-428388E759C8}"/>
          </ac:spMkLst>
        </pc:spChg>
        <pc:spChg chg="add mod">
          <ac:chgData name="Tami Corson" userId="17b03132-2f21-4edf-a2df-f25c30f43233" providerId="ADAL" clId="{68B14A21-1A54-4054-8C52-4708997AF24A}" dt="2022-04-18T15:55:44.160" v="11655" actId="1076"/>
          <ac:spMkLst>
            <pc:docMk/>
            <pc:sldMk cId="108984178" sldId="376"/>
            <ac:spMk id="116" creationId="{3342AB89-77DB-478C-BB6B-4C8F826EE789}"/>
          </ac:spMkLst>
        </pc:spChg>
        <pc:spChg chg="mod">
          <ac:chgData name="Tami Corson" userId="17b03132-2f21-4edf-a2df-f25c30f43233" providerId="ADAL" clId="{68B14A21-1A54-4054-8C52-4708997AF24A}" dt="2022-04-18T14:39:14.189" v="11198" actId="20577"/>
          <ac:spMkLst>
            <pc:docMk/>
            <pc:sldMk cId="108984178" sldId="376"/>
            <ac:spMk id="117" creationId="{E2FD5C6C-CA12-4E89-9D17-227059EEB7D4}"/>
          </ac:spMkLst>
        </pc:spChg>
        <pc:spChg chg="mod">
          <ac:chgData name="Tami Corson" userId="17b03132-2f21-4edf-a2df-f25c30f43233" providerId="ADAL" clId="{68B14A21-1A54-4054-8C52-4708997AF24A}" dt="2022-04-18T15:54:53.083" v="11648" actId="1076"/>
          <ac:spMkLst>
            <pc:docMk/>
            <pc:sldMk cId="108984178" sldId="376"/>
            <ac:spMk id="122" creationId="{09CCFE8E-CA5C-4EA3-ADD4-17C6D9C20CBE}"/>
          </ac:spMkLst>
        </pc:spChg>
        <pc:spChg chg="mod">
          <ac:chgData name="Tami Corson" userId="17b03132-2f21-4edf-a2df-f25c30f43233" providerId="ADAL" clId="{68B14A21-1A54-4054-8C52-4708997AF24A}" dt="2022-04-18T15:54:47.529" v="11647" actId="1076"/>
          <ac:spMkLst>
            <pc:docMk/>
            <pc:sldMk cId="108984178" sldId="376"/>
            <ac:spMk id="123" creationId="{395357FF-C494-4F5A-BC17-43D9D2B48AF7}"/>
          </ac:spMkLst>
        </pc:spChg>
        <pc:spChg chg="mod">
          <ac:chgData name="Tami Corson" userId="17b03132-2f21-4edf-a2df-f25c30f43233" providerId="ADAL" clId="{68B14A21-1A54-4054-8C52-4708997AF24A}" dt="2022-04-18T15:54:57.934" v="11649" actId="1076"/>
          <ac:spMkLst>
            <pc:docMk/>
            <pc:sldMk cId="108984178" sldId="376"/>
            <ac:spMk id="125" creationId="{3E514B59-F9C8-4C76-973B-1F2C3AB2226B}"/>
          </ac:spMkLst>
        </pc:spChg>
        <pc:spChg chg="mod">
          <ac:chgData name="Tami Corson" userId="17b03132-2f21-4edf-a2df-f25c30f43233" providerId="ADAL" clId="{68B14A21-1A54-4054-8C52-4708997AF24A}" dt="2022-04-18T14:39:46.073" v="11212" actId="20577"/>
          <ac:spMkLst>
            <pc:docMk/>
            <pc:sldMk cId="108984178" sldId="376"/>
            <ac:spMk id="128" creationId="{C61FD168-ED42-4403-BA38-E257254F57EF}"/>
          </ac:spMkLst>
        </pc:spChg>
        <pc:spChg chg="mod">
          <ac:chgData name="Tami Corson" userId="17b03132-2f21-4edf-a2df-f25c30f43233" providerId="ADAL" clId="{68B14A21-1A54-4054-8C52-4708997AF24A}" dt="2022-04-18T14:33:05.148" v="11022" actId="20577"/>
          <ac:spMkLst>
            <pc:docMk/>
            <pc:sldMk cId="108984178" sldId="376"/>
            <ac:spMk id="129" creationId="{679DDD97-7B33-4561-9F37-C9E486FFDBAF}"/>
          </ac:spMkLst>
        </pc:spChg>
        <pc:spChg chg="add mod">
          <ac:chgData name="Tami Corson" userId="17b03132-2f21-4edf-a2df-f25c30f43233" providerId="ADAL" clId="{68B14A21-1A54-4054-8C52-4708997AF24A}" dt="2022-04-18T16:01:10.774" v="11829" actId="14100"/>
          <ac:spMkLst>
            <pc:docMk/>
            <pc:sldMk cId="108984178" sldId="376"/>
            <ac:spMk id="130" creationId="{3A408431-59C3-4E26-8D2D-F4E5148E9631}"/>
          </ac:spMkLst>
        </pc:spChg>
        <pc:spChg chg="add mod">
          <ac:chgData name="Tami Corson" userId="17b03132-2f21-4edf-a2df-f25c30f43233" providerId="ADAL" clId="{68B14A21-1A54-4054-8C52-4708997AF24A}" dt="2022-04-18T15:59:53.942" v="11781" actId="1076"/>
          <ac:spMkLst>
            <pc:docMk/>
            <pc:sldMk cId="108984178" sldId="376"/>
            <ac:spMk id="132" creationId="{36F62208-7AC6-41E2-B48B-68A3196D5EC3}"/>
          </ac:spMkLst>
        </pc:spChg>
        <pc:spChg chg="add mod">
          <ac:chgData name="Tami Corson" userId="17b03132-2f21-4edf-a2df-f25c30f43233" providerId="ADAL" clId="{68B14A21-1A54-4054-8C52-4708997AF24A}" dt="2022-04-18T16:16:36.463" v="11878" actId="14100"/>
          <ac:spMkLst>
            <pc:docMk/>
            <pc:sldMk cId="108984178" sldId="376"/>
            <ac:spMk id="133" creationId="{338EE8A7-91BA-4536-9CDB-437D5EF8A4C1}"/>
          </ac:spMkLst>
        </pc:spChg>
        <pc:spChg chg="mod">
          <ac:chgData name="Tami Corson" userId="17b03132-2f21-4edf-a2df-f25c30f43233" providerId="ADAL" clId="{68B14A21-1A54-4054-8C52-4708997AF24A}" dt="2022-04-18T14:40:11.957" v="11222" actId="20577"/>
          <ac:spMkLst>
            <pc:docMk/>
            <pc:sldMk cId="108984178" sldId="376"/>
            <ac:spMk id="137" creationId="{1301D16D-0233-425B-8533-705B8AA7A3FB}"/>
          </ac:spMkLst>
        </pc:spChg>
        <pc:spChg chg="del">
          <ac:chgData name="Tami Corson" userId="17b03132-2f21-4edf-a2df-f25c30f43233" providerId="ADAL" clId="{68B14A21-1A54-4054-8C52-4708997AF24A}" dt="2022-04-18T14:33:18.288" v="11024" actId="478"/>
          <ac:spMkLst>
            <pc:docMk/>
            <pc:sldMk cId="108984178" sldId="376"/>
            <ac:spMk id="343" creationId="{00000000-0000-0000-0000-000000000000}"/>
          </ac:spMkLst>
        </pc:spChg>
        <pc:spChg chg="mod">
          <ac:chgData name="Tami Corson" userId="17b03132-2f21-4edf-a2df-f25c30f43233" providerId="ADAL" clId="{68B14A21-1A54-4054-8C52-4708997AF24A}" dt="2022-04-18T14:34:41.716" v="11061" actId="20577"/>
          <ac:spMkLst>
            <pc:docMk/>
            <pc:sldMk cId="108984178" sldId="376"/>
            <ac:spMk id="344" creationId="{00000000-0000-0000-0000-000000000000}"/>
          </ac:spMkLst>
        </pc:spChg>
        <pc:spChg chg="mod">
          <ac:chgData name="Tami Corson" userId="17b03132-2f21-4edf-a2df-f25c30f43233" providerId="ADAL" clId="{68B14A21-1A54-4054-8C52-4708997AF24A}" dt="2022-04-18T14:35:02.331" v="11071" actId="20577"/>
          <ac:spMkLst>
            <pc:docMk/>
            <pc:sldMk cId="108984178" sldId="376"/>
            <ac:spMk id="358" creationId="{00000000-0000-0000-0000-000000000000}"/>
          </ac:spMkLst>
        </pc:spChg>
        <pc:spChg chg="mod">
          <ac:chgData name="Tami Corson" userId="17b03132-2f21-4edf-a2df-f25c30f43233" providerId="ADAL" clId="{68B14A21-1A54-4054-8C52-4708997AF24A}" dt="2022-04-18T14:35:28.927" v="11095" actId="20577"/>
          <ac:spMkLst>
            <pc:docMk/>
            <pc:sldMk cId="108984178" sldId="376"/>
            <ac:spMk id="359" creationId="{00000000-0000-0000-0000-000000000000}"/>
          </ac:spMkLst>
        </pc:spChg>
        <pc:spChg chg="mod">
          <ac:chgData name="Tami Corson" userId="17b03132-2f21-4edf-a2df-f25c30f43233" providerId="ADAL" clId="{68B14A21-1A54-4054-8C52-4708997AF24A}" dt="2022-04-18T14:35:59.868" v="11111" actId="20577"/>
          <ac:spMkLst>
            <pc:docMk/>
            <pc:sldMk cId="108984178" sldId="376"/>
            <ac:spMk id="360" creationId="{00000000-0000-0000-0000-000000000000}"/>
          </ac:spMkLst>
        </pc:spChg>
        <pc:spChg chg="mod">
          <ac:chgData name="Tami Corson" userId="17b03132-2f21-4edf-a2df-f25c30f43233" providerId="ADAL" clId="{68B14A21-1A54-4054-8C52-4708997AF24A}" dt="2022-04-18T14:36:35.746" v="11125" actId="20577"/>
          <ac:spMkLst>
            <pc:docMk/>
            <pc:sldMk cId="108984178" sldId="376"/>
            <ac:spMk id="361" creationId="{00000000-0000-0000-0000-000000000000}"/>
          </ac:spMkLst>
        </pc:spChg>
        <pc:spChg chg="mod">
          <ac:chgData name="Tami Corson" userId="17b03132-2f21-4edf-a2df-f25c30f43233" providerId="ADAL" clId="{68B14A21-1A54-4054-8C52-4708997AF24A}" dt="2022-04-18T14:38:03.092" v="11165" actId="20577"/>
          <ac:spMkLst>
            <pc:docMk/>
            <pc:sldMk cId="108984178" sldId="376"/>
            <ac:spMk id="362" creationId="{00000000-0000-0000-0000-000000000000}"/>
          </ac:spMkLst>
        </pc:spChg>
        <pc:spChg chg="mod">
          <ac:chgData name="Tami Corson" userId="17b03132-2f21-4edf-a2df-f25c30f43233" providerId="ADAL" clId="{68B14A21-1A54-4054-8C52-4708997AF24A}" dt="2022-04-18T14:37:05.228" v="11141" actId="20577"/>
          <ac:spMkLst>
            <pc:docMk/>
            <pc:sldMk cId="108984178" sldId="376"/>
            <ac:spMk id="363" creationId="{00000000-0000-0000-0000-000000000000}"/>
          </ac:spMkLst>
        </pc:spChg>
        <pc:spChg chg="mod">
          <ac:chgData name="Tami Corson" userId="17b03132-2f21-4edf-a2df-f25c30f43233" providerId="ADAL" clId="{68B14A21-1A54-4054-8C52-4708997AF24A}" dt="2022-04-18T14:32:49.877" v="11012" actId="20577"/>
          <ac:spMkLst>
            <pc:docMk/>
            <pc:sldMk cId="108984178" sldId="376"/>
            <ac:spMk id="366" creationId="{00000000-0000-0000-0000-000000000000}"/>
          </ac:spMkLst>
        </pc:spChg>
        <pc:spChg chg="mod">
          <ac:chgData name="Tami Corson" userId="17b03132-2f21-4edf-a2df-f25c30f43233" providerId="ADAL" clId="{68B14A21-1A54-4054-8C52-4708997AF24A}" dt="2022-04-18T14:32:54.563" v="11016" actId="20577"/>
          <ac:spMkLst>
            <pc:docMk/>
            <pc:sldMk cId="108984178" sldId="376"/>
            <ac:spMk id="367" creationId="{00000000-0000-0000-0000-000000000000}"/>
          </ac:spMkLst>
        </pc:spChg>
        <pc:spChg chg="mod">
          <ac:chgData name="Tami Corson" userId="17b03132-2f21-4edf-a2df-f25c30f43233" providerId="ADAL" clId="{68B14A21-1A54-4054-8C52-4708997AF24A}" dt="2022-04-18T14:32:57.650" v="11018" actId="20577"/>
          <ac:spMkLst>
            <pc:docMk/>
            <pc:sldMk cId="108984178" sldId="376"/>
            <ac:spMk id="368" creationId="{00000000-0000-0000-0000-000000000000}"/>
          </ac:spMkLst>
        </pc:spChg>
        <pc:spChg chg="mod">
          <ac:chgData name="Tami Corson" userId="17b03132-2f21-4edf-a2df-f25c30f43233" providerId="ADAL" clId="{68B14A21-1A54-4054-8C52-4708997AF24A}" dt="2022-04-18T14:38:37.713" v="11181" actId="20577"/>
          <ac:spMkLst>
            <pc:docMk/>
            <pc:sldMk cId="108984178" sldId="376"/>
            <ac:spMk id="369" creationId="{00000000-0000-0000-0000-000000000000}"/>
          </ac:spMkLst>
        </pc:spChg>
        <pc:spChg chg="mod">
          <ac:chgData name="Tami Corson" userId="17b03132-2f21-4edf-a2df-f25c30f43233" providerId="ADAL" clId="{68B14A21-1A54-4054-8C52-4708997AF24A}" dt="2022-04-18T14:33:00.764" v="11020" actId="20577"/>
          <ac:spMkLst>
            <pc:docMk/>
            <pc:sldMk cId="108984178" sldId="376"/>
            <ac:spMk id="370" creationId="{00000000-0000-0000-0000-000000000000}"/>
          </ac:spMkLst>
        </pc:spChg>
        <pc:spChg chg="mod">
          <ac:chgData name="Tami Corson" userId="17b03132-2f21-4edf-a2df-f25c30f43233" providerId="ADAL" clId="{68B14A21-1A54-4054-8C52-4708997AF24A}" dt="2022-04-18T16:00:26.469" v="11790" actId="20577"/>
          <ac:spMkLst>
            <pc:docMk/>
            <pc:sldMk cId="108984178" sldId="376"/>
            <ac:spMk id="371" creationId="{00000000-0000-0000-0000-000000000000}"/>
          </ac:spMkLst>
        </pc:spChg>
        <pc:spChg chg="mod">
          <ac:chgData name="Tami Corson" userId="17b03132-2f21-4edf-a2df-f25c30f43233" providerId="ADAL" clId="{68B14A21-1A54-4054-8C52-4708997AF24A}" dt="2022-04-18T16:01:47.940" v="11855" actId="20577"/>
          <ac:spMkLst>
            <pc:docMk/>
            <pc:sldMk cId="108984178" sldId="376"/>
            <ac:spMk id="372" creationId="{00000000-0000-0000-0000-000000000000}"/>
          </ac:spMkLst>
        </pc:spChg>
        <pc:spChg chg="mod">
          <ac:chgData name="Tami Corson" userId="17b03132-2f21-4edf-a2df-f25c30f43233" providerId="ADAL" clId="{68B14A21-1A54-4054-8C52-4708997AF24A}" dt="2022-04-18T14:41:17.707" v="11230" actId="1076"/>
          <ac:spMkLst>
            <pc:docMk/>
            <pc:sldMk cId="108984178" sldId="376"/>
            <ac:spMk id="378" creationId="{00000000-0000-0000-0000-000000000000}"/>
          </ac:spMkLst>
        </pc:spChg>
        <pc:spChg chg="mod">
          <ac:chgData name="Tami Corson" userId="17b03132-2f21-4edf-a2df-f25c30f43233" providerId="ADAL" clId="{68B14A21-1A54-4054-8C52-4708997AF24A}" dt="2022-04-18T14:41:53.953" v="11235" actId="1076"/>
          <ac:spMkLst>
            <pc:docMk/>
            <pc:sldMk cId="108984178" sldId="376"/>
            <ac:spMk id="379" creationId="{00000000-0000-0000-0000-000000000000}"/>
          </ac:spMkLst>
        </pc:spChg>
        <pc:spChg chg="mod">
          <ac:chgData name="Tami Corson" userId="17b03132-2f21-4edf-a2df-f25c30f43233" providerId="ADAL" clId="{68B14A21-1A54-4054-8C52-4708997AF24A}" dt="2022-04-18T14:49:45.267" v="11468" actId="207"/>
          <ac:spMkLst>
            <pc:docMk/>
            <pc:sldMk cId="108984178" sldId="376"/>
            <ac:spMk id="380" creationId="{00000000-0000-0000-0000-000000000000}"/>
          </ac:spMkLst>
        </pc:spChg>
        <pc:spChg chg="mod">
          <ac:chgData name="Tami Corson" userId="17b03132-2f21-4edf-a2df-f25c30f43233" providerId="ADAL" clId="{68B14A21-1A54-4054-8C52-4708997AF24A}" dt="2022-04-18T14:49:41.481" v="11467" actId="207"/>
          <ac:spMkLst>
            <pc:docMk/>
            <pc:sldMk cId="108984178" sldId="376"/>
            <ac:spMk id="381" creationId="{00000000-0000-0000-0000-000000000000}"/>
          </ac:spMkLst>
        </pc:spChg>
        <pc:spChg chg="mod">
          <ac:chgData name="Tami Corson" userId="17b03132-2f21-4edf-a2df-f25c30f43233" providerId="ADAL" clId="{68B14A21-1A54-4054-8C52-4708997AF24A}" dt="2022-04-18T14:51:55.512" v="11543" actId="14100"/>
          <ac:spMkLst>
            <pc:docMk/>
            <pc:sldMk cId="108984178" sldId="376"/>
            <ac:spMk id="399" creationId="{00000000-0000-0000-0000-000000000000}"/>
          </ac:spMkLst>
        </pc:spChg>
        <pc:spChg chg="mod">
          <ac:chgData name="Tami Corson" userId="17b03132-2f21-4edf-a2df-f25c30f43233" providerId="ADAL" clId="{68B14A21-1A54-4054-8C52-4708997AF24A}" dt="2022-04-18T14:51:22.810" v="11538" actId="6549"/>
          <ac:spMkLst>
            <pc:docMk/>
            <pc:sldMk cId="108984178" sldId="376"/>
            <ac:spMk id="400" creationId="{00000000-0000-0000-0000-000000000000}"/>
          </ac:spMkLst>
        </pc:spChg>
        <pc:spChg chg="mod">
          <ac:chgData name="Tami Corson" userId="17b03132-2f21-4edf-a2df-f25c30f43233" providerId="ADAL" clId="{68B14A21-1A54-4054-8C52-4708997AF24A}" dt="2022-04-18T14:51:30.109" v="11540" actId="20577"/>
          <ac:spMkLst>
            <pc:docMk/>
            <pc:sldMk cId="108984178" sldId="376"/>
            <ac:spMk id="401" creationId="{00000000-0000-0000-0000-000000000000}"/>
          </ac:spMkLst>
        </pc:spChg>
        <pc:spChg chg="del">
          <ac:chgData name="Tami Corson" userId="17b03132-2f21-4edf-a2df-f25c30f43233" providerId="ADAL" clId="{68B14A21-1A54-4054-8C52-4708997AF24A}" dt="2022-04-18T16:00:41.503" v="11791" actId="478"/>
          <ac:spMkLst>
            <pc:docMk/>
            <pc:sldMk cId="108984178" sldId="376"/>
            <ac:spMk id="404" creationId="{00000000-0000-0000-0000-000000000000}"/>
          </ac:spMkLst>
        </pc:spChg>
        <pc:spChg chg="mod">
          <ac:chgData name="Tami Corson" userId="17b03132-2f21-4edf-a2df-f25c30f43233" providerId="ADAL" clId="{68B14A21-1A54-4054-8C52-4708997AF24A}" dt="2022-04-18T14:49:28.021" v="11466" actId="14100"/>
          <ac:spMkLst>
            <pc:docMk/>
            <pc:sldMk cId="108984178" sldId="376"/>
            <ac:spMk id="409" creationId="{00000000-0000-0000-0000-000000000000}"/>
          </ac:spMkLst>
        </pc:spChg>
        <pc:spChg chg="mod">
          <ac:chgData name="Tami Corson" userId="17b03132-2f21-4edf-a2df-f25c30f43233" providerId="ADAL" clId="{68B14A21-1A54-4054-8C52-4708997AF24A}" dt="2022-04-18T14:43:16.916" v="11290" actId="20577"/>
          <ac:spMkLst>
            <pc:docMk/>
            <pc:sldMk cId="108984178" sldId="376"/>
            <ac:spMk id="410" creationId="{00000000-0000-0000-0000-000000000000}"/>
          </ac:spMkLst>
        </pc:spChg>
        <pc:spChg chg="mod">
          <ac:chgData name="Tami Corson" userId="17b03132-2f21-4edf-a2df-f25c30f43233" providerId="ADAL" clId="{68B14A21-1A54-4054-8C52-4708997AF24A}" dt="2022-04-18T14:52:52.108" v="11572" actId="20577"/>
          <ac:spMkLst>
            <pc:docMk/>
            <pc:sldMk cId="108984178" sldId="376"/>
            <ac:spMk id="413" creationId="{00000000-0000-0000-0000-000000000000}"/>
          </ac:spMkLst>
        </pc:spChg>
        <pc:spChg chg="mod">
          <ac:chgData name="Tami Corson" userId="17b03132-2f21-4edf-a2df-f25c30f43233" providerId="ADAL" clId="{68B14A21-1A54-4054-8C52-4708997AF24A}" dt="2022-04-18T15:54:18.288" v="11645" actId="20577"/>
          <ac:spMkLst>
            <pc:docMk/>
            <pc:sldMk cId="108984178" sldId="376"/>
            <ac:spMk id="416" creationId="{00000000-0000-0000-0000-000000000000}"/>
          </ac:spMkLst>
        </pc:spChg>
        <pc:spChg chg="del">
          <ac:chgData name="Tami Corson" userId="17b03132-2f21-4edf-a2df-f25c30f43233" providerId="ADAL" clId="{68B14A21-1A54-4054-8C52-4708997AF24A}" dt="2022-04-18T15:53:46.525" v="11627" actId="478"/>
          <ac:spMkLst>
            <pc:docMk/>
            <pc:sldMk cId="108984178" sldId="376"/>
            <ac:spMk id="417" creationId="{00000000-0000-0000-0000-000000000000}"/>
          </ac:spMkLst>
        </pc:spChg>
        <pc:spChg chg="del">
          <ac:chgData name="Tami Corson" userId="17b03132-2f21-4edf-a2df-f25c30f43233" providerId="ADAL" clId="{68B14A21-1A54-4054-8C52-4708997AF24A}" dt="2022-04-18T15:53:25.651" v="11622" actId="478"/>
          <ac:spMkLst>
            <pc:docMk/>
            <pc:sldMk cId="108984178" sldId="376"/>
            <ac:spMk id="430" creationId="{00000000-0000-0000-0000-000000000000}"/>
          </ac:spMkLst>
        </pc:spChg>
        <pc:spChg chg="add del mod">
          <ac:chgData name="Tami Corson" userId="17b03132-2f21-4edf-a2df-f25c30f43233" providerId="ADAL" clId="{68B14A21-1A54-4054-8C52-4708997AF24A}" dt="2022-04-18T15:55:06.238" v="11650" actId="207"/>
          <ac:spMkLst>
            <pc:docMk/>
            <pc:sldMk cId="108984178" sldId="376"/>
            <ac:spMk id="431" creationId="{00000000-0000-0000-0000-000000000000}"/>
          </ac:spMkLst>
        </pc:spChg>
        <pc:spChg chg="del">
          <ac:chgData name="Tami Corson" userId="17b03132-2f21-4edf-a2df-f25c30f43233" providerId="ADAL" clId="{68B14A21-1A54-4054-8C52-4708997AF24A}" dt="2022-04-18T15:53:30.251" v="11623" actId="478"/>
          <ac:spMkLst>
            <pc:docMk/>
            <pc:sldMk cId="108984178" sldId="376"/>
            <ac:spMk id="436" creationId="{00000000-0000-0000-0000-000000000000}"/>
          </ac:spMkLst>
        </pc:spChg>
        <pc:spChg chg="mod">
          <ac:chgData name="Tami Corson" userId="17b03132-2f21-4edf-a2df-f25c30f43233" providerId="ADAL" clId="{68B14A21-1A54-4054-8C52-4708997AF24A}" dt="2022-04-18T15:52:22.698" v="11582" actId="1076"/>
          <ac:spMkLst>
            <pc:docMk/>
            <pc:sldMk cId="108984178" sldId="376"/>
            <ac:spMk id="437" creationId="{00000000-0000-0000-0000-000000000000}"/>
          </ac:spMkLst>
        </pc:spChg>
        <pc:spChg chg="mod">
          <ac:chgData name="Tami Corson" userId="17b03132-2f21-4edf-a2df-f25c30f43233" providerId="ADAL" clId="{68B14A21-1A54-4054-8C52-4708997AF24A}" dt="2022-04-18T15:52:18.709" v="11581" actId="1076"/>
          <ac:spMkLst>
            <pc:docMk/>
            <pc:sldMk cId="108984178" sldId="376"/>
            <ac:spMk id="440" creationId="{00000000-0000-0000-0000-000000000000}"/>
          </ac:spMkLst>
        </pc:spChg>
        <pc:spChg chg="del">
          <ac:chgData name="Tami Corson" userId="17b03132-2f21-4edf-a2df-f25c30f43233" providerId="ADAL" clId="{68B14A21-1A54-4054-8C52-4708997AF24A}" dt="2022-04-18T15:53:35.619" v="11624" actId="478"/>
          <ac:spMkLst>
            <pc:docMk/>
            <pc:sldMk cId="108984178" sldId="376"/>
            <ac:spMk id="441" creationId="{00000000-0000-0000-0000-000000000000}"/>
          </ac:spMkLst>
        </pc:spChg>
        <pc:spChg chg="mod">
          <ac:chgData name="Tami Corson" userId="17b03132-2f21-4edf-a2df-f25c30f43233" providerId="ADAL" clId="{68B14A21-1A54-4054-8C52-4708997AF24A}" dt="2022-04-18T15:55:29.115" v="11653" actId="1076"/>
          <ac:spMkLst>
            <pc:docMk/>
            <pc:sldMk cId="108984178" sldId="376"/>
            <ac:spMk id="442" creationId="{00000000-0000-0000-0000-000000000000}"/>
          </ac:spMkLst>
        </pc:spChg>
        <pc:spChg chg="mod">
          <ac:chgData name="Tami Corson" userId="17b03132-2f21-4edf-a2df-f25c30f43233" providerId="ADAL" clId="{68B14A21-1A54-4054-8C52-4708997AF24A}" dt="2022-04-18T15:52:49.399" v="11588" actId="1076"/>
          <ac:spMkLst>
            <pc:docMk/>
            <pc:sldMk cId="108984178" sldId="376"/>
            <ac:spMk id="443" creationId="{00000000-0000-0000-0000-000000000000}"/>
          </ac:spMkLst>
        </pc:spChg>
        <pc:spChg chg="del mod">
          <ac:chgData name="Tami Corson" userId="17b03132-2f21-4edf-a2df-f25c30f43233" providerId="ADAL" clId="{68B14A21-1A54-4054-8C52-4708997AF24A}" dt="2022-04-18T15:52:33.044" v="11585" actId="478"/>
          <ac:spMkLst>
            <pc:docMk/>
            <pc:sldMk cId="108984178" sldId="376"/>
            <ac:spMk id="444" creationId="{00000000-0000-0000-0000-000000000000}"/>
          </ac:spMkLst>
        </pc:spChg>
        <pc:spChg chg="del">
          <ac:chgData name="Tami Corson" userId="17b03132-2f21-4edf-a2df-f25c30f43233" providerId="ADAL" clId="{68B14A21-1A54-4054-8C52-4708997AF24A}" dt="2022-04-18T15:52:26.809" v="11583" actId="478"/>
          <ac:spMkLst>
            <pc:docMk/>
            <pc:sldMk cId="108984178" sldId="376"/>
            <ac:spMk id="445" creationId="{00000000-0000-0000-0000-000000000000}"/>
          </ac:spMkLst>
        </pc:spChg>
        <pc:spChg chg="del">
          <ac:chgData name="Tami Corson" userId="17b03132-2f21-4edf-a2df-f25c30f43233" providerId="ADAL" clId="{68B14A21-1A54-4054-8C52-4708997AF24A}" dt="2022-04-18T15:53:43.573" v="11626" actId="478"/>
          <ac:spMkLst>
            <pc:docMk/>
            <pc:sldMk cId="108984178" sldId="376"/>
            <ac:spMk id="446" creationId="{00000000-0000-0000-0000-000000000000}"/>
          </ac:spMkLst>
        </pc:spChg>
        <pc:spChg chg="del">
          <ac:chgData name="Tami Corson" userId="17b03132-2f21-4edf-a2df-f25c30f43233" providerId="ADAL" clId="{68B14A21-1A54-4054-8C52-4708997AF24A}" dt="2022-04-18T15:53:38.714" v="11625" actId="478"/>
          <ac:spMkLst>
            <pc:docMk/>
            <pc:sldMk cId="108984178" sldId="376"/>
            <ac:spMk id="447" creationId="{00000000-0000-0000-0000-000000000000}"/>
          </ac:spMkLst>
        </pc:spChg>
        <pc:spChg chg="del">
          <ac:chgData name="Tami Corson" userId="17b03132-2f21-4edf-a2df-f25c30f43233" providerId="ADAL" clId="{68B14A21-1A54-4054-8C52-4708997AF24A}" dt="2022-04-18T15:52:41.526" v="11587" actId="478"/>
          <ac:spMkLst>
            <pc:docMk/>
            <pc:sldMk cId="108984178" sldId="376"/>
            <ac:spMk id="454" creationId="{00000000-0000-0000-0000-000000000000}"/>
          </ac:spMkLst>
        </pc:spChg>
        <pc:spChg chg="del">
          <ac:chgData name="Tami Corson" userId="17b03132-2f21-4edf-a2df-f25c30f43233" providerId="ADAL" clId="{68B14A21-1A54-4054-8C52-4708997AF24A}" dt="2022-04-18T15:52:38.202" v="11586" actId="478"/>
          <ac:spMkLst>
            <pc:docMk/>
            <pc:sldMk cId="108984178" sldId="376"/>
            <ac:spMk id="455" creationId="{00000000-0000-0000-0000-000000000000}"/>
          </ac:spMkLst>
        </pc:spChg>
        <pc:grpChg chg="mod">
          <ac:chgData name="Tami Corson" userId="17b03132-2f21-4edf-a2df-f25c30f43233" providerId="ADAL" clId="{68B14A21-1A54-4054-8C52-4708997AF24A}" dt="2022-04-18T14:33:13.537" v="11023" actId="1076"/>
          <ac:grpSpMkLst>
            <pc:docMk/>
            <pc:sldMk cId="108984178" sldId="376"/>
            <ac:grpSpMk id="3" creationId="{04B4B9EF-39BF-81F3-070D-703E1C6BC8C8}"/>
          </ac:grpSpMkLst>
        </pc:grpChg>
        <pc:grpChg chg="mod">
          <ac:chgData name="Tami Corson" userId="17b03132-2f21-4edf-a2df-f25c30f43233" providerId="ADAL" clId="{68B14A21-1A54-4054-8C52-4708997AF24A}" dt="2022-04-18T15:54:40.637" v="11646" actId="1076"/>
          <ac:grpSpMkLst>
            <pc:docMk/>
            <pc:sldMk cId="108984178" sldId="376"/>
            <ac:grpSpMk id="118" creationId="{275CF833-F3B3-45B1-9DDC-1A138C1A7119}"/>
          </ac:grpSpMkLst>
        </pc:grpChg>
        <pc:cxnChg chg="add del mod">
          <ac:chgData name="Tami Corson" userId="17b03132-2f21-4edf-a2df-f25c30f43233" providerId="ADAL" clId="{68B14A21-1A54-4054-8C52-4708997AF24A}" dt="2022-04-18T14:48:53.405" v="11431" actId="11529"/>
          <ac:cxnSpMkLst>
            <pc:docMk/>
            <pc:sldMk cId="108984178" sldId="376"/>
            <ac:cxnSpMk id="5" creationId="{6BC1C454-71FF-4F1A-8B79-40896F9F334D}"/>
          </ac:cxnSpMkLst>
        </pc:cxnChg>
        <pc:cxnChg chg="add mod">
          <ac:chgData name="Tami Corson" userId="17b03132-2f21-4edf-a2df-f25c30f43233" providerId="ADAL" clId="{68B14A21-1A54-4054-8C52-4708997AF24A}" dt="2022-04-18T14:50:05.894" v="11470" actId="1076"/>
          <ac:cxnSpMkLst>
            <pc:docMk/>
            <pc:sldMk cId="108984178" sldId="376"/>
            <ac:cxnSpMk id="112" creationId="{F2B3F21D-5CBA-4B07-8EE6-FADEDE04A399}"/>
          </ac:cxnSpMkLst>
        </pc:cxnChg>
        <pc:cxnChg chg="mod">
          <ac:chgData name="Tami Corson" userId="17b03132-2f21-4edf-a2df-f25c30f43233" providerId="ADAL" clId="{68B14A21-1A54-4054-8C52-4708997AF24A}" dt="2022-04-18T13:54:15.713" v="10023" actId="1076"/>
          <ac:cxnSpMkLst>
            <pc:docMk/>
            <pc:sldMk cId="108984178" sldId="376"/>
            <ac:cxnSpMk id="121" creationId="{97E780CD-675F-4964-B3D4-48E0D2AE9F84}"/>
          </ac:cxnSpMkLst>
        </pc:cxnChg>
        <pc:cxnChg chg="mod">
          <ac:chgData name="Tami Corson" userId="17b03132-2f21-4edf-a2df-f25c30f43233" providerId="ADAL" clId="{68B14A21-1A54-4054-8C52-4708997AF24A}" dt="2022-04-18T13:54:15.713" v="10023" actId="1076"/>
          <ac:cxnSpMkLst>
            <pc:docMk/>
            <pc:sldMk cId="108984178" sldId="376"/>
            <ac:cxnSpMk id="131" creationId="{CA95AD8E-ED34-4D5B-96B5-8760CBB199C6}"/>
          </ac:cxnSpMkLst>
        </pc:cxnChg>
        <pc:cxnChg chg="mod">
          <ac:chgData name="Tami Corson" userId="17b03132-2f21-4edf-a2df-f25c30f43233" providerId="ADAL" clId="{68B14A21-1A54-4054-8C52-4708997AF24A}" dt="2022-04-18T15:58:06.248" v="11720" actId="1076"/>
          <ac:cxnSpMkLst>
            <pc:docMk/>
            <pc:sldMk cId="108984178" sldId="376"/>
            <ac:cxnSpMk id="392" creationId="{00000000-0000-0000-0000-000000000000}"/>
          </ac:cxnSpMkLst>
        </pc:cxnChg>
        <pc:cxnChg chg="mod">
          <ac:chgData name="Tami Corson" userId="17b03132-2f21-4edf-a2df-f25c30f43233" providerId="ADAL" clId="{68B14A21-1A54-4054-8C52-4708997AF24A}" dt="2022-04-18T14:47:02.830" v="11395" actId="1076"/>
          <ac:cxnSpMkLst>
            <pc:docMk/>
            <pc:sldMk cId="108984178" sldId="376"/>
            <ac:cxnSpMk id="397" creationId="{00000000-0000-0000-0000-000000000000}"/>
          </ac:cxnSpMkLst>
        </pc:cxnChg>
      </pc:sldChg>
      <pc:sldChg chg="addSp delSp modSp mod ord">
        <pc:chgData name="Tami Corson" userId="17b03132-2f21-4edf-a2df-f25c30f43233" providerId="ADAL" clId="{68B14A21-1A54-4054-8C52-4708997AF24A}" dt="2022-04-18T17:07:58.173" v="13103"/>
        <pc:sldMkLst>
          <pc:docMk/>
          <pc:sldMk cId="3117050842" sldId="377"/>
        </pc:sldMkLst>
        <pc:spChg chg="del mod">
          <ac:chgData name="Tami Corson" userId="17b03132-2f21-4edf-a2df-f25c30f43233" providerId="ADAL" clId="{68B14A21-1A54-4054-8C52-4708997AF24A}" dt="2022-04-05T22:38:06.988" v="5410" actId="478"/>
          <ac:spMkLst>
            <pc:docMk/>
            <pc:sldMk cId="3117050842" sldId="377"/>
            <ac:spMk id="2" creationId="{AB52A157-2CB8-6DCB-8D3B-00713BF25DCA}"/>
          </ac:spMkLst>
        </pc:spChg>
        <pc:spChg chg="del mod">
          <ac:chgData name="Tami Corson" userId="17b03132-2f21-4edf-a2df-f25c30f43233" providerId="ADAL" clId="{68B14A21-1A54-4054-8C52-4708997AF24A}" dt="2022-04-05T22:35:35.089" v="5014" actId="478"/>
          <ac:spMkLst>
            <pc:docMk/>
            <pc:sldMk cId="3117050842" sldId="377"/>
            <ac:spMk id="5" creationId="{36D64229-262E-4A6E-9C18-00F422DCB439}"/>
          </ac:spMkLst>
        </pc:spChg>
        <pc:spChg chg="mod">
          <ac:chgData name="Tami Corson" userId="17b03132-2f21-4edf-a2df-f25c30f43233" providerId="ADAL" clId="{68B14A21-1A54-4054-8C52-4708997AF24A}" dt="2022-04-05T22:36:32.074" v="5027" actId="20577"/>
          <ac:spMkLst>
            <pc:docMk/>
            <pc:sldMk cId="3117050842" sldId="377"/>
            <ac:spMk id="10" creationId="{1F441183-42F9-8DED-0F26-2ADE8FD64C41}"/>
          </ac:spMkLst>
        </pc:spChg>
        <pc:spChg chg="del">
          <ac:chgData name="Tami Corson" userId="17b03132-2f21-4edf-a2df-f25c30f43233" providerId="ADAL" clId="{68B14A21-1A54-4054-8C52-4708997AF24A}" dt="2022-04-05T22:34:25.520" v="5008" actId="478"/>
          <ac:spMkLst>
            <pc:docMk/>
            <pc:sldMk cId="3117050842" sldId="377"/>
            <ac:spMk id="11" creationId="{C1418990-22FB-4D1F-EAB1-69EB1F676AC0}"/>
          </ac:spMkLst>
        </pc:spChg>
        <pc:spChg chg="del">
          <ac:chgData name="Tami Corson" userId="17b03132-2f21-4edf-a2df-f25c30f43233" providerId="ADAL" clId="{68B14A21-1A54-4054-8C52-4708997AF24A}" dt="2022-04-05T22:39:47.526" v="5427" actId="478"/>
          <ac:spMkLst>
            <pc:docMk/>
            <pc:sldMk cId="3117050842" sldId="377"/>
            <ac:spMk id="12" creationId="{85D5939B-C636-4551-B695-13CF3D96E08C}"/>
          </ac:spMkLst>
        </pc:spChg>
        <pc:spChg chg="add del mod">
          <ac:chgData name="Tami Corson" userId="17b03132-2f21-4edf-a2df-f25c30f43233" providerId="ADAL" clId="{68B14A21-1A54-4054-8C52-4708997AF24A}" dt="2022-04-05T22:35:50.993" v="5017" actId="478"/>
          <ac:spMkLst>
            <pc:docMk/>
            <pc:sldMk cId="3117050842" sldId="377"/>
            <ac:spMk id="13" creationId="{49FABBB2-119C-40A8-9124-46741DADF7CC}"/>
          </ac:spMkLst>
        </pc:spChg>
        <pc:spChg chg="add mod">
          <ac:chgData name="Tami Corson" userId="17b03132-2f21-4edf-a2df-f25c30f43233" providerId="ADAL" clId="{68B14A21-1A54-4054-8C52-4708997AF24A}" dt="2022-04-05T22:35:36.441" v="5015"/>
          <ac:spMkLst>
            <pc:docMk/>
            <pc:sldMk cId="3117050842" sldId="377"/>
            <ac:spMk id="14" creationId="{00E09E9C-85D0-457B-93B2-D03B3C829190}"/>
          </ac:spMkLst>
        </pc:spChg>
        <pc:spChg chg="add del mod">
          <ac:chgData name="Tami Corson" userId="17b03132-2f21-4edf-a2df-f25c30f43233" providerId="ADAL" clId="{68B14A21-1A54-4054-8C52-4708997AF24A}" dt="2022-04-05T22:35:56.516" v="5018" actId="478"/>
          <ac:spMkLst>
            <pc:docMk/>
            <pc:sldMk cId="3117050842" sldId="377"/>
            <ac:spMk id="15" creationId="{4C76A6F4-F75E-476C-ABEF-4DDA14A24636}"/>
          </ac:spMkLst>
        </pc:spChg>
        <pc:spChg chg="add del mod">
          <ac:chgData name="Tami Corson" userId="17b03132-2f21-4edf-a2df-f25c30f43233" providerId="ADAL" clId="{68B14A21-1A54-4054-8C52-4708997AF24A}" dt="2022-04-05T22:36:08.149" v="5020" actId="478"/>
          <ac:spMkLst>
            <pc:docMk/>
            <pc:sldMk cId="3117050842" sldId="377"/>
            <ac:spMk id="17" creationId="{7A363367-3C61-44EB-B16F-DEB077ECD863}"/>
          </ac:spMkLst>
        </pc:spChg>
        <pc:spChg chg="add mod">
          <ac:chgData name="Tami Corson" userId="17b03132-2f21-4edf-a2df-f25c30f43233" providerId="ADAL" clId="{68B14A21-1A54-4054-8C52-4708997AF24A}" dt="2022-04-05T22:36:17.832" v="5021"/>
          <ac:spMkLst>
            <pc:docMk/>
            <pc:sldMk cId="3117050842" sldId="377"/>
            <ac:spMk id="18" creationId="{4535289F-971B-4B7A-B900-C2E41FDD93BD}"/>
          </ac:spMkLst>
        </pc:spChg>
        <pc:spChg chg="add del mod">
          <ac:chgData name="Tami Corson" userId="17b03132-2f21-4edf-a2df-f25c30f43233" providerId="ADAL" clId="{68B14A21-1A54-4054-8C52-4708997AF24A}" dt="2022-04-05T22:38:13.379" v="5413" actId="478"/>
          <ac:spMkLst>
            <pc:docMk/>
            <pc:sldMk cId="3117050842" sldId="377"/>
            <ac:spMk id="19" creationId="{6721E3A5-E20E-49CC-AB9F-211AE683D14D}"/>
          </ac:spMkLst>
        </pc:spChg>
        <pc:spChg chg="add mod">
          <ac:chgData name="Tami Corson" userId="17b03132-2f21-4edf-a2df-f25c30f43233" providerId="ADAL" clId="{68B14A21-1A54-4054-8C52-4708997AF24A}" dt="2022-04-05T22:38:25.408" v="5414"/>
          <ac:spMkLst>
            <pc:docMk/>
            <pc:sldMk cId="3117050842" sldId="377"/>
            <ac:spMk id="21" creationId="{48EAB9FF-CE7A-4A15-89A8-BF44229B0A69}"/>
          </ac:spMkLst>
        </pc:spChg>
        <pc:spChg chg="add mod">
          <ac:chgData name="Tami Corson" userId="17b03132-2f21-4edf-a2df-f25c30f43233" providerId="ADAL" clId="{68B14A21-1A54-4054-8C52-4708997AF24A}" dt="2022-04-05T22:39:48.618" v="5428"/>
          <ac:spMkLst>
            <pc:docMk/>
            <pc:sldMk cId="3117050842" sldId="377"/>
            <ac:spMk id="22" creationId="{8F92F833-9C8D-4F2A-9EA4-7A7A9775834B}"/>
          </ac:spMkLst>
        </pc:spChg>
        <pc:grpChg chg="mod">
          <ac:chgData name="Tami Corson" userId="17b03132-2f21-4edf-a2df-f25c30f43233" providerId="ADAL" clId="{68B14A21-1A54-4054-8C52-4708997AF24A}" dt="2022-04-05T22:38:10.401" v="5411" actId="1076"/>
          <ac:grpSpMkLst>
            <pc:docMk/>
            <pc:sldMk cId="3117050842" sldId="377"/>
            <ac:grpSpMk id="6" creationId="{E77083C8-F76C-4F07-B275-7CDA0DAD89E4}"/>
          </ac:grpSpMkLst>
        </pc:grpChg>
        <pc:picChg chg="del">
          <ac:chgData name="Tami Corson" userId="17b03132-2f21-4edf-a2df-f25c30f43233" providerId="ADAL" clId="{68B14A21-1A54-4054-8C52-4708997AF24A}" dt="2022-04-05T22:34:27.755" v="5009" actId="478"/>
          <ac:picMkLst>
            <pc:docMk/>
            <pc:sldMk cId="3117050842" sldId="377"/>
            <ac:picMk id="3" creationId="{D0703C0D-B8EB-60B3-A27C-B0A7EBD2B65C}"/>
          </ac:picMkLst>
        </pc:picChg>
      </pc:sldChg>
      <pc:sldChg chg="add ord setBg">
        <pc:chgData name="Tami Corson" userId="17b03132-2f21-4edf-a2df-f25c30f43233" providerId="ADAL" clId="{68B14A21-1A54-4054-8C52-4708997AF24A}" dt="2022-04-18T17:03:38.176" v="12827"/>
        <pc:sldMkLst>
          <pc:docMk/>
          <pc:sldMk cId="2975620013" sldId="378"/>
        </pc:sldMkLst>
      </pc:sldChg>
      <pc:sldChg chg="add ord">
        <pc:chgData name="Tami Corson" userId="17b03132-2f21-4edf-a2df-f25c30f43233" providerId="ADAL" clId="{68B14A21-1A54-4054-8C52-4708997AF24A}" dt="2022-04-18T17:03:30.462" v="12825"/>
        <pc:sldMkLst>
          <pc:docMk/>
          <pc:sldMk cId="303909148" sldId="379"/>
        </pc:sldMkLst>
      </pc:sldChg>
      <pc:sldChg chg="addSp delSp modSp add mod ord">
        <pc:chgData name="Tami Corson" userId="17b03132-2f21-4edf-a2df-f25c30f43233" providerId="ADAL" clId="{68B14A21-1A54-4054-8C52-4708997AF24A}" dt="2022-04-18T23:37:43.641" v="15941" actId="20577"/>
        <pc:sldMkLst>
          <pc:docMk/>
          <pc:sldMk cId="1746873201" sldId="380"/>
        </pc:sldMkLst>
        <pc:spChg chg="mod">
          <ac:chgData name="Tami Corson" userId="17b03132-2f21-4edf-a2df-f25c30f43233" providerId="ADAL" clId="{68B14A21-1A54-4054-8C52-4708997AF24A}" dt="2022-04-18T17:25:58.546" v="14023" actId="20577"/>
          <ac:spMkLst>
            <pc:docMk/>
            <pc:sldMk cId="1746873201" sldId="380"/>
            <ac:spMk id="2" creationId="{6DE5BCA7-B310-A987-A1DF-481957A90A09}"/>
          </ac:spMkLst>
        </pc:spChg>
        <pc:spChg chg="mod">
          <ac:chgData name="Tami Corson" userId="17b03132-2f21-4edf-a2df-f25c30f43233" providerId="ADAL" clId="{68B14A21-1A54-4054-8C52-4708997AF24A}" dt="2022-04-18T23:36:37.592" v="15919" actId="1076"/>
          <ac:spMkLst>
            <pc:docMk/>
            <pc:sldMk cId="1746873201" sldId="380"/>
            <ac:spMk id="12" creationId="{2A18C4E8-C461-494D-81E4-7EB6C08B7B32}"/>
          </ac:spMkLst>
        </pc:spChg>
        <pc:spChg chg="mod">
          <ac:chgData name="Tami Corson" userId="17b03132-2f21-4edf-a2df-f25c30f43233" providerId="ADAL" clId="{68B14A21-1A54-4054-8C52-4708997AF24A}" dt="2022-04-18T23:37:43.641" v="15941" actId="20577"/>
          <ac:spMkLst>
            <pc:docMk/>
            <pc:sldMk cId="1746873201" sldId="380"/>
            <ac:spMk id="14" creationId="{59B9098F-2628-4EF5-89DD-EDEFBCFB2940}"/>
          </ac:spMkLst>
        </pc:spChg>
        <pc:spChg chg="mod">
          <ac:chgData name="Tami Corson" userId="17b03132-2f21-4edf-a2df-f25c30f43233" providerId="ADAL" clId="{68B14A21-1A54-4054-8C52-4708997AF24A}" dt="2022-04-18T17:02:47.409" v="12817"/>
          <ac:spMkLst>
            <pc:docMk/>
            <pc:sldMk cId="1746873201" sldId="380"/>
            <ac:spMk id="15" creationId="{0A731ACF-D454-40D1-85BC-72922DE6253D}"/>
          </ac:spMkLst>
        </pc:spChg>
        <pc:spChg chg="mod">
          <ac:chgData name="Tami Corson" userId="17b03132-2f21-4edf-a2df-f25c30f43233" providerId="ADAL" clId="{68B14A21-1A54-4054-8C52-4708997AF24A}" dt="2022-04-18T17:02:47.409" v="12817"/>
          <ac:spMkLst>
            <pc:docMk/>
            <pc:sldMk cId="1746873201" sldId="380"/>
            <ac:spMk id="16" creationId="{F59BF18F-9019-474B-B8DB-73251A78B48B}"/>
          </ac:spMkLst>
        </pc:spChg>
        <pc:spChg chg="mod">
          <ac:chgData name="Tami Corson" userId="17b03132-2f21-4edf-a2df-f25c30f43233" providerId="ADAL" clId="{68B14A21-1A54-4054-8C52-4708997AF24A}" dt="2022-04-18T17:33:21.320" v="14445"/>
          <ac:spMkLst>
            <pc:docMk/>
            <pc:sldMk cId="1746873201" sldId="380"/>
            <ac:spMk id="18" creationId="{9AF95652-C7C2-4233-BF66-69E2A50A4E15}"/>
          </ac:spMkLst>
        </pc:spChg>
        <pc:spChg chg="mod">
          <ac:chgData name="Tami Corson" userId="17b03132-2f21-4edf-a2df-f25c30f43233" providerId="ADAL" clId="{68B14A21-1A54-4054-8C52-4708997AF24A}" dt="2022-04-18T17:33:21.320" v="14445"/>
          <ac:spMkLst>
            <pc:docMk/>
            <pc:sldMk cId="1746873201" sldId="380"/>
            <ac:spMk id="19" creationId="{E083D02F-FDC3-4688-A8F2-9CC3EB136B4C}"/>
          </ac:spMkLst>
        </pc:spChg>
        <pc:spChg chg="mod">
          <ac:chgData name="Tami Corson" userId="17b03132-2f21-4edf-a2df-f25c30f43233" providerId="ADAL" clId="{68B14A21-1A54-4054-8C52-4708997AF24A}" dt="2022-04-18T17:34:08.003" v="14449"/>
          <ac:spMkLst>
            <pc:docMk/>
            <pc:sldMk cId="1746873201" sldId="380"/>
            <ac:spMk id="23" creationId="{6349303C-5EAA-4B3A-91B0-92F6C70427A5}"/>
          </ac:spMkLst>
        </pc:spChg>
        <pc:spChg chg="mod">
          <ac:chgData name="Tami Corson" userId="17b03132-2f21-4edf-a2df-f25c30f43233" providerId="ADAL" clId="{68B14A21-1A54-4054-8C52-4708997AF24A}" dt="2022-04-18T17:34:34.077" v="14452" actId="1076"/>
          <ac:spMkLst>
            <pc:docMk/>
            <pc:sldMk cId="1746873201" sldId="380"/>
            <ac:spMk id="24" creationId="{E866F250-DD27-49C2-A23E-D8AB80A3C73F}"/>
          </ac:spMkLst>
        </pc:spChg>
        <pc:spChg chg="mod">
          <ac:chgData name="Tami Corson" userId="17b03132-2f21-4edf-a2df-f25c30f43233" providerId="ADAL" clId="{68B14A21-1A54-4054-8C52-4708997AF24A}" dt="2022-04-18T23:36:22.606" v="15918" actId="14100"/>
          <ac:spMkLst>
            <pc:docMk/>
            <pc:sldMk cId="1746873201" sldId="380"/>
            <ac:spMk id="616" creationId="{00000000-0000-0000-0000-000000000000}"/>
          </ac:spMkLst>
        </pc:spChg>
        <pc:grpChg chg="del">
          <ac:chgData name="Tami Corson" userId="17b03132-2f21-4edf-a2df-f25c30f43233" providerId="ADAL" clId="{68B14A21-1A54-4054-8C52-4708997AF24A}" dt="2022-04-18T17:02:20.027" v="12816" actId="478"/>
          <ac:grpSpMkLst>
            <pc:docMk/>
            <pc:sldMk cId="1746873201" sldId="380"/>
            <ac:grpSpMk id="9" creationId="{05E19E48-B4E9-449E-A058-92E5CEAB7640}"/>
          </ac:grpSpMkLst>
        </pc:grpChg>
        <pc:grpChg chg="add mod">
          <ac:chgData name="Tami Corson" userId="17b03132-2f21-4edf-a2df-f25c30f43233" providerId="ADAL" clId="{68B14A21-1A54-4054-8C52-4708997AF24A}" dt="2022-04-18T17:34:17.362" v="14450" actId="1076"/>
          <ac:grpSpMkLst>
            <pc:docMk/>
            <pc:sldMk cId="1746873201" sldId="380"/>
            <ac:grpSpMk id="13" creationId="{22F99862-B995-4428-9899-A2DE5DA4C888}"/>
          </ac:grpSpMkLst>
        </pc:grpChg>
        <pc:grpChg chg="add del mod">
          <ac:chgData name="Tami Corson" userId="17b03132-2f21-4edf-a2df-f25c30f43233" providerId="ADAL" clId="{68B14A21-1A54-4054-8C52-4708997AF24A}" dt="2022-04-18T17:33:46.833" v="14447" actId="478"/>
          <ac:grpSpMkLst>
            <pc:docMk/>
            <pc:sldMk cId="1746873201" sldId="380"/>
            <ac:grpSpMk id="17" creationId="{5F00647A-5D7C-4F4A-86D3-2FFDA11B8902}"/>
          </ac:grpSpMkLst>
        </pc:grpChg>
        <pc:grpChg chg="add mod">
          <ac:chgData name="Tami Corson" userId="17b03132-2f21-4edf-a2df-f25c30f43233" providerId="ADAL" clId="{68B14A21-1A54-4054-8C52-4708997AF24A}" dt="2022-04-18T17:34:08.003" v="14449"/>
          <ac:grpSpMkLst>
            <pc:docMk/>
            <pc:sldMk cId="1746873201" sldId="380"/>
            <ac:grpSpMk id="22" creationId="{54E8C039-5AD4-4118-8CD3-BA2B6CE4B700}"/>
          </ac:grpSpMkLst>
        </pc:grpChg>
        <pc:picChg chg="del mod">
          <ac:chgData name="Tami Corson" userId="17b03132-2f21-4edf-a2df-f25c30f43233" providerId="ADAL" clId="{68B14A21-1A54-4054-8C52-4708997AF24A}" dt="2022-04-18T23:34:13.535" v="15896" actId="478"/>
          <ac:picMkLst>
            <pc:docMk/>
            <pc:sldMk cId="1746873201" sldId="380"/>
            <ac:picMk id="2" creationId="{AC99CBE9-BA0A-FE13-1DA3-F406066DD23B}"/>
          </ac:picMkLst>
        </pc:picChg>
        <pc:picChg chg="add mod">
          <ac:chgData name="Tami Corson" userId="17b03132-2f21-4edf-a2df-f25c30f43233" providerId="ADAL" clId="{68B14A21-1A54-4054-8C52-4708997AF24A}" dt="2022-04-18T23:37:18.124" v="15929" actId="1076"/>
          <ac:picMkLst>
            <pc:docMk/>
            <pc:sldMk cId="1746873201" sldId="380"/>
            <ac:picMk id="4" creationId="{4072D814-F19F-4E83-B2EA-954E712A21E1}"/>
          </ac:picMkLst>
        </pc:picChg>
        <pc:picChg chg="add mod">
          <ac:chgData name="Tami Corson" userId="17b03132-2f21-4edf-a2df-f25c30f43233" providerId="ADAL" clId="{68B14A21-1A54-4054-8C52-4708997AF24A}" dt="2022-04-18T23:37:21.461" v="15930" actId="1076"/>
          <ac:picMkLst>
            <pc:docMk/>
            <pc:sldMk cId="1746873201" sldId="380"/>
            <ac:picMk id="6" creationId="{DDB5A74C-7422-42C6-85B2-2AF4A545DE23}"/>
          </ac:picMkLst>
        </pc:picChg>
        <pc:picChg chg="add mod">
          <ac:chgData name="Tami Corson" userId="17b03132-2f21-4edf-a2df-f25c30f43233" providerId="ADAL" clId="{68B14A21-1A54-4054-8C52-4708997AF24A}" dt="2022-04-18T23:37:25.200" v="15931" actId="1076"/>
          <ac:picMkLst>
            <pc:docMk/>
            <pc:sldMk cId="1746873201" sldId="380"/>
            <ac:picMk id="8" creationId="{453E7F76-0721-471F-A02E-8719F05BE661}"/>
          </ac:picMkLst>
        </pc:picChg>
        <pc:picChg chg="add mod">
          <ac:chgData name="Tami Corson" userId="17b03132-2f21-4edf-a2df-f25c30f43233" providerId="ADAL" clId="{68B14A21-1A54-4054-8C52-4708997AF24A}" dt="2022-04-18T23:37:30.562" v="15932" actId="1076"/>
          <ac:picMkLst>
            <pc:docMk/>
            <pc:sldMk cId="1746873201" sldId="380"/>
            <ac:picMk id="17" creationId="{A49395E6-7338-4E76-A893-5573168DCC7E}"/>
          </ac:picMkLst>
        </pc:picChg>
      </pc:sldChg>
      <pc:sldChg chg="modSp add mod ord">
        <pc:chgData name="Tami Corson" userId="17b03132-2f21-4edf-a2df-f25c30f43233" providerId="ADAL" clId="{68B14A21-1A54-4054-8C52-4708997AF24A}" dt="2022-04-18T17:03:54.685" v="12831"/>
        <pc:sldMkLst>
          <pc:docMk/>
          <pc:sldMk cId="2719342252" sldId="381"/>
        </pc:sldMkLst>
        <pc:spChg chg="mod">
          <ac:chgData name="Tami Corson" userId="17b03132-2f21-4edf-a2df-f25c30f43233" providerId="ADAL" clId="{68B14A21-1A54-4054-8C52-4708997AF24A}" dt="2022-04-05T22:41:12.698" v="5579" actId="14100"/>
          <ac:spMkLst>
            <pc:docMk/>
            <pc:sldMk cId="2719342252" sldId="381"/>
            <ac:spMk id="3" creationId="{70028C8A-C6FA-4CD2-92DD-340A37231D5E}"/>
          </ac:spMkLst>
        </pc:spChg>
      </pc:sldChg>
      <pc:sldChg chg="modSp add del mod setBg">
        <pc:chgData name="Tami Corson" userId="17b03132-2f21-4edf-a2df-f25c30f43233" providerId="ADAL" clId="{68B14A21-1A54-4054-8C52-4708997AF24A}" dt="2022-04-09T13:30:42.592" v="6628" actId="47"/>
        <pc:sldMkLst>
          <pc:docMk/>
          <pc:sldMk cId="334700532" sldId="382"/>
        </pc:sldMkLst>
        <pc:spChg chg="mod">
          <ac:chgData name="Tami Corson" userId="17b03132-2f21-4edf-a2df-f25c30f43233" providerId="ADAL" clId="{68B14A21-1A54-4054-8C52-4708997AF24A}" dt="2022-04-05T22:45:18.057" v="5837" actId="20577"/>
          <ac:spMkLst>
            <pc:docMk/>
            <pc:sldMk cId="334700532" sldId="382"/>
            <ac:spMk id="692" creationId="{00000000-0000-0000-0000-000000000000}"/>
          </ac:spMkLst>
        </pc:spChg>
      </pc:sldChg>
      <pc:sldChg chg="delSp modSp add mod setBg">
        <pc:chgData name="Tami Corson" userId="17b03132-2f21-4edf-a2df-f25c30f43233" providerId="ADAL" clId="{68B14A21-1A54-4054-8C52-4708997AF24A}" dt="2022-04-19T16:39:58.719" v="16138" actId="20577"/>
        <pc:sldMkLst>
          <pc:docMk/>
          <pc:sldMk cId="2982907289" sldId="382"/>
        </pc:sldMkLst>
        <pc:spChg chg="del">
          <ac:chgData name="Tami Corson" userId="17b03132-2f21-4edf-a2df-f25c30f43233" providerId="ADAL" clId="{68B14A21-1A54-4054-8C52-4708997AF24A}" dt="2022-04-19T12:47:25.272" v="15990" actId="478"/>
          <ac:spMkLst>
            <pc:docMk/>
            <pc:sldMk cId="2982907289" sldId="382"/>
            <ac:spMk id="2" creationId="{9E2F5AB8-9016-1C85-CF16-AAE6DD933A9F}"/>
          </ac:spMkLst>
        </pc:spChg>
        <pc:spChg chg="mod">
          <ac:chgData name="Tami Corson" userId="17b03132-2f21-4edf-a2df-f25c30f43233" providerId="ADAL" clId="{68B14A21-1A54-4054-8C52-4708997AF24A}" dt="2022-04-09T13:35:33.578" v="6712" actId="20577"/>
          <ac:spMkLst>
            <pc:docMk/>
            <pc:sldMk cId="2982907289" sldId="382"/>
            <ac:spMk id="692" creationId="{00000000-0000-0000-0000-000000000000}"/>
          </ac:spMkLst>
        </pc:spChg>
        <pc:graphicFrameChg chg="mod modGraphic">
          <ac:chgData name="Tami Corson" userId="17b03132-2f21-4edf-a2df-f25c30f43233" providerId="ADAL" clId="{68B14A21-1A54-4054-8C52-4708997AF24A}" dt="2022-04-19T16:39:58.719" v="16138" actId="20577"/>
          <ac:graphicFrameMkLst>
            <pc:docMk/>
            <pc:sldMk cId="2982907289" sldId="382"/>
            <ac:graphicFrameMk id="694" creationId="{00000000-0000-0000-0000-000000000000}"/>
          </ac:graphicFrameMkLst>
        </pc:graphicFrameChg>
      </pc:sldChg>
      <pc:sldChg chg="modSp add del mod setBg">
        <pc:chgData name="Tami Corson" userId="17b03132-2f21-4edf-a2df-f25c30f43233" providerId="ADAL" clId="{68B14A21-1A54-4054-8C52-4708997AF24A}" dt="2022-04-09T13:30:45.414" v="6629" actId="47"/>
        <pc:sldMkLst>
          <pc:docMk/>
          <pc:sldMk cId="1342854818" sldId="383"/>
        </pc:sldMkLst>
        <pc:spChg chg="mod">
          <ac:chgData name="Tami Corson" userId="17b03132-2f21-4edf-a2df-f25c30f43233" providerId="ADAL" clId="{68B14A21-1A54-4054-8C52-4708997AF24A}" dt="2022-04-05T22:45:22.871" v="5839" actId="20577"/>
          <ac:spMkLst>
            <pc:docMk/>
            <pc:sldMk cId="1342854818" sldId="383"/>
            <ac:spMk id="692" creationId="{00000000-0000-0000-0000-000000000000}"/>
          </ac:spMkLst>
        </pc:spChg>
      </pc:sldChg>
      <pc:sldChg chg="delSp modSp add mod">
        <pc:chgData name="Tami Corson" userId="17b03132-2f21-4edf-a2df-f25c30f43233" providerId="ADAL" clId="{68B14A21-1A54-4054-8C52-4708997AF24A}" dt="2022-04-19T16:31:18.811" v="16034" actId="3626"/>
        <pc:sldMkLst>
          <pc:docMk/>
          <pc:sldMk cId="4163644480" sldId="383"/>
        </pc:sldMkLst>
        <pc:spChg chg="del">
          <ac:chgData name="Tami Corson" userId="17b03132-2f21-4edf-a2df-f25c30f43233" providerId="ADAL" clId="{68B14A21-1A54-4054-8C52-4708997AF24A}" dt="2022-04-18T19:45:49.623" v="15563" actId="478"/>
          <ac:spMkLst>
            <pc:docMk/>
            <pc:sldMk cId="4163644480" sldId="383"/>
            <ac:spMk id="2" creationId="{8586361E-04E6-A86F-78CE-4B5D9A6D881F}"/>
          </ac:spMkLst>
        </pc:spChg>
        <pc:spChg chg="mod">
          <ac:chgData name="Tami Corson" userId="17b03132-2f21-4edf-a2df-f25c30f43233" providerId="ADAL" clId="{68B14A21-1A54-4054-8C52-4708997AF24A}" dt="2022-04-09T14:10:23.571" v="7550" actId="20577"/>
          <ac:spMkLst>
            <pc:docMk/>
            <pc:sldMk cId="4163644480" sldId="383"/>
            <ac:spMk id="692" creationId="{00000000-0000-0000-0000-000000000000}"/>
          </ac:spMkLst>
        </pc:spChg>
        <pc:graphicFrameChg chg="mod modGraphic">
          <ac:chgData name="Tami Corson" userId="17b03132-2f21-4edf-a2df-f25c30f43233" providerId="ADAL" clId="{68B14A21-1A54-4054-8C52-4708997AF24A}" dt="2022-04-19T16:31:18.811" v="16034" actId="3626"/>
          <ac:graphicFrameMkLst>
            <pc:docMk/>
            <pc:sldMk cId="4163644480" sldId="383"/>
            <ac:graphicFrameMk id="694" creationId="{00000000-0000-0000-0000-000000000000}"/>
          </ac:graphicFrameMkLst>
        </pc:graphicFrameChg>
      </pc:sldChg>
      <pc:sldChg chg="addSp modSp add mod">
        <pc:chgData name="Tami Corson" userId="17b03132-2f21-4edf-a2df-f25c30f43233" providerId="ADAL" clId="{68B14A21-1A54-4054-8C52-4708997AF24A}" dt="2022-04-19T14:37:05.239" v="16012" actId="1076"/>
        <pc:sldMkLst>
          <pc:docMk/>
          <pc:sldMk cId="0" sldId="384"/>
        </pc:sldMkLst>
        <pc:spChg chg="add mod">
          <ac:chgData name="Tami Corson" userId="17b03132-2f21-4edf-a2df-f25c30f43233" providerId="ADAL" clId="{68B14A21-1A54-4054-8C52-4708997AF24A}" dt="2022-04-18T23:29:34.977" v="15804" actId="20577"/>
          <ac:spMkLst>
            <pc:docMk/>
            <pc:sldMk cId="0" sldId="384"/>
            <ac:spMk id="2" creationId="{4CACD35F-2F4A-499E-8CF3-489D34CA2416}"/>
          </ac:spMkLst>
        </pc:spChg>
        <pc:spChg chg="mod">
          <ac:chgData name="Tami Corson" userId="17b03132-2f21-4edf-a2df-f25c30f43233" providerId="ADAL" clId="{68B14A21-1A54-4054-8C52-4708997AF24A}" dt="2022-04-19T14:35:21.210" v="16005" actId="1076"/>
          <ac:spMkLst>
            <pc:docMk/>
            <pc:sldMk cId="0" sldId="384"/>
            <ac:spMk id="41" creationId="{D7465A85-8A15-4EAD-96FC-B47DC0EA8700}"/>
          </ac:spMkLst>
        </pc:spChg>
        <pc:spChg chg="mod">
          <ac:chgData name="Tami Corson" userId="17b03132-2f21-4edf-a2df-f25c30f43233" providerId="ADAL" clId="{68B14A21-1A54-4054-8C52-4708997AF24A}" dt="2022-04-18T12:58:51.667" v="7577" actId="1076"/>
          <ac:spMkLst>
            <pc:docMk/>
            <pc:sldMk cId="0" sldId="384"/>
            <ac:spMk id="44" creationId="{28E8AA2B-7E30-48CF-86E4-5464130C7279}"/>
          </ac:spMkLst>
        </pc:spChg>
        <pc:spChg chg="mod">
          <ac:chgData name="Tami Corson" userId="17b03132-2f21-4edf-a2df-f25c30f43233" providerId="ADAL" clId="{68B14A21-1A54-4054-8C52-4708997AF24A}" dt="2022-04-18T12:57:39.451" v="7575" actId="6549"/>
          <ac:spMkLst>
            <pc:docMk/>
            <pc:sldMk cId="0" sldId="384"/>
            <ac:spMk id="195" creationId="{00000000-0000-0000-0000-000000000000}"/>
          </ac:spMkLst>
        </pc:spChg>
        <pc:spChg chg="mod">
          <ac:chgData name="Tami Corson" userId="17b03132-2f21-4edf-a2df-f25c30f43233" providerId="ADAL" clId="{68B14A21-1A54-4054-8C52-4708997AF24A}" dt="2022-04-18T16:03:46.093" v="11856" actId="1076"/>
          <ac:spMkLst>
            <pc:docMk/>
            <pc:sldMk cId="0" sldId="384"/>
            <ac:spMk id="198" creationId="{00000000-0000-0000-0000-000000000000}"/>
          </ac:spMkLst>
        </pc:spChg>
        <pc:spChg chg="mod">
          <ac:chgData name="Tami Corson" userId="17b03132-2f21-4edf-a2df-f25c30f43233" providerId="ADAL" clId="{68B14A21-1A54-4054-8C52-4708997AF24A}" dt="2022-04-18T12:59:38.565" v="7581" actId="1076"/>
          <ac:spMkLst>
            <pc:docMk/>
            <pc:sldMk cId="0" sldId="384"/>
            <ac:spMk id="199" creationId="{00000000-0000-0000-0000-000000000000}"/>
          </ac:spMkLst>
        </pc:spChg>
        <pc:spChg chg="mod">
          <ac:chgData name="Tami Corson" userId="17b03132-2f21-4edf-a2df-f25c30f43233" providerId="ADAL" clId="{68B14A21-1A54-4054-8C52-4708997AF24A}" dt="2022-04-19T14:35:10.285" v="16003" actId="1076"/>
          <ac:spMkLst>
            <pc:docMk/>
            <pc:sldMk cId="0" sldId="384"/>
            <ac:spMk id="212" creationId="{00000000-0000-0000-0000-000000000000}"/>
          </ac:spMkLst>
        </pc:spChg>
        <pc:spChg chg="mod">
          <ac:chgData name="Tami Corson" userId="17b03132-2f21-4edf-a2df-f25c30f43233" providerId="ADAL" clId="{68B14A21-1A54-4054-8C52-4708997AF24A}" dt="2022-04-19T14:35:15.825" v="16004" actId="1076"/>
          <ac:spMkLst>
            <pc:docMk/>
            <pc:sldMk cId="0" sldId="384"/>
            <ac:spMk id="213" creationId="{00000000-0000-0000-0000-000000000000}"/>
          </ac:spMkLst>
        </pc:spChg>
        <pc:spChg chg="mod">
          <ac:chgData name="Tami Corson" userId="17b03132-2f21-4edf-a2df-f25c30f43233" providerId="ADAL" clId="{68B14A21-1A54-4054-8C52-4708997AF24A}" dt="2022-04-19T14:35:26.058" v="16006" actId="1076"/>
          <ac:spMkLst>
            <pc:docMk/>
            <pc:sldMk cId="0" sldId="384"/>
            <ac:spMk id="218" creationId="{00000000-0000-0000-0000-000000000000}"/>
          </ac:spMkLst>
        </pc:spChg>
        <pc:spChg chg="mod">
          <ac:chgData name="Tami Corson" userId="17b03132-2f21-4edf-a2df-f25c30f43233" providerId="ADAL" clId="{68B14A21-1A54-4054-8C52-4708997AF24A}" dt="2022-04-19T14:35:37.441" v="16008" actId="1076"/>
          <ac:spMkLst>
            <pc:docMk/>
            <pc:sldMk cId="0" sldId="384"/>
            <ac:spMk id="219" creationId="{00000000-0000-0000-0000-000000000000}"/>
          </ac:spMkLst>
        </pc:spChg>
        <pc:spChg chg="mod">
          <ac:chgData name="Tami Corson" userId="17b03132-2f21-4edf-a2df-f25c30f43233" providerId="ADAL" clId="{68B14A21-1A54-4054-8C52-4708997AF24A}" dt="2022-04-19T14:35:32.408" v="16007" actId="1076"/>
          <ac:spMkLst>
            <pc:docMk/>
            <pc:sldMk cId="0" sldId="384"/>
            <ac:spMk id="220" creationId="{00000000-0000-0000-0000-000000000000}"/>
          </ac:spMkLst>
        </pc:spChg>
        <pc:spChg chg="mod">
          <ac:chgData name="Tami Corson" userId="17b03132-2f21-4edf-a2df-f25c30f43233" providerId="ADAL" clId="{68B14A21-1A54-4054-8C52-4708997AF24A}" dt="2022-04-18T12:59:18.824" v="7579" actId="1076"/>
          <ac:spMkLst>
            <pc:docMk/>
            <pc:sldMk cId="0" sldId="384"/>
            <ac:spMk id="221" creationId="{00000000-0000-0000-0000-000000000000}"/>
          </ac:spMkLst>
        </pc:spChg>
        <pc:spChg chg="mod">
          <ac:chgData name="Tami Corson" userId="17b03132-2f21-4edf-a2df-f25c30f43233" providerId="ADAL" clId="{68B14A21-1A54-4054-8C52-4708997AF24A}" dt="2022-04-18T12:59:18.824" v="7579" actId="1076"/>
          <ac:spMkLst>
            <pc:docMk/>
            <pc:sldMk cId="0" sldId="384"/>
            <ac:spMk id="222" creationId="{00000000-0000-0000-0000-000000000000}"/>
          </ac:spMkLst>
        </pc:spChg>
        <pc:spChg chg="mod">
          <ac:chgData name="Tami Corson" userId="17b03132-2f21-4edf-a2df-f25c30f43233" providerId="ADAL" clId="{68B14A21-1A54-4054-8C52-4708997AF24A}" dt="2022-04-18T12:58:51.667" v="7577" actId="1076"/>
          <ac:spMkLst>
            <pc:docMk/>
            <pc:sldMk cId="0" sldId="384"/>
            <ac:spMk id="223" creationId="{00000000-0000-0000-0000-000000000000}"/>
          </ac:spMkLst>
        </pc:spChg>
        <pc:grpChg chg="mod">
          <ac:chgData name="Tami Corson" userId="17b03132-2f21-4edf-a2df-f25c30f43233" providerId="ADAL" clId="{68B14A21-1A54-4054-8C52-4708997AF24A}" dt="2022-04-19T14:36:34.749" v="16011" actId="1076"/>
          <ac:grpSpMkLst>
            <pc:docMk/>
            <pc:sldMk cId="0" sldId="384"/>
            <ac:grpSpMk id="228" creationId="{00000000-0000-0000-0000-000000000000}"/>
          </ac:grpSpMkLst>
        </pc:grpChg>
        <pc:picChg chg="mod">
          <ac:chgData name="Tami Corson" userId="17b03132-2f21-4edf-a2df-f25c30f43233" providerId="ADAL" clId="{68B14A21-1A54-4054-8C52-4708997AF24A}" dt="2022-04-19T14:37:05.239" v="16012" actId="1076"/>
          <ac:picMkLst>
            <pc:docMk/>
            <pc:sldMk cId="0" sldId="384"/>
            <ac:picMk id="3" creationId="{94870796-FFF7-457A-B411-194834B58735}"/>
          </ac:picMkLst>
        </pc:picChg>
        <pc:picChg chg="mod">
          <ac:chgData name="Tami Corson" userId="17b03132-2f21-4edf-a2df-f25c30f43233" providerId="ADAL" clId="{68B14A21-1A54-4054-8C52-4708997AF24A}" dt="2022-04-19T14:36:27.798" v="16010" actId="1076"/>
          <ac:picMkLst>
            <pc:docMk/>
            <pc:sldMk cId="0" sldId="384"/>
            <ac:picMk id="5" creationId="{FC019060-1B28-4D51-9887-32F13B56AFC1}"/>
          </ac:picMkLst>
        </pc:picChg>
        <pc:picChg chg="mod">
          <ac:chgData name="Tami Corson" userId="17b03132-2f21-4edf-a2df-f25c30f43233" providerId="ADAL" clId="{68B14A21-1A54-4054-8C52-4708997AF24A}" dt="2022-04-18T12:58:51.667" v="7577" actId="1076"/>
          <ac:picMkLst>
            <pc:docMk/>
            <pc:sldMk cId="0" sldId="384"/>
            <ac:picMk id="6" creationId="{7948A3F3-9796-46CE-9F61-00A80F8DEF69}"/>
          </ac:picMkLst>
        </pc:picChg>
        <pc:picChg chg="mod">
          <ac:chgData name="Tami Corson" userId="17b03132-2f21-4edf-a2df-f25c30f43233" providerId="ADAL" clId="{68B14A21-1A54-4054-8C52-4708997AF24A}" dt="2022-04-18T12:59:32.290" v="7580" actId="1076"/>
          <ac:picMkLst>
            <pc:docMk/>
            <pc:sldMk cId="0" sldId="384"/>
            <ac:picMk id="15" creationId="{30F030A8-E0C2-4D8F-B8FE-82950621BB39}"/>
          </ac:picMkLst>
        </pc:picChg>
        <pc:picChg chg="mod">
          <ac:chgData name="Tami Corson" userId="17b03132-2f21-4edf-a2df-f25c30f43233" providerId="ADAL" clId="{68B14A21-1A54-4054-8C52-4708997AF24A}" dt="2022-04-18T12:59:18.824" v="7579" actId="1076"/>
          <ac:picMkLst>
            <pc:docMk/>
            <pc:sldMk cId="0" sldId="384"/>
            <ac:picMk id="201" creationId="{00000000-0000-0000-0000-000000000000}"/>
          </ac:picMkLst>
        </pc:picChg>
        <pc:picChg chg="mod">
          <ac:chgData name="Tami Corson" userId="17b03132-2f21-4edf-a2df-f25c30f43233" providerId="ADAL" clId="{68B14A21-1A54-4054-8C52-4708997AF24A}" dt="2022-04-18T12:59:18.824" v="7579" actId="1076"/>
          <ac:picMkLst>
            <pc:docMk/>
            <pc:sldMk cId="0" sldId="384"/>
            <ac:picMk id="202" creationId="{00000000-0000-0000-0000-000000000000}"/>
          </ac:picMkLst>
        </pc:picChg>
        <pc:picChg chg="mod">
          <ac:chgData name="Tami Corson" userId="17b03132-2f21-4edf-a2df-f25c30f43233" providerId="ADAL" clId="{68B14A21-1A54-4054-8C52-4708997AF24A}" dt="2022-04-18T12:59:18.824" v="7579" actId="1076"/>
          <ac:picMkLst>
            <pc:docMk/>
            <pc:sldMk cId="0" sldId="384"/>
            <ac:picMk id="204" creationId="{00000000-0000-0000-0000-000000000000}"/>
          </ac:picMkLst>
        </pc:picChg>
      </pc:sldChg>
      <pc:sldChg chg="modSp add del mod setBg">
        <pc:chgData name="Tami Corson" userId="17b03132-2f21-4edf-a2df-f25c30f43233" providerId="ADAL" clId="{68B14A21-1A54-4054-8C52-4708997AF24A}" dt="2022-04-09T13:30:49.240" v="6630" actId="47"/>
        <pc:sldMkLst>
          <pc:docMk/>
          <pc:sldMk cId="4142362150" sldId="384"/>
        </pc:sldMkLst>
        <pc:spChg chg="mod">
          <ac:chgData name="Tami Corson" userId="17b03132-2f21-4edf-a2df-f25c30f43233" providerId="ADAL" clId="{68B14A21-1A54-4054-8C52-4708997AF24A}" dt="2022-04-05T22:45:33.055" v="5849" actId="20577"/>
          <ac:spMkLst>
            <pc:docMk/>
            <pc:sldMk cId="4142362150" sldId="384"/>
            <ac:spMk id="692" creationId="{00000000-0000-0000-0000-000000000000}"/>
          </ac:spMkLst>
        </pc:spChg>
      </pc:sldChg>
      <pc:sldChg chg="addSp delSp modSp add mod ord">
        <pc:chgData name="Tami Corson" userId="17b03132-2f21-4edf-a2df-f25c30f43233" providerId="ADAL" clId="{68B14A21-1A54-4054-8C52-4708997AF24A}" dt="2022-04-18T21:49:17.731" v="15776" actId="1076"/>
        <pc:sldMkLst>
          <pc:docMk/>
          <pc:sldMk cId="2994314061" sldId="385"/>
        </pc:sldMkLst>
        <pc:spChg chg="mod">
          <ac:chgData name="Tami Corson" userId="17b03132-2f21-4edf-a2df-f25c30f43233" providerId="ADAL" clId="{68B14A21-1A54-4054-8C52-4708997AF24A}" dt="2022-04-18T17:27:30.692" v="14201" actId="20577"/>
          <ac:spMkLst>
            <pc:docMk/>
            <pc:sldMk cId="2994314061" sldId="385"/>
            <ac:spMk id="2" creationId="{B130319A-7C89-FDA7-FEA0-E56930B0A73C}"/>
          </ac:spMkLst>
        </pc:spChg>
        <pc:spChg chg="add del mod">
          <ac:chgData name="Tami Corson" userId="17b03132-2f21-4edf-a2df-f25c30f43233" providerId="ADAL" clId="{68B14A21-1A54-4054-8C52-4708997AF24A}" dt="2022-04-18T17:49:58.901" v="14814" actId="20577"/>
          <ac:spMkLst>
            <pc:docMk/>
            <pc:sldMk cId="2994314061" sldId="385"/>
            <ac:spMk id="12" creationId="{2A18C4E8-C461-494D-81E4-7EB6C08B7B32}"/>
          </ac:spMkLst>
        </pc:spChg>
        <pc:spChg chg="mod">
          <ac:chgData name="Tami Corson" userId="17b03132-2f21-4edf-a2df-f25c30f43233" providerId="ADAL" clId="{68B14A21-1A54-4054-8C52-4708997AF24A}" dt="2022-04-18T16:57:10.687" v="12798" actId="6549"/>
          <ac:spMkLst>
            <pc:docMk/>
            <pc:sldMk cId="2994314061" sldId="385"/>
            <ac:spMk id="616" creationId="{00000000-0000-0000-0000-000000000000}"/>
          </ac:spMkLst>
        </pc:spChg>
        <pc:picChg chg="add mod">
          <ac:chgData name="Tami Corson" userId="17b03132-2f21-4edf-a2df-f25c30f43233" providerId="ADAL" clId="{68B14A21-1A54-4054-8C52-4708997AF24A}" dt="2022-04-18T21:49:17.731" v="15776" actId="1076"/>
          <ac:picMkLst>
            <pc:docMk/>
            <pc:sldMk cId="2994314061" sldId="385"/>
            <ac:picMk id="4" creationId="{39FD44A5-94D1-4EAA-9D46-3E59703AFA21}"/>
          </ac:picMkLst>
        </pc:picChg>
      </pc:sldChg>
      <pc:sldChg chg="addSp delSp modSp add mod setBg">
        <pc:chgData name="Tami Corson" userId="17b03132-2f21-4edf-a2df-f25c30f43233" providerId="ADAL" clId="{68B14A21-1A54-4054-8C52-4708997AF24A}" dt="2022-04-18T19:31:25.564" v="15287" actId="1076"/>
        <pc:sldMkLst>
          <pc:docMk/>
          <pc:sldMk cId="170308247" sldId="388"/>
        </pc:sldMkLst>
        <pc:spChg chg="del">
          <ac:chgData name="Tami Corson" userId="17b03132-2f21-4edf-a2df-f25c30f43233" providerId="ADAL" clId="{68B14A21-1A54-4054-8C52-4708997AF24A}" dt="2022-04-18T19:03:22.301" v="15173" actId="478"/>
          <ac:spMkLst>
            <pc:docMk/>
            <pc:sldMk cId="170308247" sldId="388"/>
            <ac:spMk id="17" creationId="{DEF69BFC-72EE-484A-919A-8AC606BDAD96}"/>
          </ac:spMkLst>
        </pc:spChg>
        <pc:spChg chg="mod">
          <ac:chgData name="Tami Corson" userId="17b03132-2f21-4edf-a2df-f25c30f43233" providerId="ADAL" clId="{68B14A21-1A54-4054-8C52-4708997AF24A}" dt="2022-04-18T18:57:01.868" v="15165" actId="6549"/>
          <ac:spMkLst>
            <pc:docMk/>
            <pc:sldMk cId="170308247" sldId="388"/>
            <ac:spMk id="18" creationId="{A4455F1E-5439-4739-93B5-E2C39007984E}"/>
          </ac:spMkLst>
        </pc:spChg>
        <pc:spChg chg="mod">
          <ac:chgData name="Tami Corson" userId="17b03132-2f21-4edf-a2df-f25c30f43233" providerId="ADAL" clId="{68B14A21-1A54-4054-8C52-4708997AF24A}" dt="2022-04-18T18:53:16.244" v="15134" actId="20577"/>
          <ac:spMkLst>
            <pc:docMk/>
            <pc:sldMk cId="170308247" sldId="388"/>
            <ac:spMk id="572" creationId="{00000000-0000-0000-0000-000000000000}"/>
          </ac:spMkLst>
        </pc:spChg>
        <pc:spChg chg="mod">
          <ac:chgData name="Tami Corson" userId="17b03132-2f21-4edf-a2df-f25c30f43233" providerId="ADAL" clId="{68B14A21-1A54-4054-8C52-4708997AF24A}" dt="2022-04-18T19:31:06.783" v="15285" actId="20577"/>
          <ac:spMkLst>
            <pc:docMk/>
            <pc:sldMk cId="170308247" sldId="388"/>
            <ac:spMk id="579" creationId="{00000000-0000-0000-0000-000000000000}"/>
          </ac:spMkLst>
        </pc:spChg>
        <pc:picChg chg="add mod">
          <ac:chgData name="Tami Corson" userId="17b03132-2f21-4edf-a2df-f25c30f43233" providerId="ADAL" clId="{68B14A21-1A54-4054-8C52-4708997AF24A}" dt="2022-04-18T19:31:22.859" v="15286" actId="1076"/>
          <ac:picMkLst>
            <pc:docMk/>
            <pc:sldMk cId="170308247" sldId="388"/>
            <ac:picMk id="6" creationId="{748600B8-95F8-4BFF-B919-6F2ECB69D2DC}"/>
          </ac:picMkLst>
        </pc:picChg>
        <pc:picChg chg="add mod">
          <ac:chgData name="Tami Corson" userId="17b03132-2f21-4edf-a2df-f25c30f43233" providerId="ADAL" clId="{68B14A21-1A54-4054-8C52-4708997AF24A}" dt="2022-04-18T19:31:25.564" v="15287" actId="1076"/>
          <ac:picMkLst>
            <pc:docMk/>
            <pc:sldMk cId="170308247" sldId="388"/>
            <ac:picMk id="9" creationId="{20507644-0564-4CCF-BAC6-C05F3AB27ACB}"/>
          </ac:picMkLst>
        </pc:picChg>
      </pc:sldChg>
      <pc:sldChg chg="addSp modSp new mod">
        <pc:chgData name="Tami Corson" userId="17b03132-2f21-4edf-a2df-f25c30f43233" providerId="ADAL" clId="{68B14A21-1A54-4054-8C52-4708997AF24A}" dt="2022-04-19T12:46:07.384" v="15955" actId="207"/>
        <pc:sldMkLst>
          <pc:docMk/>
          <pc:sldMk cId="3826630219" sldId="389"/>
        </pc:sldMkLst>
        <pc:spChg chg="add mod">
          <ac:chgData name="Tami Corson" userId="17b03132-2f21-4edf-a2df-f25c30f43233" providerId="ADAL" clId="{68B14A21-1A54-4054-8C52-4708997AF24A}" dt="2022-04-19T12:46:07.384" v="15955" actId="207"/>
          <ac:spMkLst>
            <pc:docMk/>
            <pc:sldMk cId="3826630219" sldId="389"/>
            <ac:spMk id="3" creationId="{3C61C0F6-1CD7-4F43-A4CD-4AAFCDE97A20}"/>
          </ac:spMkLst>
        </pc:spChg>
      </pc:sldChg>
    </pc:docChg>
  </pc:docChgLst>
  <pc:docChgLst>
    <pc:chgData name="Guest User" userId="S::urn:spo:anon#6bbc8ad3065cd11d92081721a572e8f9c9b85cc64084c82913bb48609c033f69::" providerId="AD" clId="Web-{E0C9DE80-9D5F-459F-938B-6F4A3C9C60D2}"/>
    <pc:docChg chg="addSld delSld modSld">
      <pc:chgData name="Guest User" userId="S::urn:spo:anon#6bbc8ad3065cd11d92081721a572e8f9c9b85cc64084c82913bb48609c033f69::" providerId="AD" clId="Web-{E0C9DE80-9D5F-459F-938B-6F4A3C9C60D2}" dt="2022-04-19T17:15:32.459" v="409" actId="20577"/>
      <pc:docMkLst>
        <pc:docMk/>
      </pc:docMkLst>
      <pc:sldChg chg="modSp">
        <pc:chgData name="Guest User" userId="S::urn:spo:anon#6bbc8ad3065cd11d92081721a572e8f9c9b85cc64084c82913bb48609c033f69::" providerId="AD" clId="Web-{E0C9DE80-9D5F-459F-938B-6F4A3C9C60D2}" dt="2022-04-19T17:12:04.736" v="387" actId="14100"/>
        <pc:sldMkLst>
          <pc:docMk/>
          <pc:sldMk cId="0" sldId="258"/>
        </pc:sldMkLst>
        <pc:spChg chg="mod">
          <ac:chgData name="Guest User" userId="S::urn:spo:anon#6bbc8ad3065cd11d92081721a572e8f9c9b85cc64084c82913bb48609c033f69::" providerId="AD" clId="Web-{E0C9DE80-9D5F-459F-938B-6F4A3C9C60D2}" dt="2022-04-19T17:11:45.345" v="384" actId="1076"/>
          <ac:spMkLst>
            <pc:docMk/>
            <pc:sldMk cId="0" sldId="258"/>
            <ac:spMk id="251" creationId="{00000000-0000-0000-0000-000000000000}"/>
          </ac:spMkLst>
        </pc:spChg>
        <pc:spChg chg="mod">
          <ac:chgData name="Guest User" userId="S::urn:spo:anon#6bbc8ad3065cd11d92081721a572e8f9c9b85cc64084c82913bb48609c033f69::" providerId="AD" clId="Web-{E0C9DE80-9D5F-459F-938B-6F4A3C9C60D2}" dt="2022-04-19T17:11:57.580" v="385" actId="1076"/>
          <ac:spMkLst>
            <pc:docMk/>
            <pc:sldMk cId="0" sldId="258"/>
            <ac:spMk id="253" creationId="{00000000-0000-0000-0000-000000000000}"/>
          </ac:spMkLst>
        </pc:spChg>
        <pc:spChg chg="mod">
          <ac:chgData name="Guest User" userId="S::urn:spo:anon#6bbc8ad3065cd11d92081721a572e8f9c9b85cc64084c82913bb48609c033f69::" providerId="AD" clId="Web-{E0C9DE80-9D5F-459F-938B-6F4A3C9C60D2}" dt="2022-04-19T17:12:04.736" v="387" actId="14100"/>
          <ac:spMkLst>
            <pc:docMk/>
            <pc:sldMk cId="0" sldId="258"/>
            <ac:spMk id="256" creationId="{00000000-0000-0000-0000-000000000000}"/>
          </ac:spMkLst>
        </pc:spChg>
      </pc:sldChg>
      <pc:sldChg chg="addSp delSp modSp">
        <pc:chgData name="Guest User" userId="S::urn:spo:anon#6bbc8ad3065cd11d92081721a572e8f9c9b85cc64084c82913bb48609c033f69::" providerId="AD" clId="Web-{E0C9DE80-9D5F-459F-938B-6F4A3C9C60D2}" dt="2022-04-19T17:13:03.644" v="395" actId="20577"/>
        <pc:sldMkLst>
          <pc:docMk/>
          <pc:sldMk cId="0" sldId="259"/>
        </pc:sldMkLst>
        <pc:spChg chg="add del mod">
          <ac:chgData name="Guest User" userId="S::urn:spo:anon#6bbc8ad3065cd11d92081721a572e8f9c9b85cc64084c82913bb48609c033f69::" providerId="AD" clId="Web-{E0C9DE80-9D5F-459F-938B-6F4A3C9C60D2}" dt="2022-04-19T17:12:44.690" v="393"/>
          <ac:spMkLst>
            <pc:docMk/>
            <pc:sldMk cId="0" sldId="259"/>
            <ac:spMk id="2" creationId="{60EB5642-8789-1AF6-FCE7-5B2B572A785D}"/>
          </ac:spMkLst>
        </pc:spChg>
        <pc:spChg chg="mod">
          <ac:chgData name="Guest User" userId="S::urn:spo:anon#6bbc8ad3065cd11d92081721a572e8f9c9b85cc64084c82913bb48609c033f69::" providerId="AD" clId="Web-{E0C9DE80-9D5F-459F-938B-6F4A3C9C60D2}" dt="2022-04-19T16:27:43.575" v="69" actId="1076"/>
          <ac:spMkLst>
            <pc:docMk/>
            <pc:sldMk cId="0" sldId="259"/>
            <ac:spMk id="311" creationId="{00000000-0000-0000-0000-000000000000}"/>
          </ac:spMkLst>
        </pc:spChg>
        <pc:spChg chg="mod">
          <ac:chgData name="Guest User" userId="S::urn:spo:anon#6bbc8ad3065cd11d92081721a572e8f9c9b85cc64084c82913bb48609c033f69::" providerId="AD" clId="Web-{E0C9DE80-9D5F-459F-938B-6F4A3C9C60D2}" dt="2022-04-19T16:27:43.544" v="68" actId="1076"/>
          <ac:spMkLst>
            <pc:docMk/>
            <pc:sldMk cId="0" sldId="259"/>
            <ac:spMk id="312" creationId="{00000000-0000-0000-0000-000000000000}"/>
          </ac:spMkLst>
        </pc:spChg>
        <pc:spChg chg="mod">
          <ac:chgData name="Guest User" userId="S::urn:spo:anon#6bbc8ad3065cd11d92081721a572e8f9c9b85cc64084c82913bb48609c033f69::" providerId="AD" clId="Web-{E0C9DE80-9D5F-459F-938B-6F4A3C9C60D2}" dt="2022-04-19T17:13:03.644" v="395" actId="20577"/>
          <ac:spMkLst>
            <pc:docMk/>
            <pc:sldMk cId="0" sldId="259"/>
            <ac:spMk id="318" creationId="{00000000-0000-0000-0000-000000000000}"/>
          </ac:spMkLst>
        </pc:spChg>
        <pc:spChg chg="mod">
          <ac:chgData name="Guest User" userId="S::urn:spo:anon#6bbc8ad3065cd11d92081721a572e8f9c9b85cc64084c82913bb48609c033f69::" providerId="AD" clId="Web-{E0C9DE80-9D5F-459F-938B-6F4A3C9C60D2}" dt="2022-04-19T17:12:26.002" v="390" actId="14100"/>
          <ac:spMkLst>
            <pc:docMk/>
            <pc:sldMk cId="0" sldId="259"/>
            <ac:spMk id="319" creationId="{00000000-0000-0000-0000-000000000000}"/>
          </ac:spMkLst>
        </pc:spChg>
        <pc:grpChg chg="mod">
          <ac:chgData name="Guest User" userId="S::urn:spo:anon#6bbc8ad3065cd11d92081721a572e8f9c9b85cc64084c82913bb48609c033f69::" providerId="AD" clId="Web-{E0C9DE80-9D5F-459F-938B-6F4A3C9C60D2}" dt="2022-04-19T16:26:32.402" v="58" actId="1076"/>
          <ac:grpSpMkLst>
            <pc:docMk/>
            <pc:sldMk cId="0" sldId="259"/>
            <ac:grpSpMk id="315" creationId="{00000000-0000-0000-0000-000000000000}"/>
          </ac:grpSpMkLst>
        </pc:grpChg>
        <pc:cxnChg chg="ord">
          <ac:chgData name="Guest User" userId="S::urn:spo:anon#6bbc8ad3065cd11d92081721a572e8f9c9b85cc64084c82913bb48609c033f69::" providerId="AD" clId="Web-{E0C9DE80-9D5F-459F-938B-6F4A3C9C60D2}" dt="2022-04-19T16:26:54.699" v="59"/>
          <ac:cxnSpMkLst>
            <pc:docMk/>
            <pc:sldMk cId="0" sldId="259"/>
            <ac:cxnSpMk id="316" creationId="{00000000-0000-0000-0000-000000000000}"/>
          </ac:cxnSpMkLst>
        </pc:cxnChg>
      </pc:sldChg>
      <pc:sldChg chg="mod setBg">
        <pc:chgData name="Guest User" userId="S::urn:spo:anon#6bbc8ad3065cd11d92081721a572e8f9c9b85cc64084c82913bb48609c033f69::" providerId="AD" clId="Web-{E0C9DE80-9D5F-459F-938B-6F4A3C9C60D2}" dt="2022-04-19T16:36:08.960" v="169"/>
        <pc:sldMkLst>
          <pc:docMk/>
          <pc:sldMk cId="0" sldId="261"/>
        </pc:sldMkLst>
      </pc:sldChg>
      <pc:sldChg chg="addSp delSp modSp">
        <pc:chgData name="Guest User" userId="S::urn:spo:anon#6bbc8ad3065cd11d92081721a572e8f9c9b85cc64084c82913bb48609c033f69::" providerId="AD" clId="Web-{E0C9DE80-9D5F-459F-938B-6F4A3C9C60D2}" dt="2022-04-19T16:32:03.986" v="136" actId="1076"/>
        <pc:sldMkLst>
          <pc:docMk/>
          <pc:sldMk cId="0" sldId="264"/>
        </pc:sldMkLst>
        <pc:spChg chg="add mod">
          <ac:chgData name="Guest User" userId="S::urn:spo:anon#6bbc8ad3065cd11d92081721a572e8f9c9b85cc64084c82913bb48609c033f69::" providerId="AD" clId="Web-{E0C9DE80-9D5F-459F-938B-6F4A3C9C60D2}" dt="2022-04-19T16:31:29.814" v="127" actId="1076"/>
          <ac:spMkLst>
            <pc:docMk/>
            <pc:sldMk cId="0" sldId="264"/>
            <ac:spMk id="25" creationId="{11D840CE-A644-49E7-90D3-1CDCD476DB41}"/>
          </ac:spMkLst>
        </pc:spChg>
        <pc:spChg chg="mod">
          <ac:chgData name="Guest User" userId="S::urn:spo:anon#6bbc8ad3065cd11d92081721a572e8f9c9b85cc64084c82913bb48609c033f69::" providerId="AD" clId="Web-{E0C9DE80-9D5F-459F-938B-6F4A3C9C60D2}" dt="2022-04-19T16:31:37.392" v="130" actId="1076"/>
          <ac:spMkLst>
            <pc:docMk/>
            <pc:sldMk cId="0" sldId="264"/>
            <ac:spMk id="26" creationId="{63D5B65A-793E-4E79-B52C-834340BABD85}"/>
          </ac:spMkLst>
        </pc:spChg>
        <pc:spChg chg="del mod">
          <ac:chgData name="Guest User" userId="S::urn:spo:anon#6bbc8ad3065cd11d92081721a572e8f9c9b85cc64084c82913bb48609c033f69::" providerId="AD" clId="Web-{E0C9DE80-9D5F-459F-938B-6F4A3C9C60D2}" dt="2022-04-19T16:31:29.298" v="126"/>
          <ac:spMkLst>
            <pc:docMk/>
            <pc:sldMk cId="0" sldId="264"/>
            <ac:spMk id="29" creationId="{CE4534C1-122C-4584-960F-B0117C9A488A}"/>
          </ac:spMkLst>
        </pc:spChg>
        <pc:spChg chg="mod">
          <ac:chgData name="Guest User" userId="S::urn:spo:anon#6bbc8ad3065cd11d92081721a572e8f9c9b85cc64084c82913bb48609c033f69::" providerId="AD" clId="Web-{E0C9DE80-9D5F-459F-938B-6F4A3C9C60D2}" dt="2022-04-19T16:31:45.439" v="133" actId="1076"/>
          <ac:spMkLst>
            <pc:docMk/>
            <pc:sldMk cId="0" sldId="264"/>
            <ac:spMk id="30" creationId="{100AEE39-1F64-4466-ACEE-5B01ED088536}"/>
          </ac:spMkLst>
        </pc:spChg>
        <pc:grpChg chg="mod">
          <ac:chgData name="Guest User" userId="S::urn:spo:anon#6bbc8ad3065cd11d92081721a572e8f9c9b85cc64084c82913bb48609c033f69::" providerId="AD" clId="Web-{E0C9DE80-9D5F-459F-938B-6F4A3C9C60D2}" dt="2022-04-19T16:31:45.408" v="131" actId="1076"/>
          <ac:grpSpMkLst>
            <pc:docMk/>
            <pc:sldMk cId="0" sldId="264"/>
            <ac:grpSpMk id="71" creationId="{6AE99249-61B0-4010-A9C3-CCC1E2A6D758}"/>
          </ac:grpSpMkLst>
        </pc:grpChg>
        <pc:grpChg chg="mod">
          <ac:chgData name="Guest User" userId="S::urn:spo:anon#6bbc8ad3065cd11d92081721a572e8f9c9b85cc64084c82913bb48609c033f69::" providerId="AD" clId="Web-{E0C9DE80-9D5F-459F-938B-6F4A3C9C60D2}" dt="2022-04-19T16:31:37.361" v="128" actId="1076"/>
          <ac:grpSpMkLst>
            <pc:docMk/>
            <pc:sldMk cId="0" sldId="264"/>
            <ac:grpSpMk id="75" creationId="{2F4C0EEE-B2A5-4F5F-BA6D-5346F5BDD0C0}"/>
          </ac:grpSpMkLst>
        </pc:grpChg>
        <pc:graphicFrameChg chg="mod">
          <ac:chgData name="Guest User" userId="S::urn:spo:anon#6bbc8ad3065cd11d92081721a572e8f9c9b85cc64084c82913bb48609c033f69::" providerId="AD" clId="Web-{E0C9DE80-9D5F-459F-938B-6F4A3C9C60D2}" dt="2022-04-19T16:32:03.986" v="136" actId="1076"/>
          <ac:graphicFrameMkLst>
            <pc:docMk/>
            <pc:sldMk cId="0" sldId="264"/>
            <ac:graphicFrameMk id="488" creationId="{00000000-0000-0000-0000-000000000000}"/>
          </ac:graphicFrameMkLst>
        </pc:graphicFrameChg>
        <pc:cxnChg chg="mod">
          <ac:chgData name="Guest User" userId="S::urn:spo:anon#6bbc8ad3065cd11d92081721a572e8f9c9b85cc64084c82913bb48609c033f69::" providerId="AD" clId="Web-{E0C9DE80-9D5F-459F-938B-6F4A3C9C60D2}" dt="2022-04-19T16:31:56.205" v="135" actId="1076"/>
          <ac:cxnSpMkLst>
            <pc:docMk/>
            <pc:sldMk cId="0" sldId="264"/>
            <ac:cxnSpMk id="24" creationId="{9895C561-40F6-FFF0-1D13-CF25703C5BED}"/>
          </ac:cxnSpMkLst>
        </pc:cxnChg>
        <pc:cxnChg chg="mod">
          <ac:chgData name="Guest User" userId="S::urn:spo:anon#6bbc8ad3065cd11d92081721a572e8f9c9b85cc64084c82913bb48609c033f69::" providerId="AD" clId="Web-{E0C9DE80-9D5F-459F-938B-6F4A3C9C60D2}" dt="2022-04-19T16:31:37.361" v="129" actId="1076"/>
          <ac:cxnSpMkLst>
            <pc:docMk/>
            <pc:sldMk cId="0" sldId="264"/>
            <ac:cxnSpMk id="83" creationId="{8A2F6C26-81D3-43E5-B4BE-4DD32D42E75D}"/>
          </ac:cxnSpMkLst>
        </pc:cxnChg>
        <pc:cxnChg chg="mod">
          <ac:chgData name="Guest User" userId="S::urn:spo:anon#6bbc8ad3065cd11d92081721a572e8f9c9b85cc64084c82913bb48609c033f69::" providerId="AD" clId="Web-{E0C9DE80-9D5F-459F-938B-6F4A3C9C60D2}" dt="2022-04-19T16:31:45.423" v="132" actId="1076"/>
          <ac:cxnSpMkLst>
            <pc:docMk/>
            <pc:sldMk cId="0" sldId="264"/>
            <ac:cxnSpMk id="84" creationId="{AC6210DF-562A-41C9-9E37-6F2588D8CA5A}"/>
          </ac:cxnSpMkLst>
        </pc:cxnChg>
      </pc:sldChg>
      <pc:sldChg chg="modSp">
        <pc:chgData name="Guest User" userId="S::urn:spo:anon#6bbc8ad3065cd11d92081721a572e8f9c9b85cc64084c82913bb48609c033f69::" providerId="AD" clId="Web-{E0C9DE80-9D5F-459F-938B-6F4A3C9C60D2}" dt="2022-04-19T17:04:15.352" v="380" actId="1076"/>
        <pc:sldMkLst>
          <pc:docMk/>
          <pc:sldMk cId="0" sldId="267"/>
        </pc:sldMkLst>
        <pc:spChg chg="mod">
          <ac:chgData name="Guest User" userId="S::urn:spo:anon#6bbc8ad3065cd11d92081721a572e8f9c9b85cc64084c82913bb48609c033f69::" providerId="AD" clId="Web-{E0C9DE80-9D5F-459F-938B-6F4A3C9C60D2}" dt="2022-04-19T17:04:15.352" v="380" actId="1076"/>
          <ac:spMkLst>
            <pc:docMk/>
            <pc:sldMk cId="0" sldId="267"/>
            <ac:spMk id="572" creationId="{00000000-0000-0000-0000-000000000000}"/>
          </ac:spMkLst>
        </pc:spChg>
      </pc:sldChg>
      <pc:sldChg chg="mod setBg">
        <pc:chgData name="Guest User" userId="S::urn:spo:anon#6bbc8ad3065cd11d92081721a572e8f9c9b85cc64084c82913bb48609c033f69::" providerId="AD" clId="Web-{E0C9DE80-9D5F-459F-938B-6F4A3C9C60D2}" dt="2022-04-19T16:46:12.222" v="291"/>
        <pc:sldMkLst>
          <pc:docMk/>
          <pc:sldMk cId="0" sldId="275"/>
        </pc:sldMkLst>
      </pc:sldChg>
      <pc:sldChg chg="modSp">
        <pc:chgData name="Guest User" userId="S::urn:spo:anon#6bbc8ad3065cd11d92081721a572e8f9c9b85cc64084c82913bb48609c033f69::" providerId="AD" clId="Web-{E0C9DE80-9D5F-459F-938B-6F4A3C9C60D2}" dt="2022-04-19T16:46:46.707" v="298" actId="1076"/>
        <pc:sldMkLst>
          <pc:docMk/>
          <pc:sldMk cId="0" sldId="279"/>
        </pc:sldMkLst>
        <pc:spChg chg="mod">
          <ac:chgData name="Guest User" userId="S::urn:spo:anon#6bbc8ad3065cd11d92081721a572e8f9c9b85cc64084c82913bb48609c033f69::" providerId="AD" clId="Web-{E0C9DE80-9D5F-459F-938B-6F4A3C9C60D2}" dt="2022-04-19T16:46:46.691" v="297" actId="1076"/>
          <ac:spMkLst>
            <pc:docMk/>
            <pc:sldMk cId="0" sldId="279"/>
            <ac:spMk id="851" creationId="{00000000-0000-0000-0000-000000000000}"/>
          </ac:spMkLst>
        </pc:spChg>
        <pc:spChg chg="mod">
          <ac:chgData name="Guest User" userId="S::urn:spo:anon#6bbc8ad3065cd11d92081721a572e8f9c9b85cc64084c82913bb48609c033f69::" providerId="AD" clId="Web-{E0C9DE80-9D5F-459F-938B-6F4A3C9C60D2}" dt="2022-04-19T16:46:46.707" v="298" actId="1076"/>
          <ac:spMkLst>
            <pc:docMk/>
            <pc:sldMk cId="0" sldId="279"/>
            <ac:spMk id="852" creationId="{00000000-0000-0000-0000-000000000000}"/>
          </ac:spMkLst>
        </pc:spChg>
      </pc:sldChg>
      <pc:sldChg chg="modSp">
        <pc:chgData name="Guest User" userId="S::urn:spo:anon#6bbc8ad3065cd11d92081721a572e8f9c9b85cc64084c82913bb48609c033f69::" providerId="AD" clId="Web-{E0C9DE80-9D5F-459F-938B-6F4A3C9C60D2}" dt="2022-04-19T16:47:01.019" v="300" actId="14100"/>
        <pc:sldMkLst>
          <pc:docMk/>
          <pc:sldMk cId="0" sldId="280"/>
        </pc:sldMkLst>
        <pc:spChg chg="mod">
          <ac:chgData name="Guest User" userId="S::urn:spo:anon#6bbc8ad3065cd11d92081721a572e8f9c9b85cc64084c82913bb48609c033f69::" providerId="AD" clId="Web-{E0C9DE80-9D5F-459F-938B-6F4A3C9C60D2}" dt="2022-04-19T16:47:01.019" v="300" actId="14100"/>
          <ac:spMkLst>
            <pc:docMk/>
            <pc:sldMk cId="0" sldId="280"/>
            <ac:spMk id="863" creationId="{00000000-0000-0000-0000-000000000000}"/>
          </ac:spMkLst>
        </pc:spChg>
        <pc:cxnChg chg="mod">
          <ac:chgData name="Guest User" userId="S::urn:spo:anon#6bbc8ad3065cd11d92081721a572e8f9c9b85cc64084c82913bb48609c033f69::" providerId="AD" clId="Web-{E0C9DE80-9D5F-459F-938B-6F4A3C9C60D2}" dt="2022-04-19T16:46:54.113" v="299" actId="14100"/>
          <ac:cxnSpMkLst>
            <pc:docMk/>
            <pc:sldMk cId="0" sldId="280"/>
            <ac:cxnSpMk id="864" creationId="{00000000-0000-0000-0000-000000000000}"/>
          </ac:cxnSpMkLst>
        </pc:cxnChg>
      </pc:sldChg>
      <pc:sldChg chg="delSp modSp">
        <pc:chgData name="Guest User" userId="S::urn:spo:anon#6bbc8ad3065cd11d92081721a572e8f9c9b85cc64084c82913bb48609c033f69::" providerId="AD" clId="Web-{E0C9DE80-9D5F-459F-938B-6F4A3C9C60D2}" dt="2022-04-19T16:47:34.114" v="305"/>
        <pc:sldMkLst>
          <pc:docMk/>
          <pc:sldMk cId="0" sldId="283"/>
        </pc:sldMkLst>
        <pc:spChg chg="del">
          <ac:chgData name="Guest User" userId="S::urn:spo:anon#6bbc8ad3065cd11d92081721a572e8f9c9b85cc64084c82913bb48609c033f69::" providerId="AD" clId="Web-{E0C9DE80-9D5F-459F-938B-6F4A3C9C60D2}" dt="2022-04-19T16:47:10.598" v="301"/>
          <ac:spMkLst>
            <pc:docMk/>
            <pc:sldMk cId="0" sldId="283"/>
            <ac:spMk id="927" creationId="{00000000-0000-0000-0000-000000000000}"/>
          </ac:spMkLst>
        </pc:spChg>
        <pc:spChg chg="del">
          <ac:chgData name="Guest User" userId="S::urn:spo:anon#6bbc8ad3065cd11d92081721a572e8f9c9b85cc64084c82913bb48609c033f69::" providerId="AD" clId="Web-{E0C9DE80-9D5F-459F-938B-6F4A3C9C60D2}" dt="2022-04-19T16:47:20.926" v="303"/>
          <ac:spMkLst>
            <pc:docMk/>
            <pc:sldMk cId="0" sldId="283"/>
            <ac:spMk id="928" creationId="{00000000-0000-0000-0000-000000000000}"/>
          </ac:spMkLst>
        </pc:spChg>
        <pc:spChg chg="del">
          <ac:chgData name="Guest User" userId="S::urn:spo:anon#6bbc8ad3065cd11d92081721a572e8f9c9b85cc64084c82913bb48609c033f69::" providerId="AD" clId="Web-{E0C9DE80-9D5F-459F-938B-6F4A3C9C60D2}" dt="2022-04-19T16:47:34.114" v="305"/>
          <ac:spMkLst>
            <pc:docMk/>
            <pc:sldMk cId="0" sldId="283"/>
            <ac:spMk id="929" creationId="{00000000-0000-0000-0000-000000000000}"/>
          </ac:spMkLst>
        </pc:spChg>
        <pc:graphicFrameChg chg="mod">
          <ac:chgData name="Guest User" userId="S::urn:spo:anon#6bbc8ad3065cd11d92081721a572e8f9c9b85cc64084c82913bb48609c033f69::" providerId="AD" clId="Web-{E0C9DE80-9D5F-459F-938B-6F4A3C9C60D2}" dt="2022-04-19T16:47:26.926" v="304" actId="1076"/>
          <ac:graphicFrameMkLst>
            <pc:docMk/>
            <pc:sldMk cId="0" sldId="283"/>
            <ac:graphicFrameMk id="930" creationId="{00000000-0000-0000-0000-000000000000}"/>
          </ac:graphicFrameMkLst>
        </pc:graphicFrameChg>
      </pc:sldChg>
      <pc:sldChg chg="modSp mod setBg">
        <pc:chgData name="Guest User" userId="S::urn:spo:anon#6bbc8ad3065cd11d92081721a572e8f9c9b85cc64084c82913bb48609c033f69::" providerId="AD" clId="Web-{E0C9DE80-9D5F-459F-938B-6F4A3C9C60D2}" dt="2022-04-19T17:02:16.381" v="360" actId="1076"/>
        <pc:sldMkLst>
          <pc:docMk/>
          <pc:sldMk cId="3210015788" sldId="303"/>
        </pc:sldMkLst>
        <pc:spChg chg="mod">
          <ac:chgData name="Guest User" userId="S::urn:spo:anon#6bbc8ad3065cd11d92081721a572e8f9c9b85cc64084c82913bb48609c033f69::" providerId="AD" clId="Web-{E0C9DE80-9D5F-459F-938B-6F4A3C9C60D2}" dt="2022-04-19T17:02:16.350" v="358" actId="1076"/>
          <ac:spMkLst>
            <pc:docMk/>
            <pc:sldMk cId="3210015788" sldId="303"/>
            <ac:spMk id="29" creationId="{9EDE1D44-C442-44A3-A246-C666D0FC9506}"/>
          </ac:spMkLst>
        </pc:spChg>
        <pc:spChg chg="mod">
          <ac:chgData name="Guest User" userId="S::urn:spo:anon#6bbc8ad3065cd11d92081721a572e8f9c9b85cc64084c82913bb48609c033f69::" providerId="AD" clId="Web-{E0C9DE80-9D5F-459F-938B-6F4A3C9C60D2}" dt="2022-04-19T17:02:16.381" v="360" actId="1076"/>
          <ac:spMkLst>
            <pc:docMk/>
            <pc:sldMk cId="3210015788" sldId="303"/>
            <ac:spMk id="30" creationId="{F5E6A857-939B-428F-8E38-79E7432F9239}"/>
          </ac:spMkLst>
        </pc:spChg>
        <pc:grpChg chg="mod">
          <ac:chgData name="Guest User" userId="S::urn:spo:anon#6bbc8ad3065cd11d92081721a572e8f9c9b85cc64084c82913bb48609c033f69::" providerId="AD" clId="Web-{E0C9DE80-9D5F-459F-938B-6F4A3C9C60D2}" dt="2022-04-19T17:02:16.303" v="354" actId="1076"/>
          <ac:grpSpMkLst>
            <pc:docMk/>
            <pc:sldMk cId="3210015788" sldId="303"/>
            <ac:grpSpMk id="2" creationId="{5446D027-4741-472B-92E7-05F1C5E0D155}"/>
          </ac:grpSpMkLst>
        </pc:grpChg>
        <pc:grpChg chg="mod">
          <ac:chgData name="Guest User" userId="S::urn:spo:anon#6bbc8ad3065cd11d92081721a572e8f9c9b85cc64084c82913bb48609c033f69::" providerId="AD" clId="Web-{E0C9DE80-9D5F-459F-938B-6F4A3C9C60D2}" dt="2022-04-19T17:02:16.365" v="359" actId="1076"/>
          <ac:grpSpMkLst>
            <pc:docMk/>
            <pc:sldMk cId="3210015788" sldId="303"/>
            <ac:grpSpMk id="5" creationId="{B4748D22-10CC-4855-AD20-21CA97C1DB4C}"/>
          </ac:grpSpMkLst>
        </pc:grpChg>
        <pc:graphicFrameChg chg="mod modGraphic">
          <ac:chgData name="Guest User" userId="S::urn:spo:anon#6bbc8ad3065cd11d92081721a572e8f9c9b85cc64084c82913bb48609c033f69::" providerId="AD" clId="Web-{E0C9DE80-9D5F-459F-938B-6F4A3C9C60D2}" dt="2022-04-19T16:48:19.849" v="313"/>
          <ac:graphicFrameMkLst>
            <pc:docMk/>
            <pc:sldMk cId="3210015788" sldId="303"/>
            <ac:graphicFrameMk id="488" creationId="{00000000-0000-0000-0000-000000000000}"/>
          </ac:graphicFrameMkLst>
        </pc:graphicFrameChg>
        <pc:cxnChg chg="mod">
          <ac:chgData name="Guest User" userId="S::urn:spo:anon#6bbc8ad3065cd11d92081721a572e8f9c9b85cc64084c82913bb48609c033f69::" providerId="AD" clId="Web-{E0C9DE80-9D5F-459F-938B-6F4A3C9C60D2}" dt="2022-04-19T17:02:16.319" v="355" actId="1076"/>
          <ac:cxnSpMkLst>
            <pc:docMk/>
            <pc:sldMk cId="3210015788" sldId="303"/>
            <ac:cxnSpMk id="485" creationId="{00000000-0000-0000-0000-000000000000}"/>
          </ac:cxnSpMkLst>
        </pc:cxnChg>
        <pc:cxnChg chg="mod">
          <ac:chgData name="Guest User" userId="S::urn:spo:anon#6bbc8ad3065cd11d92081721a572e8f9c9b85cc64084c82913bb48609c033f69::" providerId="AD" clId="Web-{E0C9DE80-9D5F-459F-938B-6F4A3C9C60D2}" dt="2022-04-19T17:02:16.319" v="356" actId="1076"/>
          <ac:cxnSpMkLst>
            <pc:docMk/>
            <pc:sldMk cId="3210015788" sldId="303"/>
            <ac:cxnSpMk id="486" creationId="{00000000-0000-0000-0000-000000000000}"/>
          </ac:cxnSpMkLst>
        </pc:cxnChg>
        <pc:cxnChg chg="mod">
          <ac:chgData name="Guest User" userId="S::urn:spo:anon#6bbc8ad3065cd11d92081721a572e8f9c9b85cc64084c82913bb48609c033f69::" providerId="AD" clId="Web-{E0C9DE80-9D5F-459F-938B-6F4A3C9C60D2}" dt="2022-04-19T17:02:16.334" v="357" actId="1076"/>
          <ac:cxnSpMkLst>
            <pc:docMk/>
            <pc:sldMk cId="3210015788" sldId="303"/>
            <ac:cxnSpMk id="487" creationId="{00000000-0000-0000-0000-000000000000}"/>
          </ac:cxnSpMkLst>
        </pc:cxnChg>
      </pc:sldChg>
      <pc:sldChg chg="modSp mod setBg">
        <pc:chgData name="Guest User" userId="S::urn:spo:anon#6bbc8ad3065cd11d92081721a572e8f9c9b85cc64084c82913bb48609c033f69::" providerId="AD" clId="Web-{E0C9DE80-9D5F-459F-938B-6F4A3C9C60D2}" dt="2022-04-19T16:36:27.085" v="171"/>
        <pc:sldMkLst>
          <pc:docMk/>
          <pc:sldMk cId="3720673345" sldId="336"/>
        </pc:sldMkLst>
        <pc:spChg chg="mod">
          <ac:chgData name="Guest User" userId="S::urn:spo:anon#6bbc8ad3065cd11d92081721a572e8f9c9b85cc64084c82913bb48609c033f69::" providerId="AD" clId="Web-{E0C9DE80-9D5F-459F-938B-6F4A3C9C60D2}" dt="2022-04-19T16:35:46.084" v="168" actId="20577"/>
          <ac:spMkLst>
            <pc:docMk/>
            <pc:sldMk cId="3720673345" sldId="336"/>
            <ac:spMk id="14" creationId="{59B9098F-2628-4EF5-89DD-EDEFBCFB2940}"/>
          </ac:spMkLst>
        </pc:spChg>
        <pc:spChg chg="mod">
          <ac:chgData name="Guest User" userId="S::urn:spo:anon#6bbc8ad3065cd11d92081721a572e8f9c9b85cc64084c82913bb48609c033f69::" providerId="AD" clId="Web-{E0C9DE80-9D5F-459F-938B-6F4A3C9C60D2}" dt="2022-04-19T16:34:05.645" v="163" actId="14100"/>
          <ac:spMkLst>
            <pc:docMk/>
            <pc:sldMk cId="3720673345" sldId="336"/>
            <ac:spMk id="24" creationId="{3618B1B6-794D-4E00-818D-3429C5DB7D1F}"/>
          </ac:spMkLst>
        </pc:spChg>
        <pc:spChg chg="mod">
          <ac:chgData name="Guest User" userId="S::urn:spo:anon#6bbc8ad3065cd11d92081721a572e8f9c9b85cc64084c82913bb48609c033f69::" providerId="AD" clId="Web-{E0C9DE80-9D5F-459F-938B-6F4A3C9C60D2}" dt="2022-04-19T16:34:01.614" v="162" actId="14100"/>
          <ac:spMkLst>
            <pc:docMk/>
            <pc:sldMk cId="3720673345" sldId="336"/>
            <ac:spMk id="27" creationId="{F1EEA2E4-1754-4C80-882D-8E1233467FCD}"/>
          </ac:spMkLst>
        </pc:spChg>
        <pc:grpChg chg="mod">
          <ac:chgData name="Guest User" userId="S::urn:spo:anon#6bbc8ad3065cd11d92081721a572e8f9c9b85cc64084c82913bb48609c033f69::" providerId="AD" clId="Web-{E0C9DE80-9D5F-459F-938B-6F4A3C9C60D2}" dt="2022-04-19T16:34:18.458" v="166" actId="1076"/>
          <ac:grpSpMkLst>
            <pc:docMk/>
            <pc:sldMk cId="3720673345" sldId="336"/>
            <ac:grpSpMk id="25" creationId="{19FA68F1-91E8-41EB-9653-003E63010358}"/>
          </ac:grpSpMkLst>
        </pc:grpChg>
      </pc:sldChg>
      <pc:sldChg chg="modSp del mod setBg">
        <pc:chgData name="Guest User" userId="S::urn:spo:anon#6bbc8ad3065cd11d92081721a572e8f9c9b85cc64084c82913bb48609c033f69::" providerId="AD" clId="Web-{E0C9DE80-9D5F-459F-938B-6F4A3C9C60D2}" dt="2022-04-19T16:39:19.338" v="209"/>
        <pc:sldMkLst>
          <pc:docMk/>
          <pc:sldMk cId="1209993513" sldId="338"/>
        </pc:sldMkLst>
        <pc:picChg chg="mod">
          <ac:chgData name="Guest User" userId="S::urn:spo:anon#6bbc8ad3065cd11d92081721a572e8f9c9b85cc64084c82913bb48609c033f69::" providerId="AD" clId="Web-{E0C9DE80-9D5F-459F-938B-6F4A3C9C60D2}" dt="2022-04-19T16:37:22.539" v="178" actId="1076"/>
          <ac:picMkLst>
            <pc:docMk/>
            <pc:sldMk cId="1209993513" sldId="338"/>
            <ac:picMk id="6" creationId="{D5E314D8-DE5E-4712-A6CB-CB8ACFF0F13C}"/>
          </ac:picMkLst>
        </pc:picChg>
      </pc:sldChg>
      <pc:sldChg chg="modSp mod setBg">
        <pc:chgData name="Guest User" userId="S::urn:spo:anon#6bbc8ad3065cd11d92081721a572e8f9c9b85cc64084c82913bb48609c033f69::" providerId="AD" clId="Web-{E0C9DE80-9D5F-459F-938B-6F4A3C9C60D2}" dt="2022-04-19T16:45:51.049" v="287"/>
        <pc:sldMkLst>
          <pc:docMk/>
          <pc:sldMk cId="4114424017" sldId="342"/>
        </pc:sldMkLst>
        <pc:spChg chg="mod">
          <ac:chgData name="Guest User" userId="S::urn:spo:anon#6bbc8ad3065cd11d92081721a572e8f9c9b85cc64084c82913bb48609c033f69::" providerId="AD" clId="Web-{E0C9DE80-9D5F-459F-938B-6F4A3C9C60D2}" dt="2022-04-19T16:41:38.966" v="247" actId="1076"/>
          <ac:spMkLst>
            <pc:docMk/>
            <pc:sldMk cId="4114424017" sldId="342"/>
            <ac:spMk id="10" creationId="{1E2A4B75-E524-EFA9-4532-F0B3FBEAAAA7}"/>
          </ac:spMkLst>
        </pc:spChg>
        <pc:graphicFrameChg chg="mod modGraphic">
          <ac:chgData name="Guest User" userId="S::urn:spo:anon#6bbc8ad3065cd11d92081721a572e8f9c9b85cc64084c82913bb48609c033f69::" providerId="AD" clId="Web-{E0C9DE80-9D5F-459F-938B-6F4A3C9C60D2}" dt="2022-04-19T16:41:50.560" v="249"/>
          <ac:graphicFrameMkLst>
            <pc:docMk/>
            <pc:sldMk cId="4114424017" sldId="342"/>
            <ac:graphicFrameMk id="23" creationId="{F4A84191-3BFB-48AA-A343-19DE4EA3891C}"/>
          </ac:graphicFrameMkLst>
        </pc:graphicFrameChg>
      </pc:sldChg>
      <pc:sldChg chg="modSp mod setBg">
        <pc:chgData name="Guest User" userId="S::urn:spo:anon#6bbc8ad3065cd11d92081721a572e8f9c9b85cc64084c82913bb48609c033f69::" providerId="AD" clId="Web-{E0C9DE80-9D5F-459F-938B-6F4A3C9C60D2}" dt="2022-04-19T17:15:32.459" v="409" actId="20577"/>
        <pc:sldMkLst>
          <pc:docMk/>
          <pc:sldMk cId="754587697" sldId="352"/>
        </pc:sldMkLst>
        <pc:spChg chg="mod">
          <ac:chgData name="Guest User" userId="S::urn:spo:anon#6bbc8ad3065cd11d92081721a572e8f9c9b85cc64084c82913bb48609c033f69::" providerId="AD" clId="Web-{E0C9DE80-9D5F-459F-938B-6F4A3C9C60D2}" dt="2022-04-19T17:15:32.459" v="409" actId="20577"/>
          <ac:spMkLst>
            <pc:docMk/>
            <pc:sldMk cId="754587697" sldId="352"/>
            <ac:spMk id="7" creationId="{EA31C852-83D3-4FF2-B517-4CB677394908}"/>
          </ac:spMkLst>
        </pc:spChg>
        <pc:graphicFrameChg chg="mod modGraphic">
          <ac:chgData name="Guest User" userId="S::urn:spo:anon#6bbc8ad3065cd11d92081721a572e8f9c9b85cc64084c82913bb48609c033f69::" providerId="AD" clId="Web-{E0C9DE80-9D5F-459F-938B-6F4A3C9C60D2}" dt="2022-04-19T16:45:20.471" v="286"/>
          <ac:graphicFrameMkLst>
            <pc:docMk/>
            <pc:sldMk cId="754587697" sldId="352"/>
            <ac:graphicFrameMk id="23" creationId="{F4A84191-3BFB-48AA-A343-19DE4EA3891C}"/>
          </ac:graphicFrameMkLst>
        </pc:graphicFrameChg>
      </pc:sldChg>
      <pc:sldChg chg="mod setBg">
        <pc:chgData name="Guest User" userId="S::urn:spo:anon#6bbc8ad3065cd11d92081721a572e8f9c9b85cc64084c82913bb48609c033f69::" providerId="AD" clId="Web-{E0C9DE80-9D5F-459F-938B-6F4A3C9C60D2}" dt="2022-04-19T17:04:40.446" v="381"/>
        <pc:sldMkLst>
          <pc:docMk/>
          <pc:sldMk cId="604654217" sldId="375"/>
        </pc:sldMkLst>
      </pc:sldChg>
      <pc:sldChg chg="delSp modSp mod setBg">
        <pc:chgData name="Guest User" userId="S::urn:spo:anon#6bbc8ad3065cd11d92081721a572e8f9c9b85cc64084c82913bb48609c033f69::" providerId="AD" clId="Web-{E0C9DE80-9D5F-459F-938B-6F4A3C9C60D2}" dt="2022-04-19T17:03:59.930" v="379" actId="1076"/>
        <pc:sldMkLst>
          <pc:docMk/>
          <pc:sldMk cId="108984178" sldId="376"/>
        </pc:sldMkLst>
        <pc:spChg chg="mod">
          <ac:chgData name="Guest User" userId="S::urn:spo:anon#6bbc8ad3065cd11d92081721a572e8f9c9b85cc64084c82913bb48609c033f69::" providerId="AD" clId="Web-{E0C9DE80-9D5F-459F-938B-6F4A3C9C60D2}" dt="2022-04-19T17:03:12.382" v="369" actId="1076"/>
          <ac:spMkLst>
            <pc:docMk/>
            <pc:sldMk cId="108984178" sldId="376"/>
            <ac:spMk id="117" creationId="{E2FD5C6C-CA12-4E89-9D17-227059EEB7D4}"/>
          </ac:spMkLst>
        </pc:spChg>
        <pc:spChg chg="mod">
          <ac:chgData name="Guest User" userId="S::urn:spo:anon#6bbc8ad3065cd11d92081721a572e8f9c9b85cc64084c82913bb48609c033f69::" providerId="AD" clId="Web-{E0C9DE80-9D5F-459F-938B-6F4A3C9C60D2}" dt="2022-04-19T17:02:35.163" v="362" actId="1076"/>
          <ac:spMkLst>
            <pc:docMk/>
            <pc:sldMk cId="108984178" sldId="376"/>
            <ac:spMk id="125" creationId="{3E514B59-F9C8-4C76-973B-1F2C3AB2226B}"/>
          </ac:spMkLst>
        </pc:spChg>
        <pc:spChg chg="mod">
          <ac:chgData name="Guest User" userId="S::urn:spo:anon#6bbc8ad3065cd11d92081721a572e8f9c9b85cc64084c82913bb48609c033f69::" providerId="AD" clId="Web-{E0C9DE80-9D5F-459F-938B-6F4A3C9C60D2}" dt="2022-04-19T17:02:38.663" v="363" actId="1076"/>
          <ac:spMkLst>
            <pc:docMk/>
            <pc:sldMk cId="108984178" sldId="376"/>
            <ac:spMk id="126" creationId="{0F88BD2B-0FA8-43BF-8E8B-04E1C76E136B}"/>
          </ac:spMkLst>
        </pc:spChg>
        <pc:spChg chg="mod">
          <ac:chgData name="Guest User" userId="S::urn:spo:anon#6bbc8ad3065cd11d92081721a572e8f9c9b85cc64084c82913bb48609c033f69::" providerId="AD" clId="Web-{E0C9DE80-9D5F-459F-938B-6F4A3C9C60D2}" dt="2022-04-19T17:02:44.053" v="364" actId="1076"/>
          <ac:spMkLst>
            <pc:docMk/>
            <pc:sldMk cId="108984178" sldId="376"/>
            <ac:spMk id="127" creationId="{67FB492E-3E2B-42BF-A310-0CE6E5448A0B}"/>
          </ac:spMkLst>
        </pc:spChg>
        <pc:spChg chg="mod">
          <ac:chgData name="Guest User" userId="S::urn:spo:anon#6bbc8ad3065cd11d92081721a572e8f9c9b85cc64084c82913bb48609c033f69::" providerId="AD" clId="Web-{E0C9DE80-9D5F-459F-938B-6F4A3C9C60D2}" dt="2022-04-19T17:03:08.351" v="368" actId="1076"/>
          <ac:spMkLst>
            <pc:docMk/>
            <pc:sldMk cId="108984178" sldId="376"/>
            <ac:spMk id="128" creationId="{C61FD168-ED42-4403-BA38-E257254F57EF}"/>
          </ac:spMkLst>
        </pc:spChg>
        <pc:spChg chg="mod ord">
          <ac:chgData name="Guest User" userId="S::urn:spo:anon#6bbc8ad3065cd11d92081721a572e8f9c9b85cc64084c82913bb48609c033f69::" providerId="AD" clId="Web-{E0C9DE80-9D5F-459F-938B-6F4A3C9C60D2}" dt="2022-04-19T16:50:17.508" v="347" actId="14100"/>
          <ac:spMkLst>
            <pc:docMk/>
            <pc:sldMk cId="108984178" sldId="376"/>
            <ac:spMk id="133" creationId="{338EE8A7-91BA-4536-9CDB-437D5EF8A4C1}"/>
          </ac:spMkLst>
        </pc:spChg>
        <pc:spChg chg="mod">
          <ac:chgData name="Guest User" userId="S::urn:spo:anon#6bbc8ad3065cd11d92081721a572e8f9c9b85cc64084c82913bb48609c033f69::" providerId="AD" clId="Web-{E0C9DE80-9D5F-459F-938B-6F4A3C9C60D2}" dt="2022-04-19T17:03:05.507" v="367" actId="1076"/>
          <ac:spMkLst>
            <pc:docMk/>
            <pc:sldMk cId="108984178" sldId="376"/>
            <ac:spMk id="137" creationId="{1301D16D-0233-425B-8533-705B8AA7A3FB}"/>
          </ac:spMkLst>
        </pc:spChg>
        <pc:spChg chg="mod">
          <ac:chgData name="Guest User" userId="S::urn:spo:anon#6bbc8ad3065cd11d92081721a572e8f9c9b85cc64084c82913bb48609c033f69::" providerId="AD" clId="Web-{E0C9DE80-9D5F-459F-938B-6F4A3C9C60D2}" dt="2022-04-19T17:03:59.930" v="379" actId="1076"/>
          <ac:spMkLst>
            <pc:docMk/>
            <pc:sldMk cId="108984178" sldId="376"/>
            <ac:spMk id="359" creationId="{00000000-0000-0000-0000-000000000000}"/>
          </ac:spMkLst>
        </pc:spChg>
        <pc:spChg chg="mod">
          <ac:chgData name="Guest User" userId="S::urn:spo:anon#6bbc8ad3065cd11d92081721a572e8f9c9b85cc64084c82913bb48609c033f69::" providerId="AD" clId="Web-{E0C9DE80-9D5F-459F-938B-6F4A3C9C60D2}" dt="2022-04-19T17:03:54.055" v="378" actId="1076"/>
          <ac:spMkLst>
            <pc:docMk/>
            <pc:sldMk cId="108984178" sldId="376"/>
            <ac:spMk id="360" creationId="{00000000-0000-0000-0000-000000000000}"/>
          </ac:spMkLst>
        </pc:spChg>
        <pc:spChg chg="mod">
          <ac:chgData name="Guest User" userId="S::urn:spo:anon#6bbc8ad3065cd11d92081721a572e8f9c9b85cc64084c82913bb48609c033f69::" providerId="AD" clId="Web-{E0C9DE80-9D5F-459F-938B-6F4A3C9C60D2}" dt="2022-04-19T17:03:47.414" v="377" actId="1076"/>
          <ac:spMkLst>
            <pc:docMk/>
            <pc:sldMk cId="108984178" sldId="376"/>
            <ac:spMk id="361" creationId="{00000000-0000-0000-0000-000000000000}"/>
          </ac:spMkLst>
        </pc:spChg>
        <pc:spChg chg="mod">
          <ac:chgData name="Guest User" userId="S::urn:spo:anon#6bbc8ad3065cd11d92081721a572e8f9c9b85cc64084c82913bb48609c033f69::" providerId="AD" clId="Web-{E0C9DE80-9D5F-459F-938B-6F4A3C9C60D2}" dt="2022-04-19T17:03:38.695" v="376" actId="1076"/>
          <ac:spMkLst>
            <pc:docMk/>
            <pc:sldMk cId="108984178" sldId="376"/>
            <ac:spMk id="362" creationId="{00000000-0000-0000-0000-000000000000}"/>
          </ac:spMkLst>
        </pc:spChg>
        <pc:spChg chg="mod">
          <ac:chgData name="Guest User" userId="S::urn:spo:anon#6bbc8ad3065cd11d92081721a572e8f9c9b85cc64084c82913bb48609c033f69::" providerId="AD" clId="Web-{E0C9DE80-9D5F-459F-938B-6F4A3C9C60D2}" dt="2022-04-19T17:03:34.789" v="375" actId="1076"/>
          <ac:spMkLst>
            <pc:docMk/>
            <pc:sldMk cId="108984178" sldId="376"/>
            <ac:spMk id="363" creationId="{00000000-0000-0000-0000-000000000000}"/>
          </ac:spMkLst>
        </pc:spChg>
        <pc:spChg chg="mod">
          <ac:chgData name="Guest User" userId="S::urn:spo:anon#6bbc8ad3065cd11d92081721a572e8f9c9b85cc64084c82913bb48609c033f69::" providerId="AD" clId="Web-{E0C9DE80-9D5F-459F-938B-6F4A3C9C60D2}" dt="2022-04-19T17:03:17.023" v="370" actId="1076"/>
          <ac:spMkLst>
            <pc:docMk/>
            <pc:sldMk cId="108984178" sldId="376"/>
            <ac:spMk id="369" creationId="{00000000-0000-0000-0000-000000000000}"/>
          </ac:spMkLst>
        </pc:spChg>
        <pc:spChg chg="mod">
          <ac:chgData name="Guest User" userId="S::urn:spo:anon#6bbc8ad3065cd11d92081721a572e8f9c9b85cc64084c82913bb48609c033f69::" providerId="AD" clId="Web-{E0C9DE80-9D5F-459F-938B-6F4A3C9C60D2}" dt="2022-04-19T17:02:28.959" v="361" actId="1076"/>
          <ac:spMkLst>
            <pc:docMk/>
            <pc:sldMk cId="108984178" sldId="376"/>
            <ac:spMk id="372" creationId="{00000000-0000-0000-0000-000000000000}"/>
          </ac:spMkLst>
        </pc:spChg>
        <pc:spChg chg="mod">
          <ac:chgData name="Guest User" userId="S::urn:spo:anon#6bbc8ad3065cd11d92081721a572e8f9c9b85cc64084c82913bb48609c033f69::" providerId="AD" clId="Web-{E0C9DE80-9D5F-459F-938B-6F4A3C9C60D2}" dt="2022-04-19T16:49:35.647" v="334" actId="1076"/>
          <ac:spMkLst>
            <pc:docMk/>
            <pc:sldMk cId="108984178" sldId="376"/>
            <ac:spMk id="376" creationId="{00000000-0000-0000-0000-000000000000}"/>
          </ac:spMkLst>
        </pc:spChg>
        <pc:spChg chg="mod">
          <ac:chgData name="Guest User" userId="S::urn:spo:anon#6bbc8ad3065cd11d92081721a572e8f9c9b85cc64084c82913bb48609c033f69::" providerId="AD" clId="Web-{E0C9DE80-9D5F-459F-938B-6F4A3C9C60D2}" dt="2022-04-19T16:49:52.257" v="339" actId="1076"/>
          <ac:spMkLst>
            <pc:docMk/>
            <pc:sldMk cId="108984178" sldId="376"/>
            <ac:spMk id="377" creationId="{00000000-0000-0000-0000-000000000000}"/>
          </ac:spMkLst>
        </pc:spChg>
        <pc:spChg chg="mod">
          <ac:chgData name="Guest User" userId="S::urn:spo:anon#6bbc8ad3065cd11d92081721a572e8f9c9b85cc64084c82913bb48609c033f69::" providerId="AD" clId="Web-{E0C9DE80-9D5F-459F-938B-6F4A3C9C60D2}" dt="2022-04-19T16:49:46.023" v="337" actId="14100"/>
          <ac:spMkLst>
            <pc:docMk/>
            <pc:sldMk cId="108984178" sldId="376"/>
            <ac:spMk id="384" creationId="{00000000-0000-0000-0000-000000000000}"/>
          </ac:spMkLst>
        </pc:spChg>
        <pc:spChg chg="mod">
          <ac:chgData name="Guest User" userId="S::urn:spo:anon#6bbc8ad3065cd11d92081721a572e8f9c9b85cc64084c82913bb48609c033f69::" providerId="AD" clId="Web-{E0C9DE80-9D5F-459F-938B-6F4A3C9C60D2}" dt="2022-04-19T16:50:32.477" v="349" actId="1076"/>
          <ac:spMkLst>
            <pc:docMk/>
            <pc:sldMk cId="108984178" sldId="376"/>
            <ac:spMk id="416" creationId="{00000000-0000-0000-0000-000000000000}"/>
          </ac:spMkLst>
        </pc:spChg>
        <pc:spChg chg="mod">
          <ac:chgData name="Guest User" userId="S::urn:spo:anon#6bbc8ad3065cd11d92081721a572e8f9c9b85cc64084c82913bb48609c033f69::" providerId="AD" clId="Web-{E0C9DE80-9D5F-459F-938B-6F4A3C9C60D2}" dt="2022-04-19T16:50:02.492" v="343" actId="1076"/>
          <ac:spMkLst>
            <pc:docMk/>
            <pc:sldMk cId="108984178" sldId="376"/>
            <ac:spMk id="426" creationId="{00000000-0000-0000-0000-000000000000}"/>
          </ac:spMkLst>
        </pc:spChg>
        <pc:spChg chg="mod">
          <ac:chgData name="Guest User" userId="S::urn:spo:anon#6bbc8ad3065cd11d92081721a572e8f9c9b85cc64084c82913bb48609c033f69::" providerId="AD" clId="Web-{E0C9DE80-9D5F-459F-938B-6F4A3C9C60D2}" dt="2022-04-19T16:50:32.508" v="350" actId="1076"/>
          <ac:spMkLst>
            <pc:docMk/>
            <pc:sldMk cId="108984178" sldId="376"/>
            <ac:spMk id="431" creationId="{00000000-0000-0000-0000-000000000000}"/>
          </ac:spMkLst>
        </pc:spChg>
        <pc:spChg chg="mod">
          <ac:chgData name="Guest User" userId="S::urn:spo:anon#6bbc8ad3065cd11d92081721a572e8f9c9b85cc64084c82913bb48609c033f69::" providerId="AD" clId="Web-{E0C9DE80-9D5F-459F-938B-6F4A3C9C60D2}" dt="2022-04-19T16:50:14.929" v="346" actId="1076"/>
          <ac:spMkLst>
            <pc:docMk/>
            <pc:sldMk cId="108984178" sldId="376"/>
            <ac:spMk id="453" creationId="{00000000-0000-0000-0000-000000000000}"/>
          </ac:spMkLst>
        </pc:spChg>
        <pc:grpChg chg="mod">
          <ac:chgData name="Guest User" userId="S::urn:spo:anon#6bbc8ad3065cd11d92081721a572e8f9c9b85cc64084c82913bb48609c033f69::" providerId="AD" clId="Web-{E0C9DE80-9D5F-459F-938B-6F4A3C9C60D2}" dt="2022-04-19T16:50:24.133" v="348" actId="1076"/>
          <ac:grpSpMkLst>
            <pc:docMk/>
            <pc:sldMk cId="108984178" sldId="376"/>
            <ac:grpSpMk id="3" creationId="{04B4B9EF-39BF-81F3-070D-703E1C6BC8C8}"/>
          </ac:grpSpMkLst>
        </pc:grpChg>
        <pc:picChg chg="mod">
          <ac:chgData name="Guest User" userId="S::urn:spo:anon#6bbc8ad3065cd11d92081721a572e8f9c9b85cc64084c82913bb48609c033f69::" providerId="AD" clId="Web-{E0C9DE80-9D5F-459F-938B-6F4A3C9C60D2}" dt="2022-04-19T16:49:48.366" v="338" actId="1076"/>
          <ac:picMkLst>
            <pc:docMk/>
            <pc:sldMk cId="108984178" sldId="376"/>
            <ac:picMk id="385" creationId="{00000000-0000-0000-0000-000000000000}"/>
          </ac:picMkLst>
        </pc:picChg>
        <pc:picChg chg="mod">
          <ac:chgData name="Guest User" userId="S::urn:spo:anon#6bbc8ad3065cd11d92081721a572e8f9c9b85cc64084c82913bb48609c033f69::" providerId="AD" clId="Web-{E0C9DE80-9D5F-459F-938B-6F4A3C9C60D2}" dt="2022-04-19T16:49:35.616" v="333" actId="1076"/>
          <ac:picMkLst>
            <pc:docMk/>
            <pc:sldMk cId="108984178" sldId="376"/>
            <ac:picMk id="386" creationId="{00000000-0000-0000-0000-000000000000}"/>
          </ac:picMkLst>
        </pc:picChg>
        <pc:picChg chg="mod">
          <ac:chgData name="Guest User" userId="S::urn:spo:anon#6bbc8ad3065cd11d92081721a572e8f9c9b85cc64084c82913bb48609c033f69::" providerId="AD" clId="Web-{E0C9DE80-9D5F-459F-938B-6F4A3C9C60D2}" dt="2022-04-19T16:49:54.663" v="340" actId="1076"/>
          <ac:picMkLst>
            <pc:docMk/>
            <pc:sldMk cId="108984178" sldId="376"/>
            <ac:picMk id="424" creationId="{00000000-0000-0000-0000-000000000000}"/>
          </ac:picMkLst>
        </pc:picChg>
        <pc:picChg chg="mod">
          <ac:chgData name="Guest User" userId="S::urn:spo:anon#6bbc8ad3065cd11d92081721a572e8f9c9b85cc64084c82913bb48609c033f69::" providerId="AD" clId="Web-{E0C9DE80-9D5F-459F-938B-6F4A3C9C60D2}" dt="2022-04-19T16:49:59.648" v="342" actId="1076"/>
          <ac:picMkLst>
            <pc:docMk/>
            <pc:sldMk cId="108984178" sldId="376"/>
            <ac:picMk id="427" creationId="{00000000-0000-0000-0000-000000000000}"/>
          </ac:picMkLst>
        </pc:picChg>
        <pc:cxnChg chg="mod">
          <ac:chgData name="Guest User" userId="S::urn:spo:anon#6bbc8ad3065cd11d92081721a572e8f9c9b85cc64084c82913bb48609c033f69::" providerId="AD" clId="Web-{E0C9DE80-9D5F-459F-938B-6F4A3C9C60D2}" dt="2022-04-19T17:03:28.273" v="374" actId="1076"/>
          <ac:cxnSpMkLst>
            <pc:docMk/>
            <pc:sldMk cId="108984178" sldId="376"/>
            <ac:cxnSpMk id="120" creationId="{55FA9FF7-4455-4B47-9023-FF6BDA918F8C}"/>
          </ac:cxnSpMkLst>
        </pc:cxnChg>
        <pc:cxnChg chg="mod">
          <ac:chgData name="Guest User" userId="S::urn:spo:anon#6bbc8ad3065cd11d92081721a572e8f9c9b85cc64084c82913bb48609c033f69::" providerId="AD" clId="Web-{E0C9DE80-9D5F-459F-938B-6F4A3C9C60D2}" dt="2022-04-19T16:49:21.460" v="332" actId="1076"/>
          <ac:cxnSpMkLst>
            <pc:docMk/>
            <pc:sldMk cId="108984178" sldId="376"/>
            <ac:cxnSpMk id="390" creationId="{00000000-0000-0000-0000-000000000000}"/>
          </ac:cxnSpMkLst>
        </pc:cxnChg>
        <pc:cxnChg chg="del">
          <ac:chgData name="Guest User" userId="S::urn:spo:anon#6bbc8ad3065cd11d92081721a572e8f9c9b85cc64084c82913bb48609c033f69::" providerId="AD" clId="Web-{E0C9DE80-9D5F-459F-938B-6F4A3C9C60D2}" dt="2022-04-19T17:03:22.460" v="372"/>
          <ac:cxnSpMkLst>
            <pc:docMk/>
            <pc:sldMk cId="108984178" sldId="376"/>
            <ac:cxnSpMk id="423" creationId="{00000000-0000-0000-0000-000000000000}"/>
          </ac:cxnSpMkLst>
        </pc:cxnChg>
      </pc:sldChg>
      <pc:sldChg chg="modSp mod setBg">
        <pc:chgData name="Guest User" userId="S::urn:spo:anon#6bbc8ad3065cd11d92081721a572e8f9c9b85cc64084c82913bb48609c033f69::" providerId="AD" clId="Web-{E0C9DE80-9D5F-459F-938B-6F4A3C9C60D2}" dt="2022-04-19T16:36:16.491" v="170"/>
        <pc:sldMkLst>
          <pc:docMk/>
          <pc:sldMk cId="1746873201" sldId="380"/>
        </pc:sldMkLst>
        <pc:spChg chg="mod">
          <ac:chgData name="Guest User" userId="S::urn:spo:anon#6bbc8ad3065cd11d92081721a572e8f9c9b85cc64084c82913bb48609c033f69::" providerId="AD" clId="Web-{E0C9DE80-9D5F-459F-938B-6F4A3C9C60D2}" dt="2022-04-19T16:32:58.675" v="146" actId="1076"/>
          <ac:spMkLst>
            <pc:docMk/>
            <pc:sldMk cId="1746873201" sldId="380"/>
            <ac:spMk id="2" creationId="{5E9E9411-384E-A6A3-41A6-F26CB141ADA6}"/>
          </ac:spMkLst>
        </pc:spChg>
        <pc:spChg chg="mod">
          <ac:chgData name="Guest User" userId="S::urn:spo:anon#6bbc8ad3065cd11d92081721a572e8f9c9b85cc64084c82913bb48609c033f69::" providerId="AD" clId="Web-{E0C9DE80-9D5F-459F-938B-6F4A3C9C60D2}" dt="2022-04-19T16:32:23.955" v="137" actId="14100"/>
          <ac:spMkLst>
            <pc:docMk/>
            <pc:sldMk cId="1746873201" sldId="380"/>
            <ac:spMk id="12" creationId="{2A18C4E8-C461-494D-81E4-7EB6C08B7B32}"/>
          </ac:spMkLst>
        </pc:spChg>
        <pc:spChg chg="mod">
          <ac:chgData name="Guest User" userId="S::urn:spo:anon#6bbc8ad3065cd11d92081721a572e8f9c9b85cc64084c82913bb48609c033f69::" providerId="AD" clId="Web-{E0C9DE80-9D5F-459F-938B-6F4A3C9C60D2}" dt="2022-04-19T16:33:42.910" v="158" actId="14100"/>
          <ac:spMkLst>
            <pc:docMk/>
            <pc:sldMk cId="1746873201" sldId="380"/>
            <ac:spMk id="16" creationId="{F59BF18F-9019-474B-B8DB-73251A78B48B}"/>
          </ac:spMkLst>
        </pc:spChg>
        <pc:spChg chg="mod">
          <ac:chgData name="Guest User" userId="S::urn:spo:anon#6bbc8ad3065cd11d92081721a572e8f9c9b85cc64084c82913bb48609c033f69::" providerId="AD" clId="Web-{E0C9DE80-9D5F-459F-938B-6F4A3C9C60D2}" dt="2022-04-19T16:33:39.473" v="157" actId="14100"/>
          <ac:spMkLst>
            <pc:docMk/>
            <pc:sldMk cId="1746873201" sldId="380"/>
            <ac:spMk id="24" creationId="{E866F250-DD27-49C2-A23E-D8AB80A3C73F}"/>
          </ac:spMkLst>
        </pc:spChg>
        <pc:grpChg chg="mod">
          <ac:chgData name="Guest User" userId="S::urn:spo:anon#6bbc8ad3065cd11d92081721a572e8f9c9b85cc64084c82913bb48609c033f69::" providerId="AD" clId="Web-{E0C9DE80-9D5F-459F-938B-6F4A3C9C60D2}" dt="2022-04-19T16:33:48.410" v="159" actId="1076"/>
          <ac:grpSpMkLst>
            <pc:docMk/>
            <pc:sldMk cId="1746873201" sldId="380"/>
            <ac:grpSpMk id="13" creationId="{22F99862-B995-4428-9899-A2DE5DA4C888}"/>
          </ac:grpSpMkLst>
        </pc:grpChg>
        <pc:picChg chg="mod">
          <ac:chgData name="Guest User" userId="S::urn:spo:anon#6bbc8ad3065cd11d92081721a572e8f9c9b85cc64084c82913bb48609c033f69::" providerId="AD" clId="Web-{E0C9DE80-9D5F-459F-938B-6F4A3C9C60D2}" dt="2022-04-19T16:33:15.019" v="149" actId="1076"/>
          <ac:picMkLst>
            <pc:docMk/>
            <pc:sldMk cId="1746873201" sldId="380"/>
            <ac:picMk id="4" creationId="{4072D814-F19F-4E83-B2EA-954E712A21E1}"/>
          </ac:picMkLst>
        </pc:picChg>
        <pc:picChg chg="mod">
          <ac:chgData name="Guest User" userId="S::urn:spo:anon#6bbc8ad3065cd11d92081721a572e8f9c9b85cc64084c82913bb48609c033f69::" providerId="AD" clId="Web-{E0C9DE80-9D5F-459F-938B-6F4A3C9C60D2}" dt="2022-04-19T16:33:17.878" v="153" actId="1076"/>
          <ac:picMkLst>
            <pc:docMk/>
            <pc:sldMk cId="1746873201" sldId="380"/>
            <ac:picMk id="6" creationId="{DDB5A74C-7422-42C6-85B2-2AF4A545DE23}"/>
          </ac:picMkLst>
        </pc:picChg>
        <pc:picChg chg="mod">
          <ac:chgData name="Guest User" userId="S::urn:spo:anon#6bbc8ad3065cd11d92081721a572e8f9c9b85cc64084c82913bb48609c033f69::" providerId="AD" clId="Web-{E0C9DE80-9D5F-459F-938B-6F4A3C9C60D2}" dt="2022-04-19T16:33:27.832" v="155" actId="1076"/>
          <ac:picMkLst>
            <pc:docMk/>
            <pc:sldMk cId="1746873201" sldId="380"/>
            <ac:picMk id="8" creationId="{453E7F76-0721-471F-A02E-8719F05BE661}"/>
          </ac:picMkLst>
        </pc:picChg>
        <pc:picChg chg="mod">
          <ac:chgData name="Guest User" userId="S::urn:spo:anon#6bbc8ad3065cd11d92081721a572e8f9c9b85cc64084c82913bb48609c033f69::" providerId="AD" clId="Web-{E0C9DE80-9D5F-459F-938B-6F4A3C9C60D2}" dt="2022-04-19T16:33:27.863" v="156" actId="1076"/>
          <ac:picMkLst>
            <pc:docMk/>
            <pc:sldMk cId="1746873201" sldId="380"/>
            <ac:picMk id="17" creationId="{A49395E6-7338-4E76-A893-5573168DCC7E}"/>
          </ac:picMkLst>
        </pc:picChg>
      </pc:sldChg>
      <pc:sldChg chg="mod setBg">
        <pc:chgData name="Guest User" userId="S::urn:spo:anon#6bbc8ad3065cd11d92081721a572e8f9c9b85cc64084c82913bb48609c033f69::" providerId="AD" clId="Web-{E0C9DE80-9D5F-459F-938B-6F4A3C9C60D2}" dt="2022-04-19T16:46:16.409" v="292"/>
        <pc:sldMkLst>
          <pc:docMk/>
          <pc:sldMk cId="2982907289" sldId="382"/>
        </pc:sldMkLst>
      </pc:sldChg>
      <pc:sldChg chg="mod setBg">
        <pc:chgData name="Guest User" userId="S::urn:spo:anon#6bbc8ad3065cd11d92081721a572e8f9c9b85cc64084c82913bb48609c033f69::" providerId="AD" clId="Web-{E0C9DE80-9D5F-459F-938B-6F4A3C9C60D2}" dt="2022-04-19T16:46:21.737" v="293"/>
        <pc:sldMkLst>
          <pc:docMk/>
          <pc:sldMk cId="4163644480" sldId="383"/>
        </pc:sldMkLst>
      </pc:sldChg>
      <pc:sldChg chg="modSp">
        <pc:chgData name="Guest User" userId="S::urn:spo:anon#6bbc8ad3065cd11d92081721a572e8f9c9b85cc64084c82913bb48609c033f69::" providerId="AD" clId="Web-{E0C9DE80-9D5F-459F-938B-6F4A3C9C60D2}" dt="2022-04-19T17:14:11.254" v="407" actId="1076"/>
        <pc:sldMkLst>
          <pc:docMk/>
          <pc:sldMk cId="0" sldId="384"/>
        </pc:sldMkLst>
        <pc:spChg chg="mod">
          <ac:chgData name="Guest User" userId="S::urn:spo:anon#6bbc8ad3065cd11d92081721a572e8f9c9b85cc64084c82913bb48609c033f69::" providerId="AD" clId="Web-{E0C9DE80-9D5F-459F-938B-6F4A3C9C60D2}" dt="2022-04-19T17:10:47.766" v="382" actId="20577"/>
          <ac:spMkLst>
            <pc:docMk/>
            <pc:sldMk cId="0" sldId="384"/>
            <ac:spMk id="2" creationId="{4CACD35F-2F4A-499E-8CF3-489D34CA2416}"/>
          </ac:spMkLst>
        </pc:spChg>
        <pc:spChg chg="mod">
          <ac:chgData name="Guest User" userId="S::urn:spo:anon#6bbc8ad3065cd11d92081721a572e8f9c9b85cc64084c82913bb48609c033f69::" providerId="AD" clId="Web-{E0C9DE80-9D5F-459F-938B-6F4A3C9C60D2}" dt="2022-04-19T15:01:02.914" v="32" actId="1076"/>
          <ac:spMkLst>
            <pc:docMk/>
            <pc:sldMk cId="0" sldId="384"/>
            <ac:spMk id="41" creationId="{D7465A85-8A15-4EAD-96FC-B47DC0EA8700}"/>
          </ac:spMkLst>
        </pc:spChg>
        <pc:spChg chg="mod">
          <ac:chgData name="Guest User" userId="S::urn:spo:anon#6bbc8ad3065cd11d92081721a572e8f9c9b85cc64084c82913bb48609c033f69::" providerId="AD" clId="Web-{E0C9DE80-9D5F-459F-938B-6F4A3C9C60D2}" dt="2022-04-19T14:59:40.536" v="4" actId="1076"/>
          <ac:spMkLst>
            <pc:docMk/>
            <pc:sldMk cId="0" sldId="384"/>
            <ac:spMk id="44" creationId="{28E8AA2B-7E30-48CF-86E4-5464130C7279}"/>
          </ac:spMkLst>
        </pc:spChg>
        <pc:spChg chg="mod">
          <ac:chgData name="Guest User" userId="S::urn:spo:anon#6bbc8ad3065cd11d92081721a572e8f9c9b85cc64084c82913bb48609c033f69::" providerId="AD" clId="Web-{E0C9DE80-9D5F-459F-938B-6F4A3C9C60D2}" dt="2022-04-19T16:26:10.042" v="55" actId="688"/>
          <ac:spMkLst>
            <pc:docMk/>
            <pc:sldMk cId="0" sldId="384"/>
            <ac:spMk id="196" creationId="{00000000-0000-0000-0000-000000000000}"/>
          </ac:spMkLst>
        </pc:spChg>
        <pc:spChg chg="mod">
          <ac:chgData name="Guest User" userId="S::urn:spo:anon#6bbc8ad3065cd11d92081721a572e8f9c9b85cc64084c82913bb48609c033f69::" providerId="AD" clId="Web-{E0C9DE80-9D5F-459F-938B-6F4A3C9C60D2}" dt="2022-04-19T15:01:05.679" v="33" actId="1076"/>
          <ac:spMkLst>
            <pc:docMk/>
            <pc:sldMk cId="0" sldId="384"/>
            <ac:spMk id="198" creationId="{00000000-0000-0000-0000-000000000000}"/>
          </ac:spMkLst>
        </pc:spChg>
        <pc:spChg chg="mod">
          <ac:chgData name="Guest User" userId="S::urn:spo:anon#6bbc8ad3065cd11d92081721a572e8f9c9b85cc64084c82913bb48609c033f69::" providerId="AD" clId="Web-{E0C9DE80-9D5F-459F-938B-6F4A3C9C60D2}" dt="2022-04-19T15:01:24.242" v="40" actId="1076"/>
          <ac:spMkLst>
            <pc:docMk/>
            <pc:sldMk cId="0" sldId="384"/>
            <ac:spMk id="212" creationId="{00000000-0000-0000-0000-000000000000}"/>
          </ac:spMkLst>
        </pc:spChg>
        <pc:spChg chg="mod">
          <ac:chgData name="Guest User" userId="S::urn:spo:anon#6bbc8ad3065cd11d92081721a572e8f9c9b85cc64084c82913bb48609c033f69::" providerId="AD" clId="Web-{E0C9DE80-9D5F-459F-938B-6F4A3C9C60D2}" dt="2022-04-19T17:14:11.208" v="405" actId="1076"/>
          <ac:spMkLst>
            <pc:docMk/>
            <pc:sldMk cId="0" sldId="384"/>
            <ac:spMk id="213" creationId="{00000000-0000-0000-0000-000000000000}"/>
          </ac:spMkLst>
        </pc:spChg>
        <pc:spChg chg="mod">
          <ac:chgData name="Guest User" userId="S::urn:spo:anon#6bbc8ad3065cd11d92081721a572e8f9c9b85cc64084c82913bb48609c033f69::" providerId="AD" clId="Web-{E0C9DE80-9D5F-459F-938B-6F4A3C9C60D2}" dt="2022-04-19T15:00:36.538" v="26" actId="1076"/>
          <ac:spMkLst>
            <pc:docMk/>
            <pc:sldMk cId="0" sldId="384"/>
            <ac:spMk id="218" creationId="{00000000-0000-0000-0000-000000000000}"/>
          </ac:spMkLst>
        </pc:spChg>
        <pc:spChg chg="mod">
          <ac:chgData name="Guest User" userId="S::urn:spo:anon#6bbc8ad3065cd11d92081721a572e8f9c9b85cc64084c82913bb48609c033f69::" providerId="AD" clId="Web-{E0C9DE80-9D5F-459F-938B-6F4A3C9C60D2}" dt="2022-04-19T15:00:29.335" v="22" actId="1076"/>
          <ac:spMkLst>
            <pc:docMk/>
            <pc:sldMk cId="0" sldId="384"/>
            <ac:spMk id="220" creationId="{00000000-0000-0000-0000-000000000000}"/>
          </ac:spMkLst>
        </pc:spChg>
        <pc:spChg chg="mod">
          <ac:chgData name="Guest User" userId="S::urn:spo:anon#6bbc8ad3065cd11d92081721a572e8f9c9b85cc64084c82913bb48609c033f69::" providerId="AD" clId="Web-{E0C9DE80-9D5F-459F-938B-6F4A3C9C60D2}" dt="2022-04-19T17:14:11.223" v="406" actId="1076"/>
          <ac:spMkLst>
            <pc:docMk/>
            <pc:sldMk cId="0" sldId="384"/>
            <ac:spMk id="221" creationId="{00000000-0000-0000-0000-000000000000}"/>
          </ac:spMkLst>
        </pc:spChg>
        <pc:spChg chg="mod">
          <ac:chgData name="Guest User" userId="S::urn:spo:anon#6bbc8ad3065cd11d92081721a572e8f9c9b85cc64084c82913bb48609c033f69::" providerId="AD" clId="Web-{E0C9DE80-9D5F-459F-938B-6F4A3C9C60D2}" dt="2022-04-19T15:01:24.274" v="41" actId="1076"/>
          <ac:spMkLst>
            <pc:docMk/>
            <pc:sldMk cId="0" sldId="384"/>
            <ac:spMk id="222" creationId="{00000000-0000-0000-0000-000000000000}"/>
          </ac:spMkLst>
        </pc:spChg>
        <pc:spChg chg="mod">
          <ac:chgData name="Guest User" userId="S::urn:spo:anon#6bbc8ad3065cd11d92081721a572e8f9c9b85cc64084c82913bb48609c033f69::" providerId="AD" clId="Web-{E0C9DE80-9D5F-459F-938B-6F4A3C9C60D2}" dt="2022-04-19T14:59:45.177" v="6" actId="1076"/>
          <ac:spMkLst>
            <pc:docMk/>
            <pc:sldMk cId="0" sldId="384"/>
            <ac:spMk id="223" creationId="{00000000-0000-0000-0000-000000000000}"/>
          </ac:spMkLst>
        </pc:spChg>
        <pc:spChg chg="mod">
          <ac:chgData name="Guest User" userId="S::urn:spo:anon#6bbc8ad3065cd11d92081721a572e8f9c9b85cc64084c82913bb48609c033f69::" providerId="AD" clId="Web-{E0C9DE80-9D5F-459F-938B-6F4A3C9C60D2}" dt="2022-04-19T15:00:36.569" v="27" actId="1076"/>
          <ac:spMkLst>
            <pc:docMk/>
            <pc:sldMk cId="0" sldId="384"/>
            <ac:spMk id="225" creationId="{00000000-0000-0000-0000-000000000000}"/>
          </ac:spMkLst>
        </pc:spChg>
        <pc:spChg chg="mod">
          <ac:chgData name="Guest User" userId="S::urn:spo:anon#6bbc8ad3065cd11d92081721a572e8f9c9b85cc64084c82913bb48609c033f69::" providerId="AD" clId="Web-{E0C9DE80-9D5F-459F-938B-6F4A3C9C60D2}" dt="2022-04-19T15:00:29.366" v="23" actId="1076"/>
          <ac:spMkLst>
            <pc:docMk/>
            <pc:sldMk cId="0" sldId="384"/>
            <ac:spMk id="226" creationId="{00000000-0000-0000-0000-000000000000}"/>
          </ac:spMkLst>
        </pc:spChg>
        <pc:grpChg chg="mod">
          <ac:chgData name="Guest User" userId="S::urn:spo:anon#6bbc8ad3065cd11d92081721a572e8f9c9b85cc64084c82913bb48609c033f69::" providerId="AD" clId="Web-{E0C9DE80-9D5F-459F-938B-6F4A3C9C60D2}" dt="2022-04-19T15:01:02.851" v="30" actId="1076"/>
          <ac:grpSpMkLst>
            <pc:docMk/>
            <pc:sldMk cId="0" sldId="384"/>
            <ac:grpSpMk id="228" creationId="{00000000-0000-0000-0000-000000000000}"/>
          </ac:grpSpMkLst>
        </pc:grpChg>
        <pc:picChg chg="mod">
          <ac:chgData name="Guest User" userId="S::urn:spo:anon#6bbc8ad3065cd11d92081721a572e8f9c9b85cc64084c82913bb48609c033f69::" providerId="AD" clId="Web-{E0C9DE80-9D5F-459F-938B-6F4A3C9C60D2}" dt="2022-04-19T15:01:02.882" v="31" actId="1076"/>
          <ac:picMkLst>
            <pc:docMk/>
            <pc:sldMk cId="0" sldId="384"/>
            <ac:picMk id="3" creationId="{94870796-FFF7-457A-B411-194834B58735}"/>
          </ac:picMkLst>
        </pc:picChg>
        <pc:picChg chg="mod">
          <ac:chgData name="Guest User" userId="S::urn:spo:anon#6bbc8ad3065cd11d92081721a572e8f9c9b85cc64084c82913bb48609c033f69::" providerId="AD" clId="Web-{E0C9DE80-9D5F-459F-938B-6F4A3C9C60D2}" dt="2022-04-19T17:14:11.254" v="407" actId="1076"/>
          <ac:picMkLst>
            <pc:docMk/>
            <pc:sldMk cId="0" sldId="384"/>
            <ac:picMk id="5" creationId="{FC019060-1B28-4D51-9887-32F13B56AFC1}"/>
          </ac:picMkLst>
        </pc:picChg>
        <pc:picChg chg="mod">
          <ac:chgData name="Guest User" userId="S::urn:spo:anon#6bbc8ad3065cd11d92081721a572e8f9c9b85cc64084c82913bb48609c033f69::" providerId="AD" clId="Web-{E0C9DE80-9D5F-459F-938B-6F4A3C9C60D2}" dt="2022-04-19T14:59:40.552" v="5" actId="1076"/>
          <ac:picMkLst>
            <pc:docMk/>
            <pc:sldMk cId="0" sldId="384"/>
            <ac:picMk id="6" creationId="{7948A3F3-9796-46CE-9F61-00A80F8DEF69}"/>
          </ac:picMkLst>
        </pc:picChg>
        <pc:picChg chg="mod">
          <ac:chgData name="Guest User" userId="S::urn:spo:anon#6bbc8ad3065cd11d92081721a572e8f9c9b85cc64084c82913bb48609c033f69::" providerId="AD" clId="Web-{E0C9DE80-9D5F-459F-938B-6F4A3C9C60D2}" dt="2022-04-19T14:59:45.208" v="7" actId="1076"/>
          <ac:picMkLst>
            <pc:docMk/>
            <pc:sldMk cId="0" sldId="384"/>
            <ac:picMk id="15" creationId="{30F030A8-E0C2-4D8F-B8FE-82950621BB39}"/>
          </ac:picMkLst>
        </pc:picChg>
        <pc:picChg chg="mod">
          <ac:chgData name="Guest User" userId="S::urn:spo:anon#6bbc8ad3065cd11d92081721a572e8f9c9b85cc64084c82913bb48609c033f69::" providerId="AD" clId="Web-{E0C9DE80-9D5F-459F-938B-6F4A3C9C60D2}" dt="2022-04-19T15:01:24.180" v="38" actId="1076"/>
          <ac:picMkLst>
            <pc:docMk/>
            <pc:sldMk cId="0" sldId="384"/>
            <ac:picMk id="201" creationId="{00000000-0000-0000-0000-000000000000}"/>
          </ac:picMkLst>
        </pc:picChg>
        <pc:picChg chg="mod">
          <ac:chgData name="Guest User" userId="S::urn:spo:anon#6bbc8ad3065cd11d92081721a572e8f9c9b85cc64084c82913bb48609c033f69::" providerId="AD" clId="Web-{E0C9DE80-9D5F-459F-938B-6F4A3C9C60D2}" dt="2022-04-19T17:14:11.192" v="404" actId="1076"/>
          <ac:picMkLst>
            <pc:docMk/>
            <pc:sldMk cId="0" sldId="384"/>
            <ac:picMk id="202" creationId="{00000000-0000-0000-0000-000000000000}"/>
          </ac:picMkLst>
        </pc:picChg>
        <pc:picChg chg="mod">
          <ac:chgData name="Guest User" userId="S::urn:spo:anon#6bbc8ad3065cd11d92081721a572e8f9c9b85cc64084c82913bb48609c033f69::" providerId="AD" clId="Web-{E0C9DE80-9D5F-459F-938B-6F4A3C9C60D2}" dt="2022-04-19T15:01:24.227" v="39" actId="1076"/>
          <ac:picMkLst>
            <pc:docMk/>
            <pc:sldMk cId="0" sldId="384"/>
            <ac:picMk id="204" creationId="{00000000-0000-0000-0000-000000000000}"/>
          </ac:picMkLst>
        </pc:picChg>
        <pc:picChg chg="mod">
          <ac:chgData name="Guest User" userId="S::urn:spo:anon#6bbc8ad3065cd11d92081721a572e8f9c9b85cc64084c82913bb48609c033f69::" providerId="AD" clId="Web-{E0C9DE80-9D5F-459F-938B-6F4A3C9C60D2}" dt="2022-04-19T15:00:36.491" v="24" actId="1076"/>
          <ac:picMkLst>
            <pc:docMk/>
            <pc:sldMk cId="0" sldId="384"/>
            <ac:picMk id="207" creationId="{00000000-0000-0000-0000-000000000000}"/>
          </ac:picMkLst>
        </pc:picChg>
        <pc:picChg chg="mod">
          <ac:chgData name="Guest User" userId="S::urn:spo:anon#6bbc8ad3065cd11d92081721a572e8f9c9b85cc64084c82913bb48609c033f69::" providerId="AD" clId="Web-{E0C9DE80-9D5F-459F-938B-6F4A3C9C60D2}" dt="2022-04-19T15:00:29.288" v="20" actId="1076"/>
          <ac:picMkLst>
            <pc:docMk/>
            <pc:sldMk cId="0" sldId="384"/>
            <ac:picMk id="208" creationId="{00000000-0000-0000-0000-000000000000}"/>
          </ac:picMkLst>
        </pc:picChg>
        <pc:picChg chg="mod">
          <ac:chgData name="Guest User" userId="S::urn:spo:anon#6bbc8ad3065cd11d92081721a572e8f9c9b85cc64084c82913bb48609c033f69::" providerId="AD" clId="Web-{E0C9DE80-9D5F-459F-938B-6F4A3C9C60D2}" dt="2022-04-19T15:00:36.507" v="25" actId="1076"/>
          <ac:picMkLst>
            <pc:docMk/>
            <pc:sldMk cId="0" sldId="384"/>
            <ac:picMk id="210" creationId="{00000000-0000-0000-0000-000000000000}"/>
          </ac:picMkLst>
        </pc:picChg>
        <pc:picChg chg="mod">
          <ac:chgData name="Guest User" userId="S::urn:spo:anon#6bbc8ad3065cd11d92081721a572e8f9c9b85cc64084c82913bb48609c033f69::" providerId="AD" clId="Web-{E0C9DE80-9D5F-459F-938B-6F4A3C9C60D2}" dt="2022-04-19T15:00:29.319" v="21" actId="1076"/>
          <ac:picMkLst>
            <pc:docMk/>
            <pc:sldMk cId="0" sldId="384"/>
            <ac:picMk id="211" creationId="{00000000-0000-0000-0000-000000000000}"/>
          </ac:picMkLst>
        </pc:picChg>
        <pc:cxnChg chg="mod">
          <ac:chgData name="Guest User" userId="S::urn:spo:anon#6bbc8ad3065cd11d92081721a572e8f9c9b85cc64084c82913bb48609c033f69::" providerId="AD" clId="Web-{E0C9DE80-9D5F-459F-938B-6F4A3C9C60D2}" dt="2022-04-19T17:11:25.907" v="383" actId="14100"/>
          <ac:cxnSpMkLst>
            <pc:docMk/>
            <pc:sldMk cId="0" sldId="384"/>
            <ac:cxnSpMk id="227" creationId="{00000000-0000-0000-0000-000000000000}"/>
          </ac:cxnSpMkLst>
        </pc:cxnChg>
      </pc:sldChg>
      <pc:sldChg chg="modSp mod setBg">
        <pc:chgData name="Guest User" userId="S::urn:spo:anon#6bbc8ad3065cd11d92081721a572e8f9c9b85cc64084c82913bb48609c033f69::" providerId="AD" clId="Web-{E0C9DE80-9D5F-459F-938B-6F4A3C9C60D2}" dt="2022-04-19T16:39:09.885" v="208" actId="1076"/>
        <pc:sldMkLst>
          <pc:docMk/>
          <pc:sldMk cId="2994314061" sldId="385"/>
        </pc:sldMkLst>
        <pc:spChg chg="mod">
          <ac:chgData name="Guest User" userId="S::urn:spo:anon#6bbc8ad3065cd11d92081721a572e8f9c9b85cc64084c82913bb48609c033f69::" providerId="AD" clId="Web-{E0C9DE80-9D5F-459F-938B-6F4A3C9C60D2}" dt="2022-04-19T16:38:55.557" v="204" actId="14100"/>
          <ac:spMkLst>
            <pc:docMk/>
            <pc:sldMk cId="2994314061" sldId="385"/>
            <ac:spMk id="12" creationId="{2A18C4E8-C461-494D-81E4-7EB6C08B7B32}"/>
          </ac:spMkLst>
        </pc:spChg>
        <pc:picChg chg="mod">
          <ac:chgData name="Guest User" userId="S::urn:spo:anon#6bbc8ad3065cd11d92081721a572e8f9c9b85cc64084c82913bb48609c033f69::" providerId="AD" clId="Web-{E0C9DE80-9D5F-459F-938B-6F4A3C9C60D2}" dt="2022-04-19T16:39:09.885" v="208" actId="1076"/>
          <ac:picMkLst>
            <pc:docMk/>
            <pc:sldMk cId="2994314061" sldId="385"/>
            <ac:picMk id="4" creationId="{39FD44A5-94D1-4EAA-9D46-3E59703AFA21}"/>
          </ac:picMkLst>
        </pc:picChg>
      </pc:sldChg>
      <pc:sldChg chg="modSp">
        <pc:chgData name="Guest User" userId="S::urn:spo:anon#6bbc8ad3065cd11d92081721a572e8f9c9b85cc64084c82913bb48609c033f69::" providerId="AD" clId="Web-{E0C9DE80-9D5F-459F-938B-6F4A3C9C60D2}" dt="2022-04-19T16:30:40.828" v="99" actId="1076"/>
        <pc:sldMkLst>
          <pc:docMk/>
          <pc:sldMk cId="2988308840" sldId="386"/>
        </pc:sldMkLst>
        <pc:spChg chg="mod">
          <ac:chgData name="Guest User" userId="S::urn:spo:anon#6bbc8ad3065cd11d92081721a572e8f9c9b85cc64084c82913bb48609c033f69::" providerId="AD" clId="Web-{E0C9DE80-9D5F-459F-938B-6F4A3C9C60D2}" dt="2022-04-19T16:27:57.747" v="70" actId="1076"/>
          <ac:spMkLst>
            <pc:docMk/>
            <pc:sldMk cId="2988308840" sldId="386"/>
            <ac:spMk id="93" creationId="{1E0C47C8-1E7E-EADE-A56B-FAF12E915F6D}"/>
          </ac:spMkLst>
        </pc:spChg>
        <pc:spChg chg="mod">
          <ac:chgData name="Guest User" userId="S::urn:spo:anon#6bbc8ad3065cd11d92081721a572e8f9c9b85cc64084c82913bb48609c033f69::" providerId="AD" clId="Web-{E0C9DE80-9D5F-459F-938B-6F4A3C9C60D2}" dt="2022-04-19T16:27:04.590" v="60" actId="1076"/>
          <ac:spMkLst>
            <pc:docMk/>
            <pc:sldMk cId="2988308840" sldId="386"/>
            <ac:spMk id="98" creationId="{3A23AAE2-4269-C3E7-E699-BA0249A4E5CE}"/>
          </ac:spMkLst>
        </pc:spChg>
        <pc:spChg chg="mod">
          <ac:chgData name="Guest User" userId="S::urn:spo:anon#6bbc8ad3065cd11d92081721a572e8f9c9b85cc64084c82913bb48609c033f69::" providerId="AD" clId="Web-{E0C9DE80-9D5F-459F-938B-6F4A3C9C60D2}" dt="2022-04-19T16:29:09.717" v="79" actId="14100"/>
          <ac:spMkLst>
            <pc:docMk/>
            <pc:sldMk cId="2988308840" sldId="386"/>
            <ac:spMk id="106" creationId="{F79DDFAB-26D1-7230-AFAD-E8DFDA1DCB82}"/>
          </ac:spMkLst>
        </pc:spChg>
        <pc:spChg chg="mod">
          <ac:chgData name="Guest User" userId="S::urn:spo:anon#6bbc8ad3065cd11d92081721a572e8f9c9b85cc64084c82913bb48609c033f69::" providerId="AD" clId="Web-{E0C9DE80-9D5F-459F-938B-6F4A3C9C60D2}" dt="2022-04-19T16:30:06.890" v="91" actId="1076"/>
          <ac:spMkLst>
            <pc:docMk/>
            <pc:sldMk cId="2988308840" sldId="386"/>
            <ac:spMk id="416" creationId="{00000000-0000-0000-0000-000000000000}"/>
          </ac:spMkLst>
        </pc:spChg>
        <pc:spChg chg="mod">
          <ac:chgData name="Guest User" userId="S::urn:spo:anon#6bbc8ad3065cd11d92081721a572e8f9c9b85cc64084c82913bb48609c033f69::" providerId="AD" clId="Web-{E0C9DE80-9D5F-459F-938B-6F4A3C9C60D2}" dt="2022-04-19T16:30:09.375" v="92" actId="1076"/>
          <ac:spMkLst>
            <pc:docMk/>
            <pc:sldMk cId="2988308840" sldId="386"/>
            <ac:spMk id="417" creationId="{00000000-0000-0000-0000-000000000000}"/>
          </ac:spMkLst>
        </pc:spChg>
        <pc:grpChg chg="mod">
          <ac:chgData name="Guest User" userId="S::urn:spo:anon#6bbc8ad3065cd11d92081721a572e8f9c9b85cc64084c82913bb48609c033f69::" providerId="AD" clId="Web-{E0C9DE80-9D5F-459F-938B-6F4A3C9C60D2}" dt="2022-04-19T16:29:50.968" v="87" actId="1076"/>
          <ac:grpSpMkLst>
            <pc:docMk/>
            <pc:sldMk cId="2988308840" sldId="386"/>
            <ac:grpSpMk id="3" creationId="{04B4B9EF-39BF-81F3-070D-703E1C6BC8C8}"/>
          </ac:grpSpMkLst>
        </pc:grpChg>
        <pc:cxnChg chg="mod">
          <ac:chgData name="Guest User" userId="S::urn:spo:anon#6bbc8ad3065cd11d92081721a572e8f9c9b85cc64084c82913bb48609c033f69::" providerId="AD" clId="Web-{E0C9DE80-9D5F-459F-938B-6F4A3C9C60D2}" dt="2022-04-19T16:29:32.811" v="82" actId="1076"/>
          <ac:cxnSpMkLst>
            <pc:docMk/>
            <pc:sldMk cId="2988308840" sldId="386"/>
            <ac:cxnSpMk id="96" creationId="{448CA91B-8DA9-1C1C-AA1D-6DFE020531CC}"/>
          </ac:cxnSpMkLst>
        </pc:cxnChg>
        <pc:cxnChg chg="mod">
          <ac:chgData name="Guest User" userId="S::urn:spo:anon#6bbc8ad3065cd11d92081721a572e8f9c9b85cc64084c82913bb48609c033f69::" providerId="AD" clId="Web-{E0C9DE80-9D5F-459F-938B-6F4A3C9C60D2}" dt="2022-04-19T16:30:31.047" v="96" actId="1076"/>
          <ac:cxnSpMkLst>
            <pc:docMk/>
            <pc:sldMk cId="2988308840" sldId="386"/>
            <ac:cxnSpMk id="111" creationId="{731970E4-ABD5-0607-31FD-27DDEA233EDF}"/>
          </ac:cxnSpMkLst>
        </pc:cxnChg>
        <pc:cxnChg chg="mod">
          <ac:chgData name="Guest User" userId="S::urn:spo:anon#6bbc8ad3065cd11d92081721a572e8f9c9b85cc64084c82913bb48609c033f69::" providerId="AD" clId="Web-{E0C9DE80-9D5F-459F-938B-6F4A3C9C60D2}" dt="2022-04-19T16:30:35.219" v="97" actId="1076"/>
          <ac:cxnSpMkLst>
            <pc:docMk/>
            <pc:sldMk cId="2988308840" sldId="386"/>
            <ac:cxnSpMk id="120" creationId="{55FA9FF7-4455-4B47-9023-FF6BDA918F8C}"/>
          </ac:cxnSpMkLst>
        </pc:cxnChg>
        <pc:cxnChg chg="mod">
          <ac:chgData name="Guest User" userId="S::urn:spo:anon#6bbc8ad3065cd11d92081721a572e8f9c9b85cc64084c82913bb48609c033f69::" providerId="AD" clId="Web-{E0C9DE80-9D5F-459F-938B-6F4A3C9C60D2}" dt="2022-04-19T16:30:20.469" v="94" actId="14100"/>
          <ac:cxnSpMkLst>
            <pc:docMk/>
            <pc:sldMk cId="2988308840" sldId="386"/>
            <ac:cxnSpMk id="397" creationId="{00000000-0000-0000-0000-000000000000}"/>
          </ac:cxnSpMkLst>
        </pc:cxnChg>
        <pc:cxnChg chg="mod">
          <ac:chgData name="Guest User" userId="S::urn:spo:anon#6bbc8ad3065cd11d92081721a572e8f9c9b85cc64084c82913bb48609c033f69::" providerId="AD" clId="Web-{E0C9DE80-9D5F-459F-938B-6F4A3C9C60D2}" dt="2022-04-19T16:30:16.344" v="93" actId="14100"/>
          <ac:cxnSpMkLst>
            <pc:docMk/>
            <pc:sldMk cId="2988308840" sldId="386"/>
            <ac:cxnSpMk id="398" creationId="{00000000-0000-0000-0000-000000000000}"/>
          </ac:cxnSpMkLst>
        </pc:cxnChg>
        <pc:cxnChg chg="mod">
          <ac:chgData name="Guest User" userId="S::urn:spo:anon#6bbc8ad3065cd11d92081721a572e8f9c9b85cc64084c82913bb48609c033f69::" providerId="AD" clId="Web-{E0C9DE80-9D5F-459F-938B-6F4A3C9C60D2}" dt="2022-04-19T16:30:40.828" v="99" actId="1076"/>
          <ac:cxnSpMkLst>
            <pc:docMk/>
            <pc:sldMk cId="2988308840" sldId="386"/>
            <ac:cxnSpMk id="421" creationId="{00000000-0000-0000-0000-000000000000}"/>
          </ac:cxnSpMkLst>
        </pc:cxnChg>
        <pc:cxnChg chg="mod">
          <ac:chgData name="Guest User" userId="S::urn:spo:anon#6bbc8ad3065cd11d92081721a572e8f9c9b85cc64084c82913bb48609c033f69::" providerId="AD" clId="Web-{E0C9DE80-9D5F-459F-938B-6F4A3C9C60D2}" dt="2022-04-19T16:30:38.094" v="98" actId="1076"/>
          <ac:cxnSpMkLst>
            <pc:docMk/>
            <pc:sldMk cId="2988308840" sldId="386"/>
            <ac:cxnSpMk id="422" creationId="{00000000-0000-0000-0000-000000000000}"/>
          </ac:cxnSpMkLst>
        </pc:cxnChg>
      </pc:sldChg>
      <pc:sldChg chg="mod setBg">
        <pc:chgData name="Guest User" userId="S::urn:spo:anon#6bbc8ad3065cd11d92081721a572e8f9c9b85cc64084c82913bb48609c033f69::" providerId="AD" clId="Web-{E0C9DE80-9D5F-459F-938B-6F4A3C9C60D2}" dt="2022-04-19T16:46:01.487" v="289"/>
        <pc:sldMkLst>
          <pc:docMk/>
          <pc:sldMk cId="2764582375" sldId="387"/>
        </pc:sldMkLst>
      </pc:sldChg>
      <pc:sldChg chg="modSp mod setBg">
        <pc:chgData name="Guest User" userId="S::urn:spo:anon#6bbc8ad3065cd11d92081721a572e8f9c9b85cc64084c82913bb48609c033f69::" providerId="AD" clId="Web-{E0C9DE80-9D5F-459F-938B-6F4A3C9C60D2}" dt="2022-04-19T16:41:24.107" v="246"/>
        <pc:sldMkLst>
          <pc:docMk/>
          <pc:sldMk cId="170308247" sldId="388"/>
        </pc:sldMkLst>
        <pc:spChg chg="mod">
          <ac:chgData name="Guest User" userId="S::urn:spo:anon#6bbc8ad3065cd11d92081721a572e8f9c9b85cc64084c82913bb48609c033f69::" providerId="AD" clId="Web-{E0C9DE80-9D5F-459F-938B-6F4A3C9C60D2}" dt="2022-04-19T16:40:42.184" v="230" actId="14100"/>
          <ac:spMkLst>
            <pc:docMk/>
            <pc:sldMk cId="170308247" sldId="388"/>
            <ac:spMk id="572" creationId="{00000000-0000-0000-0000-000000000000}"/>
          </ac:spMkLst>
        </pc:spChg>
        <pc:spChg chg="mod">
          <ac:chgData name="Guest User" userId="S::urn:spo:anon#6bbc8ad3065cd11d92081721a572e8f9c9b85cc64084c82913bb48609c033f69::" providerId="AD" clId="Web-{E0C9DE80-9D5F-459F-938B-6F4A3C9C60D2}" dt="2022-04-19T16:40:44.590" v="231" actId="1076"/>
          <ac:spMkLst>
            <pc:docMk/>
            <pc:sldMk cId="170308247" sldId="388"/>
            <ac:spMk id="579" creationId="{00000000-0000-0000-0000-000000000000}"/>
          </ac:spMkLst>
        </pc:spChg>
        <pc:picChg chg="mod">
          <ac:chgData name="Guest User" userId="S::urn:spo:anon#6bbc8ad3065cd11d92081721a572e8f9c9b85cc64084c82913bb48609c033f69::" providerId="AD" clId="Web-{E0C9DE80-9D5F-459F-938B-6F4A3C9C60D2}" dt="2022-04-19T16:41:16.466" v="244" actId="1076"/>
          <ac:picMkLst>
            <pc:docMk/>
            <pc:sldMk cId="170308247" sldId="388"/>
            <ac:picMk id="6" creationId="{748600B8-95F8-4BFF-B919-6F2ECB69D2DC}"/>
          </ac:picMkLst>
        </pc:picChg>
        <pc:picChg chg="mod modCrop">
          <ac:chgData name="Guest User" userId="S::urn:spo:anon#6bbc8ad3065cd11d92081721a572e8f9c9b85cc64084c82913bb48609c033f69::" providerId="AD" clId="Web-{E0C9DE80-9D5F-459F-938B-6F4A3C9C60D2}" dt="2022-04-19T16:41:24.107" v="246"/>
          <ac:picMkLst>
            <pc:docMk/>
            <pc:sldMk cId="170308247" sldId="388"/>
            <ac:picMk id="9" creationId="{20507644-0564-4CCF-BAC6-C05F3AB27ACB}"/>
          </ac:picMkLst>
        </pc:picChg>
      </pc:sldChg>
      <pc:sldChg chg="addSp delSp modSp add replId">
        <pc:chgData name="Guest User" userId="S::urn:spo:anon#6bbc8ad3065cd11d92081721a572e8f9c9b85cc64084c82913bb48609c033f69::" providerId="AD" clId="Web-{E0C9DE80-9D5F-459F-938B-6F4A3C9C60D2}" dt="2022-04-19T16:39:24.073" v="211" actId="20577"/>
        <pc:sldMkLst>
          <pc:docMk/>
          <pc:sldMk cId="3830888432" sldId="390"/>
        </pc:sldMkLst>
        <pc:spChg chg="add">
          <ac:chgData name="Guest User" userId="S::urn:spo:anon#6bbc8ad3065cd11d92081721a572e8f9c9b85cc64084c82913bb48609c033f69::" providerId="AD" clId="Web-{E0C9DE80-9D5F-459F-938B-6F4A3C9C60D2}" dt="2022-04-19T16:37:50.743" v="183"/>
          <ac:spMkLst>
            <pc:docMk/>
            <pc:sldMk cId="3830888432" sldId="390"/>
            <ac:spMk id="2" creationId="{B4057D92-4F64-61C1-385C-3E2266153120}"/>
          </ac:spMkLst>
        </pc:spChg>
        <pc:spChg chg="add mod">
          <ac:chgData name="Guest User" userId="S::urn:spo:anon#6bbc8ad3065cd11d92081721a572e8f9c9b85cc64084c82913bb48609c033f69::" providerId="AD" clId="Web-{E0C9DE80-9D5F-459F-938B-6F4A3C9C60D2}" dt="2022-04-19T16:38:46.228" v="201" actId="14100"/>
          <ac:spMkLst>
            <pc:docMk/>
            <pc:sldMk cId="3830888432" sldId="390"/>
            <ac:spMk id="5" creationId="{BB82F581-24BE-AE8D-F31B-3850ADB9D836}"/>
          </ac:spMkLst>
        </pc:spChg>
        <pc:spChg chg="add">
          <ac:chgData name="Guest User" userId="S::urn:spo:anon#6bbc8ad3065cd11d92081721a572e8f9c9b85cc64084c82913bb48609c033f69::" providerId="AD" clId="Web-{E0C9DE80-9D5F-459F-938B-6F4A3C9C60D2}" dt="2022-04-19T16:38:19.072" v="194"/>
          <ac:spMkLst>
            <pc:docMk/>
            <pc:sldMk cId="3830888432" sldId="390"/>
            <ac:spMk id="7" creationId="{C551C554-E71D-1901-59AF-845BE238C04B}"/>
          </ac:spMkLst>
        </pc:spChg>
        <pc:spChg chg="mod">
          <ac:chgData name="Guest User" userId="S::urn:spo:anon#6bbc8ad3065cd11d92081721a572e8f9c9b85cc64084c82913bb48609c033f69::" providerId="AD" clId="Web-{E0C9DE80-9D5F-459F-938B-6F4A3C9C60D2}" dt="2022-04-19T16:39:24.073" v="211" actId="20577"/>
          <ac:spMkLst>
            <pc:docMk/>
            <pc:sldMk cId="3830888432" sldId="390"/>
            <ac:spMk id="10" creationId="{07509EF3-7D95-47DB-B37C-6EF4E0F9EE9D}"/>
          </ac:spMkLst>
        </pc:spChg>
        <pc:spChg chg="del mod">
          <ac:chgData name="Guest User" userId="S::urn:spo:anon#6bbc8ad3065cd11d92081721a572e8f9c9b85cc64084c82913bb48609c033f69::" providerId="AD" clId="Web-{E0C9DE80-9D5F-459F-938B-6F4A3C9C60D2}" dt="2022-04-19T16:38:00.353" v="189"/>
          <ac:spMkLst>
            <pc:docMk/>
            <pc:sldMk cId="3830888432" sldId="390"/>
            <ac:spMk id="12" creationId="{2A18C4E8-C461-494D-81E4-7EB6C08B7B32}"/>
          </ac:spMkLst>
        </pc:spChg>
        <pc:spChg chg="del">
          <ac:chgData name="Guest User" userId="S::urn:spo:anon#6bbc8ad3065cd11d92081721a572e8f9c9b85cc64084c82913bb48609c033f69::" providerId="AD" clId="Web-{E0C9DE80-9D5F-459F-938B-6F4A3C9C60D2}" dt="2022-04-19T16:38:16.353" v="193"/>
          <ac:spMkLst>
            <pc:docMk/>
            <pc:sldMk cId="3830888432" sldId="390"/>
            <ac:spMk id="14" creationId="{59B9098F-2628-4EF5-89DD-EDEFBCFB2940}"/>
          </ac:spMkLst>
        </pc:spChg>
        <pc:spChg chg="del">
          <ac:chgData name="Guest User" userId="S::urn:spo:anon#6bbc8ad3065cd11d92081721a572e8f9c9b85cc64084c82913bb48609c033f69::" providerId="AD" clId="Web-{E0C9DE80-9D5F-459F-938B-6F4A3C9C60D2}" dt="2022-04-19T16:37:48.009" v="182"/>
          <ac:spMkLst>
            <pc:docMk/>
            <pc:sldMk cId="3830888432" sldId="390"/>
            <ac:spMk id="616" creationId="{00000000-0000-0000-0000-000000000000}"/>
          </ac:spMkLst>
        </pc:spChg>
        <pc:grpChg chg="add">
          <ac:chgData name="Guest User" userId="S::urn:spo:anon#6bbc8ad3065cd11d92081721a572e8f9c9b85cc64084c82913bb48609c033f69::" providerId="AD" clId="Web-{E0C9DE80-9D5F-459F-938B-6F4A3C9C60D2}" dt="2022-04-19T16:37:50.759" v="184"/>
          <ac:grpSpMkLst>
            <pc:docMk/>
            <pc:sldMk cId="3830888432" sldId="390"/>
            <ac:grpSpMk id="3" creationId="{873BC796-A2F1-EBDD-6A64-1B92F2B5CCE8}"/>
          </ac:grpSpMkLst>
        </pc:grpChg>
        <pc:grpChg chg="del">
          <ac:chgData name="Guest User" userId="S::urn:spo:anon#6bbc8ad3065cd11d92081721a572e8f9c9b85cc64084c82913bb48609c033f69::" providerId="AD" clId="Web-{E0C9DE80-9D5F-459F-938B-6F4A3C9C60D2}" dt="2022-04-19T16:37:48.009" v="181"/>
          <ac:grpSpMkLst>
            <pc:docMk/>
            <pc:sldMk cId="3830888432" sldId="390"/>
            <ac:grpSpMk id="9" creationId="{05E19E48-B4E9-449E-A058-92E5CEAB7640}"/>
          </ac:grpSpMkLst>
        </pc:grpChg>
        <pc:picChg chg="del">
          <ac:chgData name="Guest User" userId="S::urn:spo:anon#6bbc8ad3065cd11d92081721a572e8f9c9b85cc64084c82913bb48609c033f69::" providerId="AD" clId="Web-{E0C9DE80-9D5F-459F-938B-6F4A3C9C60D2}" dt="2022-04-19T16:38:08.368" v="191"/>
          <ac:picMkLst>
            <pc:docMk/>
            <pc:sldMk cId="3830888432" sldId="390"/>
            <ac:picMk id="4" creationId="{39FD44A5-94D1-4EAA-9D46-3E59703AFA21}"/>
          </ac:picMkLst>
        </pc:picChg>
        <pc:picChg chg="add mod modCrop">
          <ac:chgData name="Guest User" userId="S::urn:spo:anon#6bbc8ad3065cd11d92081721a572e8f9c9b85cc64084c82913bb48609c033f69::" providerId="AD" clId="Web-{E0C9DE80-9D5F-459F-938B-6F4A3C9C60D2}" dt="2022-04-19T16:38:51.635" v="203" actId="14100"/>
          <ac:picMkLst>
            <pc:docMk/>
            <pc:sldMk cId="3830888432" sldId="390"/>
            <ac:picMk id="6" creationId="{8CCF07AE-EDEF-4ED4-876A-64DDB84AA943}"/>
          </ac:picMkLst>
        </pc:picChg>
      </pc:sldChg>
    </pc:docChg>
  </pc:docChgLst>
  <pc:docChgLst>
    <pc:chgData name="Guest User" userId="S::urn:spo:anon#c437c167f923f422528aee73b5e70e5726914197d2dec7f210a84ae49e8498a7::" providerId="AD" clId="Web-{35D70541-A60A-4F46-F5B5-7B18F53CDE5E}"/>
    <pc:docChg chg="addSld modSld">
      <pc:chgData name="Guest User" userId="S::urn:spo:anon#c437c167f923f422528aee73b5e70e5726914197d2dec7f210a84ae49e8498a7::" providerId="AD" clId="Web-{35D70541-A60A-4F46-F5B5-7B18F53CDE5E}" dt="2022-04-01T15:46:09.758" v="46" actId="20577"/>
      <pc:docMkLst>
        <pc:docMk/>
      </pc:docMkLst>
      <pc:sldChg chg="modSp">
        <pc:chgData name="Guest User" userId="S::urn:spo:anon#c437c167f923f422528aee73b5e70e5726914197d2dec7f210a84ae49e8498a7::" providerId="AD" clId="Web-{35D70541-A60A-4F46-F5B5-7B18F53CDE5E}" dt="2022-04-01T15:45:43.164" v="29" actId="20577"/>
        <pc:sldMkLst>
          <pc:docMk/>
          <pc:sldMk cId="3762238417" sldId="367"/>
        </pc:sldMkLst>
        <pc:spChg chg="mod">
          <ac:chgData name="Guest User" userId="S::urn:spo:anon#c437c167f923f422528aee73b5e70e5726914197d2dec7f210a84ae49e8498a7::" providerId="AD" clId="Web-{35D70541-A60A-4F46-F5B5-7B18F53CDE5E}" dt="2022-04-01T15:45:43.164" v="29" actId="20577"/>
          <ac:spMkLst>
            <pc:docMk/>
            <pc:sldMk cId="3762238417" sldId="367"/>
            <ac:spMk id="9" creationId="{A559BC09-4387-488E-85BC-CBE75B1CE17C}"/>
          </ac:spMkLst>
        </pc:spChg>
      </pc:sldChg>
      <pc:sldChg chg="modSp add replId">
        <pc:chgData name="Guest User" userId="S::urn:spo:anon#c437c167f923f422528aee73b5e70e5726914197d2dec7f210a84ae49e8498a7::" providerId="AD" clId="Web-{35D70541-A60A-4F46-F5B5-7B18F53CDE5E}" dt="2022-04-01T15:46:09.758" v="46" actId="20577"/>
        <pc:sldMkLst>
          <pc:docMk/>
          <pc:sldMk cId="3117050842" sldId="377"/>
        </pc:sldMkLst>
        <pc:spChg chg="mod">
          <ac:chgData name="Guest User" userId="S::urn:spo:anon#c437c167f923f422528aee73b5e70e5726914197d2dec7f210a84ae49e8498a7::" providerId="AD" clId="Web-{35D70541-A60A-4F46-F5B5-7B18F53CDE5E}" dt="2022-04-01T15:46:01.617" v="44" actId="20577"/>
          <ac:spMkLst>
            <pc:docMk/>
            <pc:sldMk cId="3117050842" sldId="377"/>
            <ac:spMk id="2" creationId="{AB52A157-2CB8-6DCB-8D3B-00713BF25DCA}"/>
          </ac:spMkLst>
        </pc:spChg>
        <pc:spChg chg="mod">
          <ac:chgData name="Guest User" userId="S::urn:spo:anon#c437c167f923f422528aee73b5e70e5726914197d2dec7f210a84ae49e8498a7::" providerId="AD" clId="Web-{35D70541-A60A-4F46-F5B5-7B18F53CDE5E}" dt="2022-04-01T15:46:09.758" v="46" actId="20577"/>
          <ac:spMkLst>
            <pc:docMk/>
            <pc:sldMk cId="3117050842" sldId="377"/>
            <ac:spMk id="9" creationId="{A559BC09-4387-488E-85BC-CBE75B1CE17C}"/>
          </ac:spMkLst>
        </pc:spChg>
      </pc:sldChg>
    </pc:docChg>
  </pc:docChgLst>
  <pc:docChgLst>
    <pc:chgData name="Guest User" userId="S::urn:spo:anon#bc72e6c931b442e1b83d9d7baffb28dcb7bee849e2d9a5e2bb7cc25170a1c113::" providerId="AD" clId="Web-{CAD11799-19A8-DF87-A66C-AC9450A7D151}"/>
    <pc:docChg chg="modSld">
      <pc:chgData name="Guest User" userId="S::urn:spo:anon#bc72e6c931b442e1b83d9d7baffb28dcb7bee849e2d9a5e2bb7cc25170a1c113::" providerId="AD" clId="Web-{CAD11799-19A8-DF87-A66C-AC9450A7D151}" dt="2022-03-21T19:03:04.331" v="137" actId="20577"/>
      <pc:docMkLst>
        <pc:docMk/>
      </pc:docMkLst>
      <pc:sldChg chg="addSp delSp modSp">
        <pc:chgData name="Guest User" userId="S::urn:spo:anon#bc72e6c931b442e1b83d9d7baffb28dcb7bee849e2d9a5e2bb7cc25170a1c113::" providerId="AD" clId="Web-{CAD11799-19A8-DF87-A66C-AC9450A7D151}" dt="2022-03-21T17:02:37.741" v="1"/>
        <pc:sldMkLst>
          <pc:docMk/>
          <pc:sldMk cId="0" sldId="269"/>
        </pc:sldMkLst>
        <pc:picChg chg="add del mod">
          <ac:chgData name="Guest User" userId="S::urn:spo:anon#bc72e6c931b442e1b83d9d7baffb28dcb7bee849e2d9a5e2bb7cc25170a1c113::" providerId="AD" clId="Web-{CAD11799-19A8-DF87-A66C-AC9450A7D151}" dt="2022-03-21T17:02:37.741" v="1"/>
          <ac:picMkLst>
            <pc:docMk/>
            <pc:sldMk cId="0" sldId="269"/>
            <ac:picMk id="4" creationId="{1E939F9F-C945-4707-A6BC-E91CF0F129F1}"/>
          </ac:picMkLst>
        </pc:picChg>
      </pc:sldChg>
      <pc:sldChg chg="addSp delSp modSp">
        <pc:chgData name="Guest User" userId="S::urn:spo:anon#bc72e6c931b442e1b83d9d7baffb28dcb7bee849e2d9a5e2bb7cc25170a1c113::" providerId="AD" clId="Web-{CAD11799-19A8-DF87-A66C-AC9450A7D151}" dt="2022-03-21T19:03:04.331" v="137" actId="20577"/>
        <pc:sldMkLst>
          <pc:docMk/>
          <pc:sldMk cId="1209993513" sldId="338"/>
        </pc:sldMkLst>
        <pc:spChg chg="add ord">
          <ac:chgData name="Guest User" userId="S::urn:spo:anon#bc72e6c931b442e1b83d9d7baffb28dcb7bee849e2d9a5e2bb7cc25170a1c113::" providerId="AD" clId="Web-{CAD11799-19A8-DF87-A66C-AC9450A7D151}" dt="2022-03-21T17:10:44.566" v="18"/>
          <ac:spMkLst>
            <pc:docMk/>
            <pc:sldMk cId="1209993513" sldId="338"/>
            <ac:spMk id="10" creationId="{389A6555-68BD-49FE-A450-63908B6BC5AF}"/>
          </ac:spMkLst>
        </pc:spChg>
        <pc:spChg chg="ord">
          <ac:chgData name="Guest User" userId="S::urn:spo:anon#bc72e6c931b442e1b83d9d7baffb28dcb7bee849e2d9a5e2bb7cc25170a1c113::" providerId="AD" clId="Web-{CAD11799-19A8-DF87-A66C-AC9450A7D151}" dt="2022-03-21T17:13:10.838" v="38"/>
          <ac:spMkLst>
            <pc:docMk/>
            <pc:sldMk cId="1209993513" sldId="338"/>
            <ac:spMk id="13" creationId="{8AA9B512-3C2F-4929-A53B-DC613CCD9E7D}"/>
          </ac:spMkLst>
        </pc:spChg>
        <pc:spChg chg="mod">
          <ac:chgData name="Guest User" userId="S::urn:spo:anon#bc72e6c931b442e1b83d9d7baffb28dcb7bee849e2d9a5e2bb7cc25170a1c113::" providerId="AD" clId="Web-{CAD11799-19A8-DF87-A66C-AC9450A7D151}" dt="2022-03-21T19:03:04.331" v="137" actId="20577"/>
          <ac:spMkLst>
            <pc:docMk/>
            <pc:sldMk cId="1209993513" sldId="338"/>
            <ac:spMk id="16" creationId="{F29BBF2D-5F15-45EC-BE2A-14ABF1E18DB5}"/>
          </ac:spMkLst>
        </pc:spChg>
        <pc:picChg chg="add del mod">
          <ac:chgData name="Guest User" userId="S::urn:spo:anon#bc72e6c931b442e1b83d9d7baffb28dcb7bee849e2d9a5e2bb7cc25170a1c113::" providerId="AD" clId="Web-{CAD11799-19A8-DF87-A66C-AC9450A7D151}" dt="2022-03-21T17:02:49.210" v="5"/>
          <ac:picMkLst>
            <pc:docMk/>
            <pc:sldMk cId="1209993513" sldId="338"/>
            <ac:picMk id="5" creationId="{5B0FAFCB-1E4D-4174-8488-436BC8555C56}"/>
          </ac:picMkLst>
        </pc:picChg>
        <pc:picChg chg="add del mod">
          <ac:chgData name="Guest User" userId="S::urn:spo:anon#bc72e6c931b442e1b83d9d7baffb28dcb7bee849e2d9a5e2bb7cc25170a1c113::" providerId="AD" clId="Web-{CAD11799-19A8-DF87-A66C-AC9450A7D151}" dt="2022-03-21T17:05:03.526" v="10"/>
          <ac:picMkLst>
            <pc:docMk/>
            <pc:sldMk cId="1209993513" sldId="338"/>
            <ac:picMk id="6" creationId="{C5943BA8-DC9C-4A48-AC12-5EAF1581B7A8}"/>
          </ac:picMkLst>
        </pc:picChg>
        <pc:picChg chg="add mod">
          <ac:chgData name="Guest User" userId="S::urn:spo:anon#bc72e6c931b442e1b83d9d7baffb28dcb7bee849e2d9a5e2bb7cc25170a1c113::" providerId="AD" clId="Web-{CAD11799-19A8-DF87-A66C-AC9450A7D151}" dt="2022-03-21T17:14:01.355" v="55" actId="1076"/>
          <ac:picMkLst>
            <pc:docMk/>
            <pc:sldMk cId="1209993513" sldId="338"/>
            <ac:picMk id="7" creationId="{E167ADDA-3304-42B9-9524-97BE6D27840F}"/>
          </ac:picMkLst>
        </pc:picChg>
        <pc:picChg chg="add mod">
          <ac:chgData name="Guest User" userId="S::urn:spo:anon#bc72e6c931b442e1b83d9d7baffb28dcb7bee849e2d9a5e2bb7cc25170a1c113::" providerId="AD" clId="Web-{CAD11799-19A8-DF87-A66C-AC9450A7D151}" dt="2022-03-21T17:14:01.386" v="56" actId="1076"/>
          <ac:picMkLst>
            <pc:docMk/>
            <pc:sldMk cId="1209993513" sldId="338"/>
            <ac:picMk id="8" creationId="{A7F49EF5-7FD2-4E24-8DC7-5A70F582CFE8}"/>
          </ac:picMkLst>
        </pc:picChg>
        <pc:picChg chg="add mod">
          <ac:chgData name="Guest User" userId="S::urn:spo:anon#bc72e6c931b442e1b83d9d7baffb28dcb7bee849e2d9a5e2bb7cc25170a1c113::" providerId="AD" clId="Web-{CAD11799-19A8-DF87-A66C-AC9450A7D151}" dt="2022-03-21T17:13:43.057" v="45" actId="14100"/>
          <ac:picMkLst>
            <pc:docMk/>
            <pc:sldMk cId="1209993513" sldId="338"/>
            <ac:picMk id="9" creationId="{9237B7FB-437B-4F8D-8925-192D1CF2D458}"/>
          </ac:picMkLst>
        </pc:picChg>
        <pc:picChg chg="add mod">
          <ac:chgData name="Guest User" userId="S::urn:spo:anon#bc72e6c931b442e1b83d9d7baffb28dcb7bee849e2d9a5e2bb7cc25170a1c113::" providerId="AD" clId="Web-{CAD11799-19A8-DF87-A66C-AC9450A7D151}" dt="2022-03-21T17:13:48.667" v="48" actId="1076"/>
          <ac:picMkLst>
            <pc:docMk/>
            <pc:sldMk cId="1209993513" sldId="338"/>
            <ac:picMk id="11" creationId="{7884BA36-C9C9-41F8-AF4A-AC1388B7BC31}"/>
          </ac:picMkLst>
        </pc:picChg>
      </pc:sldChg>
    </pc:docChg>
  </pc:docChgLst>
  <pc:docChgLst>
    <pc:chgData name="Guest User" userId="S::urn:spo:anon#c437c167f923f422528aee73b5e70e5726914197d2dec7f210a84ae49e8498a7::" providerId="AD" clId="Web-{B44790BB-80A1-81C6-8736-235CC973D5CE}"/>
    <pc:docChg chg="addSld delSld modSld sldOrd">
      <pc:chgData name="Guest User" userId="S::urn:spo:anon#c437c167f923f422528aee73b5e70e5726914197d2dec7f210a84ae49e8498a7::" providerId="AD" clId="Web-{B44790BB-80A1-81C6-8736-235CC973D5CE}" dt="2022-04-01T15:43:03.137" v="1139" actId="20577"/>
      <pc:docMkLst>
        <pc:docMk/>
      </pc:docMkLst>
      <pc:sldChg chg="addSp delSp modSp">
        <pc:chgData name="Guest User" userId="S::urn:spo:anon#c437c167f923f422528aee73b5e70e5726914197d2dec7f210a84ae49e8498a7::" providerId="AD" clId="Web-{B44790BB-80A1-81C6-8736-235CC973D5CE}" dt="2022-04-01T14:14:24.978" v="0"/>
        <pc:sldMkLst>
          <pc:docMk/>
          <pc:sldMk cId="0" sldId="256"/>
        </pc:sldMkLst>
        <pc:spChg chg="add mod">
          <ac:chgData name="Guest User" userId="S::urn:spo:anon#c437c167f923f422528aee73b5e70e5726914197d2dec7f210a84ae49e8498a7::" providerId="AD" clId="Web-{B44790BB-80A1-81C6-8736-235CC973D5CE}" dt="2022-04-01T14:14:24.978" v="0"/>
          <ac:spMkLst>
            <pc:docMk/>
            <pc:sldMk cId="0" sldId="256"/>
            <ac:spMk id="3" creationId="{B0238991-4556-F277-0C05-9F462522ACC4}"/>
          </ac:spMkLst>
        </pc:spChg>
        <pc:spChg chg="del">
          <ac:chgData name="Guest User" userId="S::urn:spo:anon#c437c167f923f422528aee73b5e70e5726914197d2dec7f210a84ae49e8498a7::" providerId="AD" clId="Web-{B44790BB-80A1-81C6-8736-235CC973D5CE}" dt="2022-04-01T14:14:24.978" v="0"/>
          <ac:spMkLst>
            <pc:docMk/>
            <pc:sldMk cId="0" sldId="256"/>
            <ac:spMk id="186" creationId="{00000000-0000-0000-0000-000000000000}"/>
          </ac:spMkLst>
        </pc:spChg>
      </pc:sldChg>
      <pc:sldChg chg="modSp">
        <pc:chgData name="Guest User" userId="S::urn:spo:anon#c437c167f923f422528aee73b5e70e5726914197d2dec7f210a84ae49e8498a7::" providerId="AD" clId="Web-{B44790BB-80A1-81C6-8736-235CC973D5CE}" dt="2022-04-01T14:14:36.697" v="1" actId="20577"/>
        <pc:sldMkLst>
          <pc:docMk/>
          <pc:sldMk cId="0" sldId="258"/>
        </pc:sldMkLst>
        <pc:spChg chg="mod">
          <ac:chgData name="Guest User" userId="S::urn:spo:anon#c437c167f923f422528aee73b5e70e5726914197d2dec7f210a84ae49e8498a7::" providerId="AD" clId="Web-{B44790BB-80A1-81C6-8736-235CC973D5CE}" dt="2022-04-01T14:14:36.697" v="1" actId="20577"/>
          <ac:spMkLst>
            <pc:docMk/>
            <pc:sldMk cId="0" sldId="258"/>
            <ac:spMk id="245" creationId="{00000000-0000-0000-0000-000000000000}"/>
          </ac:spMkLst>
        </pc:spChg>
      </pc:sldChg>
      <pc:sldChg chg="addSp modSp">
        <pc:chgData name="Guest User" userId="S::urn:spo:anon#c437c167f923f422528aee73b5e70e5726914197d2dec7f210a84ae49e8498a7::" providerId="AD" clId="Web-{B44790BB-80A1-81C6-8736-235CC973D5CE}" dt="2022-04-01T14:17:45.984" v="64" actId="20577"/>
        <pc:sldMkLst>
          <pc:docMk/>
          <pc:sldMk cId="0" sldId="259"/>
        </pc:sldMkLst>
        <pc:spChg chg="add mod">
          <ac:chgData name="Guest User" userId="S::urn:spo:anon#c437c167f923f422528aee73b5e70e5726914197d2dec7f210a84ae49e8498a7::" providerId="AD" clId="Web-{B44790BB-80A1-81C6-8736-235CC973D5CE}" dt="2022-04-01T14:17:45.984" v="64" actId="20577"/>
          <ac:spMkLst>
            <pc:docMk/>
            <pc:sldMk cId="0" sldId="259"/>
            <ac:spMk id="2" creationId="{332FAA88-0C1A-23EC-244B-BB586AB16ADA}"/>
          </ac:spMkLst>
        </pc:spChg>
        <pc:spChg chg="add mod">
          <ac:chgData name="Guest User" userId="S::urn:spo:anon#c437c167f923f422528aee73b5e70e5726914197d2dec7f210a84ae49e8498a7::" providerId="AD" clId="Web-{B44790BB-80A1-81C6-8736-235CC973D5CE}" dt="2022-04-01T14:17:30.249" v="61" actId="1076"/>
          <ac:spMkLst>
            <pc:docMk/>
            <pc:sldMk cId="0" sldId="259"/>
            <ac:spMk id="60" creationId="{95952E1E-7F78-EB4E-C8DB-6C613AD4FCEC}"/>
          </ac:spMkLst>
        </pc:spChg>
        <pc:spChg chg="add mod">
          <ac:chgData name="Guest User" userId="S::urn:spo:anon#c437c167f923f422528aee73b5e70e5726914197d2dec7f210a84ae49e8498a7::" providerId="AD" clId="Web-{B44790BB-80A1-81C6-8736-235CC973D5CE}" dt="2022-04-01T14:17:13.467" v="52" actId="20577"/>
          <ac:spMkLst>
            <pc:docMk/>
            <pc:sldMk cId="0" sldId="259"/>
            <ac:spMk id="61" creationId="{C51DA092-9C64-E1F6-D5F1-DF5C36135B45}"/>
          </ac:spMkLst>
        </pc:spChg>
        <pc:spChg chg="mod">
          <ac:chgData name="Guest User" userId="S::urn:spo:anon#c437c167f923f422528aee73b5e70e5726914197d2dec7f210a84ae49e8498a7::" providerId="AD" clId="Web-{B44790BB-80A1-81C6-8736-235CC973D5CE}" dt="2022-04-01T14:14:58.714" v="3"/>
          <ac:spMkLst>
            <pc:docMk/>
            <pc:sldMk cId="0" sldId="259"/>
            <ac:spMk id="295" creationId="{00000000-0000-0000-0000-000000000000}"/>
          </ac:spMkLst>
        </pc:spChg>
        <pc:spChg chg="mod">
          <ac:chgData name="Guest User" userId="S::urn:spo:anon#c437c167f923f422528aee73b5e70e5726914197d2dec7f210a84ae49e8498a7::" providerId="AD" clId="Web-{B44790BB-80A1-81C6-8736-235CC973D5CE}" dt="2022-04-01T14:17:34.187" v="62" actId="1076"/>
          <ac:spMkLst>
            <pc:docMk/>
            <pc:sldMk cId="0" sldId="259"/>
            <ac:spMk id="312" creationId="{00000000-0000-0000-0000-000000000000}"/>
          </ac:spMkLst>
        </pc:spChg>
      </pc:sldChg>
      <pc:sldChg chg="del">
        <pc:chgData name="Guest User" userId="S::urn:spo:anon#c437c167f923f422528aee73b5e70e5726914197d2dec7f210a84ae49e8498a7::" providerId="AD" clId="Web-{B44790BB-80A1-81C6-8736-235CC973D5CE}" dt="2022-04-01T15:39:02.648" v="884"/>
        <pc:sldMkLst>
          <pc:docMk/>
          <pc:sldMk cId="0" sldId="262"/>
        </pc:sldMkLst>
      </pc:sldChg>
      <pc:sldChg chg="addSp delSp modSp">
        <pc:chgData name="Guest User" userId="S::urn:spo:anon#c437c167f923f422528aee73b5e70e5726914197d2dec7f210a84ae49e8498a7::" providerId="AD" clId="Web-{B44790BB-80A1-81C6-8736-235CC973D5CE}" dt="2022-04-01T14:19:37.784" v="104" actId="1076"/>
        <pc:sldMkLst>
          <pc:docMk/>
          <pc:sldMk cId="0" sldId="264"/>
        </pc:sldMkLst>
        <pc:spChg chg="del">
          <ac:chgData name="Guest User" userId="S::urn:spo:anon#c437c167f923f422528aee73b5e70e5726914197d2dec7f210a84ae49e8498a7::" providerId="AD" clId="Web-{B44790BB-80A1-81C6-8736-235CC973D5CE}" dt="2022-04-01T14:18:54.970" v="83"/>
          <ac:spMkLst>
            <pc:docMk/>
            <pc:sldMk cId="0" sldId="264"/>
            <ac:spMk id="2" creationId="{602D9FA4-F15C-4D1D-AEB7-B89F3D495002}"/>
          </ac:spMkLst>
        </pc:spChg>
        <pc:spChg chg="add mod">
          <ac:chgData name="Guest User" userId="S::urn:spo:anon#c437c167f923f422528aee73b5e70e5726914197d2dec7f210a84ae49e8498a7::" providerId="AD" clId="Web-{B44790BB-80A1-81C6-8736-235CC973D5CE}" dt="2022-04-01T14:19:07.111" v="85" actId="1076"/>
          <ac:spMkLst>
            <pc:docMk/>
            <pc:sldMk cId="0" sldId="264"/>
            <ac:spMk id="4" creationId="{2A7D3A66-4741-5C35-EDF0-07C9E0489A88}"/>
          </ac:spMkLst>
        </pc:spChg>
        <pc:spChg chg="mod">
          <ac:chgData name="Guest User" userId="S::urn:spo:anon#c437c167f923f422528aee73b5e70e5726914197d2dec7f210a84ae49e8498a7::" providerId="AD" clId="Web-{B44790BB-80A1-81C6-8736-235CC973D5CE}" dt="2022-04-01T14:19:37.784" v="104" actId="1076"/>
          <ac:spMkLst>
            <pc:docMk/>
            <pc:sldMk cId="0" sldId="264"/>
            <ac:spMk id="27" creationId="{5326A9EE-D7DA-42EE-827F-1C7E490483EE}"/>
          </ac:spMkLst>
        </pc:spChg>
        <pc:spChg chg="mod">
          <ac:chgData name="Guest User" userId="S::urn:spo:anon#c437c167f923f422528aee73b5e70e5726914197d2dec7f210a84ae49e8498a7::" providerId="AD" clId="Web-{B44790BB-80A1-81C6-8736-235CC973D5CE}" dt="2022-04-01T14:19:32.753" v="103" actId="20577"/>
          <ac:spMkLst>
            <pc:docMk/>
            <pc:sldMk cId="0" sldId="264"/>
            <ac:spMk id="472" creationId="{00000000-0000-0000-0000-000000000000}"/>
          </ac:spMkLst>
        </pc:spChg>
      </pc:sldChg>
      <pc:sldChg chg="modSp">
        <pc:chgData name="Guest User" userId="S::urn:spo:anon#c437c167f923f422528aee73b5e70e5726914197d2dec7f210a84ae49e8498a7::" providerId="AD" clId="Web-{B44790BB-80A1-81C6-8736-235CC973D5CE}" dt="2022-04-01T14:24:03.620" v="453" actId="20577"/>
        <pc:sldMkLst>
          <pc:docMk/>
          <pc:sldMk cId="0" sldId="267"/>
        </pc:sldMkLst>
        <pc:spChg chg="mod">
          <ac:chgData name="Guest User" userId="S::urn:spo:anon#c437c167f923f422528aee73b5e70e5726914197d2dec7f210a84ae49e8498a7::" providerId="AD" clId="Web-{B44790BB-80A1-81C6-8736-235CC973D5CE}" dt="2022-04-01T14:24:03.620" v="453" actId="20577"/>
          <ac:spMkLst>
            <pc:docMk/>
            <pc:sldMk cId="0" sldId="267"/>
            <ac:spMk id="15" creationId="{1E4F1338-17C9-4FF2-9D25-BE5608D8C1F6}"/>
          </ac:spMkLst>
        </pc:spChg>
      </pc:sldChg>
      <pc:sldChg chg="addSp modSp">
        <pc:chgData name="Guest User" userId="S::urn:spo:anon#c437c167f923f422528aee73b5e70e5726914197d2dec7f210a84ae49e8498a7::" providerId="AD" clId="Web-{B44790BB-80A1-81C6-8736-235CC973D5CE}" dt="2022-04-01T15:36:50.208" v="767" actId="20577"/>
        <pc:sldMkLst>
          <pc:docMk/>
          <pc:sldMk cId="0" sldId="275"/>
        </pc:sldMkLst>
        <pc:spChg chg="add mod">
          <ac:chgData name="Guest User" userId="S::urn:spo:anon#c437c167f923f422528aee73b5e70e5726914197d2dec7f210a84ae49e8498a7::" providerId="AD" clId="Web-{B44790BB-80A1-81C6-8736-235CC973D5CE}" dt="2022-04-01T15:36:50.208" v="767" actId="20577"/>
          <ac:spMkLst>
            <pc:docMk/>
            <pc:sldMk cId="0" sldId="275"/>
            <ac:spMk id="9" creationId="{0FBC84A6-EDCC-927D-4D8D-DFA9A4DCE659}"/>
          </ac:spMkLst>
        </pc:spChg>
      </pc:sldChg>
      <pc:sldChg chg="addSp delSp modSp">
        <pc:chgData name="Guest User" userId="S::urn:spo:anon#c437c167f923f422528aee73b5e70e5726914197d2dec7f210a84ae49e8498a7::" providerId="AD" clId="Web-{B44790BB-80A1-81C6-8736-235CC973D5CE}" dt="2022-04-01T15:40:24.102" v="984"/>
        <pc:sldMkLst>
          <pc:docMk/>
          <pc:sldMk cId="0" sldId="283"/>
        </pc:sldMkLst>
        <pc:spChg chg="del">
          <ac:chgData name="Guest User" userId="S::urn:spo:anon#c437c167f923f422528aee73b5e70e5726914197d2dec7f210a84ae49e8498a7::" providerId="AD" clId="Web-{B44790BB-80A1-81C6-8736-235CC973D5CE}" dt="2022-04-01T15:39:21.851" v="887"/>
          <ac:spMkLst>
            <pc:docMk/>
            <pc:sldMk cId="0" sldId="283"/>
            <ac:spMk id="15" creationId="{4E03B81E-06BB-45C9-A04F-3F71A33A4116}"/>
          </ac:spMkLst>
        </pc:spChg>
        <pc:spChg chg="mod">
          <ac:chgData name="Guest User" userId="S::urn:spo:anon#c437c167f923f422528aee73b5e70e5726914197d2dec7f210a84ae49e8498a7::" providerId="AD" clId="Web-{B44790BB-80A1-81C6-8736-235CC973D5CE}" dt="2022-04-01T15:39:07.617" v="886" actId="20577"/>
          <ac:spMkLst>
            <pc:docMk/>
            <pc:sldMk cId="0" sldId="283"/>
            <ac:spMk id="20" creationId="{4B2456FF-B645-463D-855D-7AC4CB451808}"/>
          </ac:spMkLst>
        </pc:spChg>
        <pc:spChg chg="mod">
          <ac:chgData name="Guest User" userId="S::urn:spo:anon#c437c167f923f422528aee73b5e70e5726914197d2dec7f210a84ae49e8498a7::" providerId="AD" clId="Web-{B44790BB-80A1-81C6-8736-235CC973D5CE}" dt="2022-04-01T15:40:03.540" v="956"/>
          <ac:spMkLst>
            <pc:docMk/>
            <pc:sldMk cId="0" sldId="283"/>
            <ac:spMk id="21" creationId="{7C092FA4-92F1-452C-973C-C91F4DCFAD78}"/>
          </ac:spMkLst>
        </pc:spChg>
        <pc:spChg chg="add mod">
          <ac:chgData name="Guest User" userId="S::urn:spo:anon#c437c167f923f422528aee73b5e70e5726914197d2dec7f210a84ae49e8498a7::" providerId="AD" clId="Web-{B44790BB-80A1-81C6-8736-235CC973D5CE}" dt="2022-04-01T15:39:24.117" v="889" actId="1076"/>
          <ac:spMkLst>
            <pc:docMk/>
            <pc:sldMk cId="0" sldId="283"/>
            <ac:spMk id="22" creationId="{1D044FAD-B4AA-1AFD-293A-8E712C11FEC4}"/>
          </ac:spMkLst>
        </pc:spChg>
        <pc:graphicFrameChg chg="mod modGraphic">
          <ac:chgData name="Guest User" userId="S::urn:spo:anon#c437c167f923f422528aee73b5e70e5726914197d2dec7f210a84ae49e8498a7::" providerId="AD" clId="Web-{B44790BB-80A1-81C6-8736-235CC973D5CE}" dt="2022-04-01T15:40:24.102" v="984"/>
          <ac:graphicFrameMkLst>
            <pc:docMk/>
            <pc:sldMk cId="0" sldId="283"/>
            <ac:graphicFrameMk id="930" creationId="{00000000-0000-0000-0000-000000000000}"/>
          </ac:graphicFrameMkLst>
        </pc:graphicFrameChg>
      </pc:sldChg>
      <pc:sldChg chg="modSp">
        <pc:chgData name="Guest User" userId="S::urn:spo:anon#c437c167f923f422528aee73b5e70e5726914197d2dec7f210a84ae49e8498a7::" providerId="AD" clId="Web-{B44790BB-80A1-81C6-8736-235CC973D5CE}" dt="2022-04-01T15:36:57.786" v="778" actId="20577"/>
        <pc:sldMkLst>
          <pc:docMk/>
          <pc:sldMk cId="3210015788" sldId="303"/>
        </pc:sldMkLst>
        <pc:spChg chg="mod">
          <ac:chgData name="Guest User" userId="S::urn:spo:anon#c437c167f923f422528aee73b5e70e5726914197d2dec7f210a84ae49e8498a7::" providerId="AD" clId="Web-{B44790BB-80A1-81C6-8736-235CC973D5CE}" dt="2022-04-01T15:36:57.786" v="778" actId="20577"/>
          <ac:spMkLst>
            <pc:docMk/>
            <pc:sldMk cId="3210015788" sldId="303"/>
            <ac:spMk id="25" creationId="{33379683-EB1F-4B6F-948D-4D47193E44D8}"/>
          </ac:spMkLst>
        </pc:spChg>
      </pc:sldChg>
      <pc:sldChg chg="addSp delSp modSp">
        <pc:chgData name="Guest User" userId="S::urn:spo:anon#c437c167f923f422528aee73b5e70e5726914197d2dec7f210a84ae49e8498a7::" providerId="AD" clId="Web-{B44790BB-80A1-81C6-8736-235CC973D5CE}" dt="2022-04-01T14:21:49.694" v="246" actId="20577"/>
        <pc:sldMkLst>
          <pc:docMk/>
          <pc:sldMk cId="1756389301" sldId="323"/>
        </pc:sldMkLst>
        <pc:spChg chg="add mod">
          <ac:chgData name="Guest User" userId="S::urn:spo:anon#c437c167f923f422528aee73b5e70e5726914197d2dec7f210a84ae49e8498a7::" providerId="AD" clId="Web-{B44790BB-80A1-81C6-8736-235CC973D5CE}" dt="2022-04-01T14:21:49.694" v="246" actId="20577"/>
          <ac:spMkLst>
            <pc:docMk/>
            <pc:sldMk cId="1756389301" sldId="323"/>
            <ac:spMk id="2" creationId="{F0989B0E-DB48-159B-A485-E409F4BFF5AD}"/>
          </ac:spMkLst>
        </pc:spChg>
        <pc:spChg chg="del">
          <ac:chgData name="Guest User" userId="S::urn:spo:anon#c437c167f923f422528aee73b5e70e5726914197d2dec7f210a84ae49e8498a7::" providerId="AD" clId="Web-{B44790BB-80A1-81C6-8736-235CC973D5CE}" dt="2022-04-01T14:21:16.099" v="171"/>
          <ac:spMkLst>
            <pc:docMk/>
            <pc:sldMk cId="1756389301" sldId="323"/>
            <ac:spMk id="17" creationId="{740FA3E6-F331-4E37-B121-EE2C3B7FFACC}"/>
          </ac:spMkLst>
        </pc:spChg>
      </pc:sldChg>
      <pc:sldChg chg="delSp modSp">
        <pc:chgData name="Guest User" userId="S::urn:spo:anon#c437c167f923f422528aee73b5e70e5726914197d2dec7f210a84ae49e8498a7::" providerId="AD" clId="Web-{B44790BB-80A1-81C6-8736-235CC973D5CE}" dt="2022-04-01T14:20:36.864" v="127" actId="20577"/>
        <pc:sldMkLst>
          <pc:docMk/>
          <pc:sldMk cId="3720673345" sldId="336"/>
        </pc:sldMkLst>
        <pc:spChg chg="mod">
          <ac:chgData name="Guest User" userId="S::urn:spo:anon#c437c167f923f422528aee73b5e70e5726914197d2dec7f210a84ae49e8498a7::" providerId="AD" clId="Web-{B44790BB-80A1-81C6-8736-235CC973D5CE}" dt="2022-04-01T14:20:36.864" v="127" actId="20577"/>
          <ac:spMkLst>
            <pc:docMk/>
            <pc:sldMk cId="3720673345" sldId="336"/>
            <ac:spMk id="2" creationId="{8590B0AD-CF71-4028-AE61-68B4F1150A4F}"/>
          </ac:spMkLst>
        </pc:spChg>
        <pc:spChg chg="mod">
          <ac:chgData name="Guest User" userId="S::urn:spo:anon#c437c167f923f422528aee73b5e70e5726914197d2dec7f210a84ae49e8498a7::" providerId="AD" clId="Web-{B44790BB-80A1-81C6-8736-235CC973D5CE}" dt="2022-04-01T14:19:54.550" v="105" actId="14100"/>
          <ac:spMkLst>
            <pc:docMk/>
            <pc:sldMk cId="3720673345" sldId="336"/>
            <ac:spMk id="12" creationId="{2A18C4E8-C461-494D-81E4-7EB6C08B7B32}"/>
          </ac:spMkLst>
        </pc:spChg>
        <pc:spChg chg="del mod">
          <ac:chgData name="Guest User" userId="S::urn:spo:anon#c437c167f923f422528aee73b5e70e5726914197d2dec7f210a84ae49e8498a7::" providerId="AD" clId="Web-{B44790BB-80A1-81C6-8736-235CC973D5CE}" dt="2022-04-01T14:20:04.691" v="107"/>
          <ac:spMkLst>
            <pc:docMk/>
            <pc:sldMk cId="3720673345" sldId="336"/>
            <ac:spMk id="16" creationId="{8A8E2FB6-A608-4B9E-A208-3AABA014F4B7}"/>
          </ac:spMkLst>
        </pc:spChg>
      </pc:sldChg>
      <pc:sldChg chg="modSp">
        <pc:chgData name="Guest User" userId="S::urn:spo:anon#c437c167f923f422528aee73b5e70e5726914197d2dec7f210a84ae49e8498a7::" providerId="AD" clId="Web-{B44790BB-80A1-81C6-8736-235CC973D5CE}" dt="2022-04-01T14:21:09.318" v="170" actId="20577"/>
        <pc:sldMkLst>
          <pc:docMk/>
          <pc:sldMk cId="1209993513" sldId="338"/>
        </pc:sldMkLst>
        <pc:spChg chg="mod">
          <ac:chgData name="Guest User" userId="S::urn:spo:anon#c437c167f923f422528aee73b5e70e5726914197d2dec7f210a84ae49e8498a7::" providerId="AD" clId="Web-{B44790BB-80A1-81C6-8736-235CC973D5CE}" dt="2022-04-01T14:21:09.318" v="170" actId="20577"/>
          <ac:spMkLst>
            <pc:docMk/>
            <pc:sldMk cId="1209993513" sldId="338"/>
            <ac:spMk id="13" creationId="{7CB40364-C6DD-4E16-B46E-08A1E44306A9}"/>
          </ac:spMkLst>
        </pc:spChg>
      </pc:sldChg>
      <pc:sldChg chg="delSp modSp">
        <pc:chgData name="Guest User" userId="S::urn:spo:anon#c437c167f923f422528aee73b5e70e5726914197d2dec7f210a84ae49e8498a7::" providerId="AD" clId="Web-{B44790BB-80A1-81C6-8736-235CC973D5CE}" dt="2022-04-01T14:18:47.408" v="82" actId="1076"/>
        <pc:sldMkLst>
          <pc:docMk/>
          <pc:sldMk cId="2486721525" sldId="341"/>
        </pc:sldMkLst>
        <pc:spChg chg="mod">
          <ac:chgData name="Guest User" userId="S::urn:spo:anon#c437c167f923f422528aee73b5e70e5726914197d2dec7f210a84ae49e8498a7::" providerId="AD" clId="Web-{B44790BB-80A1-81C6-8736-235CC973D5CE}" dt="2022-04-01T14:18:02.922" v="70" actId="1076"/>
          <ac:spMkLst>
            <pc:docMk/>
            <pc:sldMk cId="2486721525" sldId="341"/>
            <ac:spMk id="100" creationId="{523D7184-991A-457B-AD7E-9585D81AD188}"/>
          </ac:spMkLst>
        </pc:spChg>
        <pc:spChg chg="del">
          <ac:chgData name="Guest User" userId="S::urn:spo:anon#c437c167f923f422528aee73b5e70e5726914197d2dec7f210a84ae49e8498a7::" providerId="AD" clId="Web-{B44790BB-80A1-81C6-8736-235CC973D5CE}" dt="2022-04-01T14:18:20.329" v="73"/>
          <ac:spMkLst>
            <pc:docMk/>
            <pc:sldMk cId="2486721525" sldId="341"/>
            <ac:spMk id="115" creationId="{E1B09134-0372-4CAF-82C4-955305B67393}"/>
          </ac:spMkLst>
        </pc:spChg>
        <pc:spChg chg="mod">
          <ac:chgData name="Guest User" userId="S::urn:spo:anon#c437c167f923f422528aee73b5e70e5726914197d2dec7f210a84ae49e8498a7::" providerId="AD" clId="Web-{B44790BB-80A1-81C6-8736-235CC973D5CE}" dt="2022-04-01T14:18:11.485" v="71" actId="14100"/>
          <ac:spMkLst>
            <pc:docMk/>
            <pc:sldMk cId="2486721525" sldId="341"/>
            <ac:spMk id="116" creationId="{473E579E-3692-41BD-8D3D-A49F032BB7D1}"/>
          </ac:spMkLst>
        </pc:spChg>
        <pc:spChg chg="mod">
          <ac:chgData name="Guest User" userId="S::urn:spo:anon#c437c167f923f422528aee73b5e70e5726914197d2dec7f210a84ae49e8498a7::" providerId="AD" clId="Web-{B44790BB-80A1-81C6-8736-235CC973D5CE}" dt="2022-04-01T14:18:00.109" v="69" actId="20577"/>
          <ac:spMkLst>
            <pc:docMk/>
            <pc:sldMk cId="2486721525" sldId="341"/>
            <ac:spMk id="344" creationId="{00000000-0000-0000-0000-000000000000}"/>
          </ac:spMkLst>
        </pc:spChg>
        <pc:spChg chg="mod">
          <ac:chgData name="Guest User" userId="S::urn:spo:anon#c437c167f923f422528aee73b5e70e5726914197d2dec7f210a84ae49e8498a7::" providerId="AD" clId="Web-{B44790BB-80A1-81C6-8736-235CC973D5CE}" dt="2022-04-01T14:18:23.641" v="74" actId="14100"/>
          <ac:spMkLst>
            <pc:docMk/>
            <pc:sldMk cId="2486721525" sldId="341"/>
            <ac:spMk id="372" creationId="{00000000-0000-0000-0000-000000000000}"/>
          </ac:spMkLst>
        </pc:spChg>
        <pc:spChg chg="del">
          <ac:chgData name="Guest User" userId="S::urn:spo:anon#c437c167f923f422528aee73b5e70e5726914197d2dec7f210a84ae49e8498a7::" providerId="AD" clId="Web-{B44790BB-80A1-81C6-8736-235CC973D5CE}" dt="2022-04-01T14:18:16.891" v="72"/>
          <ac:spMkLst>
            <pc:docMk/>
            <pc:sldMk cId="2486721525" sldId="341"/>
            <ac:spMk id="414" creationId="{00000000-0000-0000-0000-000000000000}"/>
          </ac:spMkLst>
        </pc:spChg>
        <pc:spChg chg="mod">
          <ac:chgData name="Guest User" userId="S::urn:spo:anon#c437c167f923f422528aee73b5e70e5726914197d2dec7f210a84ae49e8498a7::" providerId="AD" clId="Web-{B44790BB-80A1-81C6-8736-235CC973D5CE}" dt="2022-04-01T14:18:32.735" v="75" actId="1076"/>
          <ac:spMkLst>
            <pc:docMk/>
            <pc:sldMk cId="2486721525" sldId="341"/>
            <ac:spMk id="416" creationId="{00000000-0000-0000-0000-000000000000}"/>
          </ac:spMkLst>
        </pc:spChg>
        <pc:spChg chg="mod">
          <ac:chgData name="Guest User" userId="S::urn:spo:anon#c437c167f923f422528aee73b5e70e5726914197d2dec7f210a84ae49e8498a7::" providerId="AD" clId="Web-{B44790BB-80A1-81C6-8736-235CC973D5CE}" dt="2022-04-01T14:18:32.767" v="76" actId="1076"/>
          <ac:spMkLst>
            <pc:docMk/>
            <pc:sldMk cId="2486721525" sldId="341"/>
            <ac:spMk id="417" creationId="{00000000-0000-0000-0000-000000000000}"/>
          </ac:spMkLst>
        </pc:spChg>
        <pc:spChg chg="mod">
          <ac:chgData name="Guest User" userId="S::urn:spo:anon#c437c167f923f422528aee73b5e70e5726914197d2dec7f210a84ae49e8498a7::" providerId="AD" clId="Web-{B44790BB-80A1-81C6-8736-235CC973D5CE}" dt="2022-04-01T14:18:47.236" v="77" actId="1076"/>
          <ac:spMkLst>
            <pc:docMk/>
            <pc:sldMk cId="2486721525" sldId="341"/>
            <ac:spMk id="430" creationId="{00000000-0000-0000-0000-000000000000}"/>
          </ac:spMkLst>
        </pc:spChg>
        <pc:spChg chg="mod">
          <ac:chgData name="Guest User" userId="S::urn:spo:anon#c437c167f923f422528aee73b5e70e5726914197d2dec7f210a84ae49e8498a7::" providerId="AD" clId="Web-{B44790BB-80A1-81C6-8736-235CC973D5CE}" dt="2022-04-01T14:18:47.283" v="78" actId="1076"/>
          <ac:spMkLst>
            <pc:docMk/>
            <pc:sldMk cId="2486721525" sldId="341"/>
            <ac:spMk id="431" creationId="{00000000-0000-0000-0000-000000000000}"/>
          </ac:spMkLst>
        </pc:spChg>
        <pc:spChg chg="mod">
          <ac:chgData name="Guest User" userId="S::urn:spo:anon#c437c167f923f422528aee73b5e70e5726914197d2dec7f210a84ae49e8498a7::" providerId="AD" clId="Web-{B44790BB-80A1-81C6-8736-235CC973D5CE}" dt="2022-04-01T14:18:47.314" v="79" actId="1076"/>
          <ac:spMkLst>
            <pc:docMk/>
            <pc:sldMk cId="2486721525" sldId="341"/>
            <ac:spMk id="436" creationId="{00000000-0000-0000-0000-000000000000}"/>
          </ac:spMkLst>
        </pc:spChg>
        <pc:spChg chg="mod">
          <ac:chgData name="Guest User" userId="S::urn:spo:anon#c437c167f923f422528aee73b5e70e5726914197d2dec7f210a84ae49e8498a7::" providerId="AD" clId="Web-{B44790BB-80A1-81C6-8736-235CC973D5CE}" dt="2022-04-01T14:18:47.345" v="80" actId="1076"/>
          <ac:spMkLst>
            <pc:docMk/>
            <pc:sldMk cId="2486721525" sldId="341"/>
            <ac:spMk id="441" creationId="{00000000-0000-0000-0000-000000000000}"/>
          </ac:spMkLst>
        </pc:spChg>
        <pc:spChg chg="mod">
          <ac:chgData name="Guest User" userId="S::urn:spo:anon#c437c167f923f422528aee73b5e70e5726914197d2dec7f210a84ae49e8498a7::" providerId="AD" clId="Web-{B44790BB-80A1-81C6-8736-235CC973D5CE}" dt="2022-04-01T14:18:47.376" v="81" actId="1076"/>
          <ac:spMkLst>
            <pc:docMk/>
            <pc:sldMk cId="2486721525" sldId="341"/>
            <ac:spMk id="446" creationId="{00000000-0000-0000-0000-000000000000}"/>
          </ac:spMkLst>
        </pc:spChg>
        <pc:spChg chg="mod">
          <ac:chgData name="Guest User" userId="S::urn:spo:anon#c437c167f923f422528aee73b5e70e5726914197d2dec7f210a84ae49e8498a7::" providerId="AD" clId="Web-{B44790BB-80A1-81C6-8736-235CC973D5CE}" dt="2022-04-01T14:18:47.408" v="82" actId="1076"/>
          <ac:spMkLst>
            <pc:docMk/>
            <pc:sldMk cId="2486721525" sldId="341"/>
            <ac:spMk id="447" creationId="{00000000-0000-0000-0000-000000000000}"/>
          </ac:spMkLst>
        </pc:spChg>
      </pc:sldChg>
      <pc:sldChg chg="modSp ord">
        <pc:chgData name="Guest User" userId="S::urn:spo:anon#c437c167f923f422528aee73b5e70e5726914197d2dec7f210a84ae49e8498a7::" providerId="AD" clId="Web-{B44790BB-80A1-81C6-8736-235CC973D5CE}" dt="2022-04-01T15:41:13.588" v="1070" actId="20577"/>
        <pc:sldMkLst>
          <pc:docMk/>
          <pc:sldMk cId="4114424017" sldId="342"/>
        </pc:sldMkLst>
        <pc:spChg chg="mod">
          <ac:chgData name="Guest User" userId="S::urn:spo:anon#c437c167f923f422528aee73b5e70e5726914197d2dec7f210a84ae49e8498a7::" providerId="AD" clId="Web-{B44790BB-80A1-81C6-8736-235CC973D5CE}" dt="2022-04-01T15:41:13.588" v="1070" actId="20577"/>
          <ac:spMkLst>
            <pc:docMk/>
            <pc:sldMk cId="4114424017" sldId="342"/>
            <ac:spMk id="11" creationId="{32873532-4DAB-46C2-9B1C-F38B26BCDC39}"/>
          </ac:spMkLst>
        </pc:spChg>
        <pc:spChg chg="mod">
          <ac:chgData name="Guest User" userId="S::urn:spo:anon#c437c167f923f422528aee73b5e70e5726914197d2dec7f210a84ae49e8498a7::" providerId="AD" clId="Web-{B44790BB-80A1-81C6-8736-235CC973D5CE}" dt="2022-04-01T15:37:19.490" v="781"/>
          <ac:spMkLst>
            <pc:docMk/>
            <pc:sldMk cId="4114424017" sldId="342"/>
            <ac:spMk id="29" creationId="{76F8C6E7-F209-41F4-BEFF-E33A2664F7DA}"/>
          </ac:spMkLst>
        </pc:spChg>
        <pc:graphicFrameChg chg="mod modGraphic">
          <ac:chgData name="Guest User" userId="S::urn:spo:anon#c437c167f923f422528aee73b5e70e5726914197d2dec7f210a84ae49e8498a7::" providerId="AD" clId="Web-{B44790BB-80A1-81C6-8736-235CC973D5CE}" dt="2022-04-01T15:38:05.647" v="877"/>
          <ac:graphicFrameMkLst>
            <pc:docMk/>
            <pc:sldMk cId="4114424017" sldId="342"/>
            <ac:graphicFrameMk id="23" creationId="{F4A84191-3BFB-48AA-A343-19DE4EA3891C}"/>
          </ac:graphicFrameMkLst>
        </pc:graphicFrameChg>
      </pc:sldChg>
      <pc:sldChg chg="modSp">
        <pc:chgData name="Guest User" userId="S::urn:spo:anon#c437c167f923f422528aee73b5e70e5726914197d2dec7f210a84ae49e8498a7::" providerId="AD" clId="Web-{B44790BB-80A1-81C6-8736-235CC973D5CE}" dt="2022-04-01T14:22:43.117" v="335" actId="20577"/>
        <pc:sldMkLst>
          <pc:docMk/>
          <pc:sldMk cId="211703589" sldId="343"/>
        </pc:sldMkLst>
        <pc:spChg chg="mod">
          <ac:chgData name="Guest User" userId="S::urn:spo:anon#c437c167f923f422528aee73b5e70e5726914197d2dec7f210a84ae49e8498a7::" providerId="AD" clId="Web-{B44790BB-80A1-81C6-8736-235CC973D5CE}" dt="2022-04-01T14:22:43.117" v="335" actId="20577"/>
          <ac:spMkLst>
            <pc:docMk/>
            <pc:sldMk cId="211703589" sldId="343"/>
            <ac:spMk id="16" creationId="{F617743E-3F94-469A-92C2-0B08E1ECAF4E}"/>
          </ac:spMkLst>
        </pc:spChg>
      </pc:sldChg>
      <pc:sldChg chg="modSp ord">
        <pc:chgData name="Guest User" userId="S::urn:spo:anon#c437c167f923f422528aee73b5e70e5726914197d2dec7f210a84ae49e8498a7::" providerId="AD" clId="Web-{B44790BB-80A1-81C6-8736-235CC973D5CE}" dt="2022-04-01T15:42:14.120" v="1073" actId="20577"/>
        <pc:sldMkLst>
          <pc:docMk/>
          <pc:sldMk cId="754587697" sldId="352"/>
        </pc:sldMkLst>
        <pc:spChg chg="mod">
          <ac:chgData name="Guest User" userId="S::urn:spo:anon#c437c167f923f422528aee73b5e70e5726914197d2dec7f210a84ae49e8498a7::" providerId="AD" clId="Web-{B44790BB-80A1-81C6-8736-235CC973D5CE}" dt="2022-04-01T15:42:14.120" v="1073" actId="20577"/>
          <ac:spMkLst>
            <pc:docMk/>
            <pc:sldMk cId="754587697" sldId="352"/>
            <ac:spMk id="8" creationId="{8F69E7F7-DBB9-40B0-9935-C325CC79771F}"/>
          </ac:spMkLst>
        </pc:spChg>
      </pc:sldChg>
      <pc:sldChg chg="del">
        <pc:chgData name="Guest User" userId="S::urn:spo:anon#c437c167f923f422528aee73b5e70e5726914197d2dec7f210a84ae49e8498a7::" providerId="AD" clId="Web-{B44790BB-80A1-81C6-8736-235CC973D5CE}" dt="2022-04-01T15:39:01.882" v="883"/>
        <pc:sldMkLst>
          <pc:docMk/>
          <pc:sldMk cId="2527603155" sldId="353"/>
        </pc:sldMkLst>
      </pc:sldChg>
      <pc:sldChg chg="del">
        <pc:chgData name="Guest User" userId="S::urn:spo:anon#c437c167f923f422528aee73b5e70e5726914197d2dec7f210a84ae49e8498a7::" providerId="AD" clId="Web-{B44790BB-80A1-81C6-8736-235CC973D5CE}" dt="2022-04-01T15:38:56.491" v="882"/>
        <pc:sldMkLst>
          <pc:docMk/>
          <pc:sldMk cId="2901620941" sldId="362"/>
        </pc:sldMkLst>
      </pc:sldChg>
      <pc:sldChg chg="del">
        <pc:chgData name="Guest User" userId="S::urn:spo:anon#c437c167f923f422528aee73b5e70e5726914197d2dec7f210a84ae49e8498a7::" providerId="AD" clId="Web-{B44790BB-80A1-81C6-8736-235CC973D5CE}" dt="2022-04-01T15:36:07.941" v="703"/>
        <pc:sldMkLst>
          <pc:docMk/>
          <pc:sldMk cId="806044536" sldId="364"/>
        </pc:sldMkLst>
      </pc:sldChg>
      <pc:sldChg chg="addSp modSp">
        <pc:chgData name="Guest User" userId="S::urn:spo:anon#c437c167f923f422528aee73b5e70e5726914197d2dec7f210a84ae49e8498a7::" providerId="AD" clId="Web-{B44790BB-80A1-81C6-8736-235CC973D5CE}" dt="2022-04-01T14:28:59.144" v="541" actId="1076"/>
        <pc:sldMkLst>
          <pc:docMk/>
          <pc:sldMk cId="2576879601" sldId="365"/>
        </pc:sldMkLst>
        <pc:spChg chg="add mod">
          <ac:chgData name="Guest User" userId="S::urn:spo:anon#c437c167f923f422528aee73b5e70e5726914197d2dec7f210a84ae49e8498a7::" providerId="AD" clId="Web-{B44790BB-80A1-81C6-8736-235CC973D5CE}" dt="2022-04-01T14:28:59.144" v="541" actId="1076"/>
          <ac:spMkLst>
            <pc:docMk/>
            <pc:sldMk cId="2576879601" sldId="365"/>
            <ac:spMk id="8" creationId="{BAE03099-60F2-2556-8330-F7C06AE829D3}"/>
          </ac:spMkLst>
        </pc:spChg>
      </pc:sldChg>
      <pc:sldChg chg="addSp modSp ord">
        <pc:chgData name="Guest User" userId="S::urn:spo:anon#c437c167f923f422528aee73b5e70e5726914197d2dec7f210a84ae49e8498a7::" providerId="AD" clId="Web-{B44790BB-80A1-81C6-8736-235CC973D5CE}" dt="2022-04-01T14:28:50.034" v="539" actId="20577"/>
        <pc:sldMkLst>
          <pc:docMk/>
          <pc:sldMk cId="1695560817" sldId="366"/>
        </pc:sldMkLst>
        <pc:spChg chg="add mod">
          <ac:chgData name="Guest User" userId="S::urn:spo:anon#c437c167f923f422528aee73b5e70e5726914197d2dec7f210a84ae49e8498a7::" providerId="AD" clId="Web-{B44790BB-80A1-81C6-8736-235CC973D5CE}" dt="2022-04-01T14:28:50.034" v="539" actId="20577"/>
          <ac:spMkLst>
            <pc:docMk/>
            <pc:sldMk cId="1695560817" sldId="366"/>
            <ac:spMk id="3" creationId="{F1048966-CD25-3754-6E9D-DB4371B1B8BB}"/>
          </ac:spMkLst>
        </pc:spChg>
      </pc:sldChg>
      <pc:sldChg chg="addSp delSp modSp">
        <pc:chgData name="Guest User" userId="S::urn:spo:anon#c437c167f923f422528aee73b5e70e5726914197d2dec7f210a84ae49e8498a7::" providerId="AD" clId="Web-{B44790BB-80A1-81C6-8736-235CC973D5CE}" dt="2022-04-01T14:29:51.895" v="624" actId="20577"/>
        <pc:sldMkLst>
          <pc:docMk/>
          <pc:sldMk cId="3762238417" sldId="367"/>
        </pc:sldMkLst>
        <pc:spChg chg="mod">
          <ac:chgData name="Guest User" userId="S::urn:spo:anon#c437c167f923f422528aee73b5e70e5726914197d2dec7f210a84ae49e8498a7::" providerId="AD" clId="Web-{B44790BB-80A1-81C6-8736-235CC973D5CE}" dt="2022-04-01T14:29:42.176" v="621" actId="20577"/>
          <ac:spMkLst>
            <pc:docMk/>
            <pc:sldMk cId="3762238417" sldId="367"/>
            <ac:spMk id="2" creationId="{AB52A157-2CB8-6DCB-8D3B-00713BF25DCA}"/>
          </ac:spMkLst>
        </pc:spChg>
        <pc:spChg chg="mod">
          <ac:chgData name="Guest User" userId="S::urn:spo:anon#c437c167f923f422528aee73b5e70e5726914197d2dec7f210a84ae49e8498a7::" providerId="AD" clId="Web-{B44790BB-80A1-81C6-8736-235CC973D5CE}" dt="2022-04-01T14:29:51.895" v="624" actId="20577"/>
          <ac:spMkLst>
            <pc:docMk/>
            <pc:sldMk cId="3762238417" sldId="367"/>
            <ac:spMk id="5" creationId="{36D64229-262E-4A6E-9C18-00F422DCB439}"/>
          </ac:spMkLst>
        </pc:spChg>
        <pc:spChg chg="mod">
          <ac:chgData name="Guest User" userId="S::urn:spo:anon#c437c167f923f422528aee73b5e70e5726914197d2dec7f210a84ae49e8498a7::" providerId="AD" clId="Web-{B44790BB-80A1-81C6-8736-235CC973D5CE}" dt="2022-04-01T14:29:21.394" v="571" actId="20577"/>
          <ac:spMkLst>
            <pc:docMk/>
            <pc:sldMk cId="3762238417" sldId="367"/>
            <ac:spMk id="9" creationId="{A559BC09-4387-488E-85BC-CBE75B1CE17C}"/>
          </ac:spMkLst>
        </pc:spChg>
        <pc:spChg chg="add del mod">
          <ac:chgData name="Guest User" userId="S::urn:spo:anon#c437c167f923f422528aee73b5e70e5726914197d2dec7f210a84ae49e8498a7::" providerId="AD" clId="Web-{B44790BB-80A1-81C6-8736-235CC973D5CE}" dt="2022-04-01T14:29:37.520" v="615"/>
          <ac:spMkLst>
            <pc:docMk/>
            <pc:sldMk cId="3762238417" sldId="367"/>
            <ac:spMk id="10" creationId="{9B238149-5751-AA15-6205-1659C9689B34}"/>
          </ac:spMkLst>
        </pc:spChg>
      </pc:sldChg>
      <pc:sldChg chg="del">
        <pc:chgData name="Guest User" userId="S::urn:spo:anon#c437c167f923f422528aee73b5e70e5726914197d2dec7f210a84ae49e8498a7::" providerId="AD" clId="Web-{B44790BB-80A1-81C6-8736-235CC973D5CE}" dt="2022-04-01T14:16:02.075" v="20"/>
        <pc:sldMkLst>
          <pc:docMk/>
          <pc:sldMk cId="2478994861" sldId="368"/>
        </pc:sldMkLst>
      </pc:sldChg>
      <pc:sldChg chg="modSp">
        <pc:chgData name="Guest User" userId="S::urn:spo:anon#c437c167f923f422528aee73b5e70e5726914197d2dec7f210a84ae49e8498a7::" providerId="AD" clId="Web-{B44790BB-80A1-81C6-8736-235CC973D5CE}" dt="2022-04-01T14:23:28.931" v="403" actId="20577"/>
        <pc:sldMkLst>
          <pc:docMk/>
          <pc:sldMk cId="874573340" sldId="373"/>
        </pc:sldMkLst>
        <pc:spChg chg="mod">
          <ac:chgData name="Guest User" userId="S::urn:spo:anon#c437c167f923f422528aee73b5e70e5726914197d2dec7f210a84ae49e8498a7::" providerId="AD" clId="Web-{B44790BB-80A1-81C6-8736-235CC973D5CE}" dt="2022-04-01T14:23:09.165" v="364" actId="20577"/>
          <ac:spMkLst>
            <pc:docMk/>
            <pc:sldMk cId="874573340" sldId="373"/>
            <ac:spMk id="16" creationId="{FA350308-1FE7-45EE-B3DC-3D3434DF4E7B}"/>
          </ac:spMkLst>
        </pc:spChg>
        <pc:spChg chg="mod">
          <ac:chgData name="Guest User" userId="S::urn:spo:anon#c437c167f923f422528aee73b5e70e5726914197d2dec7f210a84ae49e8498a7::" providerId="AD" clId="Web-{B44790BB-80A1-81C6-8736-235CC973D5CE}" dt="2022-04-01T14:23:28.931" v="403" actId="20577"/>
          <ac:spMkLst>
            <pc:docMk/>
            <pc:sldMk cId="874573340" sldId="373"/>
            <ac:spMk id="572" creationId="{00000000-0000-0000-0000-000000000000}"/>
          </ac:spMkLst>
        </pc:spChg>
      </pc:sldChg>
      <pc:sldChg chg="addSp delSp modSp add ord replId">
        <pc:chgData name="Guest User" userId="S::urn:spo:anon#c437c167f923f422528aee73b5e70e5726914197d2dec7f210a84ae49e8498a7::" providerId="AD" clId="Web-{B44790BB-80A1-81C6-8736-235CC973D5CE}" dt="2022-04-01T14:28:21.705" v="518" actId="1076"/>
        <pc:sldMkLst>
          <pc:docMk/>
          <pc:sldMk cId="3514561185" sldId="374"/>
        </pc:sldMkLst>
        <pc:spChg chg="add mod">
          <ac:chgData name="Guest User" userId="S::urn:spo:anon#c437c167f923f422528aee73b5e70e5726914197d2dec7f210a84ae49e8498a7::" providerId="AD" clId="Web-{B44790BB-80A1-81C6-8736-235CC973D5CE}" dt="2022-04-01T14:28:09.361" v="494" actId="1076"/>
          <ac:spMkLst>
            <pc:docMk/>
            <pc:sldMk cId="3514561185" sldId="374"/>
            <ac:spMk id="2" creationId="{06BE3DF2-FF5A-32FB-904D-F3B56CDAAEDC}"/>
          </ac:spMkLst>
        </pc:spChg>
        <pc:spChg chg="add mod">
          <ac:chgData name="Guest User" userId="S::urn:spo:anon#c437c167f923f422528aee73b5e70e5726914197d2dec7f210a84ae49e8498a7::" providerId="AD" clId="Web-{B44790BB-80A1-81C6-8736-235CC973D5CE}" dt="2022-04-01T14:28:21.705" v="518" actId="1076"/>
          <ac:spMkLst>
            <pc:docMk/>
            <pc:sldMk cId="3514561185" sldId="374"/>
            <ac:spMk id="11" creationId="{A9B97C9C-0C93-045F-4501-F39E80FF554F}"/>
          </ac:spMkLst>
        </pc:spChg>
        <pc:picChg chg="del">
          <ac:chgData name="Guest User" userId="S::urn:spo:anon#c437c167f923f422528aee73b5e70e5726914197d2dec7f210a84ae49e8498a7::" providerId="AD" clId="Web-{B44790BB-80A1-81C6-8736-235CC973D5CE}" dt="2022-04-01T14:27:53.189" v="458"/>
          <ac:picMkLst>
            <pc:docMk/>
            <pc:sldMk cId="3514561185" sldId="374"/>
            <ac:picMk id="338" creationId="{00000000-0000-0000-0000-000000000000}"/>
          </ac:picMkLst>
        </pc:picChg>
      </pc:sldChg>
      <pc:sldChg chg="modSp add replId">
        <pc:chgData name="Guest User" userId="S::urn:spo:anon#c437c167f923f422528aee73b5e70e5726914197d2dec7f210a84ae49e8498a7::" providerId="AD" clId="Web-{B44790BB-80A1-81C6-8736-235CC973D5CE}" dt="2022-04-01T15:36:07.785" v="702" actId="20577"/>
        <pc:sldMkLst>
          <pc:docMk/>
          <pc:sldMk cId="604654217" sldId="375"/>
        </pc:sldMkLst>
        <pc:spChg chg="mod">
          <ac:chgData name="Guest User" userId="S::urn:spo:anon#c437c167f923f422528aee73b5e70e5726914197d2dec7f210a84ae49e8498a7::" providerId="AD" clId="Web-{B44790BB-80A1-81C6-8736-235CC973D5CE}" dt="2022-04-01T15:36:07.785" v="702" actId="20577"/>
          <ac:spMkLst>
            <pc:docMk/>
            <pc:sldMk cId="604654217" sldId="375"/>
            <ac:spMk id="2" creationId="{AB52A157-2CB8-6DCB-8D3B-00713BF25DCA}"/>
          </ac:spMkLst>
        </pc:spChg>
        <pc:spChg chg="mod">
          <ac:chgData name="Guest User" userId="S::urn:spo:anon#c437c167f923f422528aee73b5e70e5726914197d2dec7f210a84ae49e8498a7::" providerId="AD" clId="Web-{B44790BB-80A1-81C6-8736-235CC973D5CE}" dt="2022-04-01T14:29:57.474" v="627" actId="20577"/>
          <ac:spMkLst>
            <pc:docMk/>
            <pc:sldMk cId="604654217" sldId="375"/>
            <ac:spMk id="5" creationId="{36D64229-262E-4A6E-9C18-00F422DCB439}"/>
          </ac:spMkLst>
        </pc:spChg>
        <pc:spChg chg="mod">
          <ac:chgData name="Guest User" userId="S::urn:spo:anon#c437c167f923f422528aee73b5e70e5726914197d2dec7f210a84ae49e8498a7::" providerId="AD" clId="Web-{B44790BB-80A1-81C6-8736-235CC973D5CE}" dt="2022-04-01T14:30:03.677" v="682" actId="20577"/>
          <ac:spMkLst>
            <pc:docMk/>
            <pc:sldMk cId="604654217" sldId="375"/>
            <ac:spMk id="9" creationId="{A559BC09-4387-488E-85BC-CBE75B1CE17C}"/>
          </ac:spMkLst>
        </pc:spChg>
      </pc:sldChg>
      <pc:sldChg chg="modSp add ord replId">
        <pc:chgData name="Guest User" userId="S::urn:spo:anon#c437c167f923f422528aee73b5e70e5726914197d2dec7f210a84ae49e8498a7::" providerId="AD" clId="Web-{B44790BB-80A1-81C6-8736-235CC973D5CE}" dt="2022-04-01T15:43:03.137" v="1139" actId="20577"/>
        <pc:sldMkLst>
          <pc:docMk/>
          <pc:sldMk cId="108984178" sldId="376"/>
        </pc:sldMkLst>
        <pc:spChg chg="mod">
          <ac:chgData name="Guest User" userId="S::urn:spo:anon#c437c167f923f422528aee73b5e70e5726914197d2dec7f210a84ae49e8498a7::" providerId="AD" clId="Web-{B44790BB-80A1-81C6-8736-235CC973D5CE}" dt="2022-04-01T15:43:03.137" v="1139" actId="20577"/>
          <ac:spMkLst>
            <pc:docMk/>
            <pc:sldMk cId="108984178" sldId="376"/>
            <ac:spMk id="100" creationId="{523D7184-991A-457B-AD7E-9585D81AD188}"/>
          </ac:spMkLst>
        </pc:spChg>
        <pc:spChg chg="mod">
          <ac:chgData name="Guest User" userId="S::urn:spo:anon#c437c167f923f422528aee73b5e70e5726914197d2dec7f210a84ae49e8498a7::" providerId="AD" clId="Web-{B44790BB-80A1-81C6-8736-235CC973D5CE}" dt="2022-04-01T15:42:39.074" v="1088" actId="20577"/>
          <ac:spMkLst>
            <pc:docMk/>
            <pc:sldMk cId="108984178" sldId="376"/>
            <ac:spMk id="344" creationId="{00000000-0000-0000-0000-000000000000}"/>
          </ac:spMkLst>
        </pc:spChg>
      </pc:sldChg>
    </pc:docChg>
  </pc:docChgLst>
  <pc:docChgLst>
    <pc:chgData name="Guest User" userId="S::urn:spo:anon#c437c167f923f422528aee73b5e70e5726914197d2dec7f210a84ae49e8498a7::" providerId="AD" clId="Web-{30ECA80E-4E5D-E6F0-D0B6-551836425DE0}"/>
    <pc:docChg chg="addSld delSld modSld sldOrd">
      <pc:chgData name="Guest User" userId="S::urn:spo:anon#c437c167f923f422528aee73b5e70e5726914197d2dec7f210a84ae49e8498a7::" providerId="AD" clId="Web-{30ECA80E-4E5D-E6F0-D0B6-551836425DE0}" dt="2022-03-28T03:35:50.970" v="63" actId="14100"/>
      <pc:docMkLst>
        <pc:docMk/>
      </pc:docMkLst>
      <pc:sldChg chg="delSp modSp">
        <pc:chgData name="Guest User" userId="S::urn:spo:anon#c437c167f923f422528aee73b5e70e5726914197d2dec7f210a84ae49e8498a7::" providerId="AD" clId="Web-{30ECA80E-4E5D-E6F0-D0B6-551836425DE0}" dt="2022-03-28T03:32:16.956" v="16"/>
        <pc:sldMkLst>
          <pc:docMk/>
          <pc:sldMk cId="0" sldId="257"/>
        </pc:sldMkLst>
        <pc:spChg chg="del">
          <ac:chgData name="Guest User" userId="S::urn:spo:anon#c437c167f923f422528aee73b5e70e5726914197d2dec7f210a84ae49e8498a7::" providerId="AD" clId="Web-{30ECA80E-4E5D-E6F0-D0B6-551836425DE0}" dt="2022-03-28T03:31:36.828" v="1"/>
          <ac:spMkLst>
            <pc:docMk/>
            <pc:sldMk cId="0" sldId="257"/>
            <ac:spMk id="3" creationId="{39609F45-5196-405D-A25B-0B3CF8FD192A}"/>
          </ac:spMkLst>
        </pc:spChg>
        <pc:spChg chg="mod">
          <ac:chgData name="Guest User" userId="S::urn:spo:anon#c437c167f923f422528aee73b5e70e5726914197d2dec7f210a84ae49e8498a7::" providerId="AD" clId="Web-{30ECA80E-4E5D-E6F0-D0B6-551836425DE0}" dt="2022-03-28T03:32:13.596" v="15" actId="20577"/>
          <ac:spMkLst>
            <pc:docMk/>
            <pc:sldMk cId="0" sldId="257"/>
            <ac:spMk id="44" creationId="{28E8AA2B-7E30-48CF-86E4-5464130C7279}"/>
          </ac:spMkLst>
        </pc:spChg>
        <pc:spChg chg="del">
          <ac:chgData name="Guest User" userId="S::urn:spo:anon#c437c167f923f422528aee73b5e70e5726914197d2dec7f210a84ae49e8498a7::" providerId="AD" clId="Web-{30ECA80E-4E5D-E6F0-D0B6-551836425DE0}" dt="2022-03-28T03:31:41.563" v="4"/>
          <ac:spMkLst>
            <pc:docMk/>
            <pc:sldMk cId="0" sldId="257"/>
            <ac:spMk id="47" creationId="{C5E20432-F495-4AE8-8931-143A4C1D3844}"/>
          </ac:spMkLst>
        </pc:spChg>
        <pc:spChg chg="mod">
          <ac:chgData name="Guest User" userId="S::urn:spo:anon#c437c167f923f422528aee73b5e70e5726914197d2dec7f210a84ae49e8498a7::" providerId="AD" clId="Web-{30ECA80E-4E5D-E6F0-D0B6-551836425DE0}" dt="2022-03-28T03:32:05.846" v="9" actId="1076"/>
          <ac:spMkLst>
            <pc:docMk/>
            <pc:sldMk cId="0" sldId="257"/>
            <ac:spMk id="212" creationId="{00000000-0000-0000-0000-000000000000}"/>
          </ac:spMkLst>
        </pc:spChg>
        <pc:spChg chg="mod">
          <ac:chgData name="Guest User" userId="S::urn:spo:anon#c437c167f923f422528aee73b5e70e5726914197d2dec7f210a84ae49e8498a7::" providerId="AD" clId="Web-{30ECA80E-4E5D-E6F0-D0B6-551836425DE0}" dt="2022-03-28T03:32:11.252" v="13" actId="1076"/>
          <ac:spMkLst>
            <pc:docMk/>
            <pc:sldMk cId="0" sldId="257"/>
            <ac:spMk id="213" creationId="{00000000-0000-0000-0000-000000000000}"/>
          </ac:spMkLst>
        </pc:spChg>
        <pc:spChg chg="del">
          <ac:chgData name="Guest User" userId="S::urn:spo:anon#c437c167f923f422528aee73b5e70e5726914197d2dec7f210a84ae49e8498a7::" providerId="AD" clId="Web-{30ECA80E-4E5D-E6F0-D0B6-551836425DE0}" dt="2022-03-28T03:31:37.781" v="2"/>
          <ac:spMkLst>
            <pc:docMk/>
            <pc:sldMk cId="0" sldId="257"/>
            <ac:spMk id="214" creationId="{00000000-0000-0000-0000-000000000000}"/>
          </ac:spMkLst>
        </pc:spChg>
        <pc:spChg chg="del topLvl">
          <ac:chgData name="Guest User" userId="S::urn:spo:anon#c437c167f923f422528aee73b5e70e5726914197d2dec7f210a84ae49e8498a7::" providerId="AD" clId="Web-{30ECA80E-4E5D-E6F0-D0B6-551836425DE0}" dt="2022-03-28T03:31:40.563" v="3"/>
          <ac:spMkLst>
            <pc:docMk/>
            <pc:sldMk cId="0" sldId="257"/>
            <ac:spMk id="217" creationId="{00000000-0000-0000-0000-000000000000}"/>
          </ac:spMkLst>
        </pc:spChg>
        <pc:grpChg chg="del">
          <ac:chgData name="Guest User" userId="S::urn:spo:anon#c437c167f923f422528aee73b5e70e5726914197d2dec7f210a84ae49e8498a7::" providerId="AD" clId="Web-{30ECA80E-4E5D-E6F0-D0B6-551836425DE0}" dt="2022-03-28T03:32:16.956" v="16"/>
          <ac:grpSpMkLst>
            <pc:docMk/>
            <pc:sldMk cId="0" sldId="257"/>
            <ac:grpSpMk id="2" creationId="{DEEECA5A-E03F-4135-992C-2C488710BE1C}"/>
          </ac:grpSpMkLst>
        </pc:grpChg>
        <pc:grpChg chg="del">
          <ac:chgData name="Guest User" userId="S::urn:spo:anon#c437c167f923f422528aee73b5e70e5726914197d2dec7f210a84ae49e8498a7::" providerId="AD" clId="Web-{30ECA80E-4E5D-E6F0-D0B6-551836425DE0}" dt="2022-03-28T03:31:40.563" v="3"/>
          <ac:grpSpMkLst>
            <pc:docMk/>
            <pc:sldMk cId="0" sldId="257"/>
            <ac:grpSpMk id="215" creationId="{00000000-0000-0000-0000-000000000000}"/>
          </ac:grpSpMkLst>
        </pc:grpChg>
        <pc:grpChg chg="mod">
          <ac:chgData name="Guest User" userId="S::urn:spo:anon#c437c167f923f422528aee73b5e70e5726914197d2dec7f210a84ae49e8498a7::" providerId="AD" clId="Web-{30ECA80E-4E5D-E6F0-D0B6-551836425DE0}" dt="2022-03-28T03:31:52.501" v="6" actId="1076"/>
          <ac:grpSpMkLst>
            <pc:docMk/>
            <pc:sldMk cId="0" sldId="257"/>
            <ac:grpSpMk id="228" creationId="{00000000-0000-0000-0000-000000000000}"/>
          </ac:grpSpMkLst>
        </pc:grpChg>
        <pc:picChg chg="mod">
          <ac:chgData name="Guest User" userId="S::urn:spo:anon#c437c167f923f422528aee73b5e70e5726914197d2dec7f210a84ae49e8498a7::" providerId="AD" clId="Web-{30ECA80E-4E5D-E6F0-D0B6-551836425DE0}" dt="2022-03-28T03:32:05.908" v="12" actId="1076"/>
          <ac:picMkLst>
            <pc:docMk/>
            <pc:sldMk cId="0" sldId="257"/>
            <ac:picMk id="6" creationId="{7948A3F3-9796-46CE-9F61-00A80F8DEF69}"/>
          </ac:picMkLst>
        </pc:picChg>
        <pc:picChg chg="del">
          <ac:chgData name="Guest User" userId="S::urn:spo:anon#c437c167f923f422528aee73b5e70e5726914197d2dec7f210a84ae49e8498a7::" providerId="AD" clId="Web-{30ECA80E-4E5D-E6F0-D0B6-551836425DE0}" dt="2022-03-28T03:31:33.594" v="0"/>
          <ac:picMkLst>
            <pc:docMk/>
            <pc:sldMk cId="0" sldId="257"/>
            <ac:picMk id="200" creationId="{00000000-0000-0000-0000-000000000000}"/>
          </ac:picMkLst>
        </pc:picChg>
        <pc:picChg chg="mod">
          <ac:chgData name="Guest User" userId="S::urn:spo:anon#c437c167f923f422528aee73b5e70e5726914197d2dec7f210a84ae49e8498a7::" providerId="AD" clId="Web-{30ECA80E-4E5D-E6F0-D0B6-551836425DE0}" dt="2022-03-28T03:32:05.815" v="7" actId="1076"/>
          <ac:picMkLst>
            <pc:docMk/>
            <pc:sldMk cId="0" sldId="257"/>
            <ac:picMk id="201" creationId="{00000000-0000-0000-0000-000000000000}"/>
          </ac:picMkLst>
        </pc:picChg>
        <pc:picChg chg="mod">
          <ac:chgData name="Guest User" userId="S::urn:spo:anon#c437c167f923f422528aee73b5e70e5726914197d2dec7f210a84ae49e8498a7::" providerId="AD" clId="Web-{30ECA80E-4E5D-E6F0-D0B6-551836425DE0}" dt="2022-03-28T03:32:05.830" v="8" actId="1076"/>
          <ac:picMkLst>
            <pc:docMk/>
            <pc:sldMk cId="0" sldId="257"/>
            <ac:picMk id="202" creationId="{00000000-0000-0000-0000-000000000000}"/>
          </ac:picMkLst>
        </pc:picChg>
        <pc:picChg chg="del topLvl">
          <ac:chgData name="Guest User" userId="S::urn:spo:anon#c437c167f923f422528aee73b5e70e5726914197d2dec7f210a84ae49e8498a7::" providerId="AD" clId="Web-{30ECA80E-4E5D-E6F0-D0B6-551836425DE0}" dt="2022-03-28T03:31:42.766" v="5"/>
          <ac:picMkLst>
            <pc:docMk/>
            <pc:sldMk cId="0" sldId="257"/>
            <ac:picMk id="216" creationId="{00000000-0000-0000-0000-000000000000}"/>
          </ac:picMkLst>
        </pc:picChg>
      </pc:sldChg>
      <pc:sldChg chg="ord">
        <pc:chgData name="Guest User" userId="S::urn:spo:anon#c437c167f923f422528aee73b5e70e5726914197d2dec7f210a84ae49e8498a7::" providerId="AD" clId="Web-{30ECA80E-4E5D-E6F0-D0B6-551836425DE0}" dt="2022-03-28T03:34:20.745" v="28"/>
        <pc:sldMkLst>
          <pc:docMk/>
          <pc:sldMk cId="0" sldId="260"/>
        </pc:sldMkLst>
      </pc:sldChg>
      <pc:sldChg chg="modSp ord">
        <pc:chgData name="Guest User" userId="S::urn:spo:anon#c437c167f923f422528aee73b5e70e5726914197d2dec7f210a84ae49e8498a7::" providerId="AD" clId="Web-{30ECA80E-4E5D-E6F0-D0B6-551836425DE0}" dt="2022-03-28T03:34:20.730" v="27"/>
        <pc:sldMkLst>
          <pc:docMk/>
          <pc:sldMk cId="0" sldId="261"/>
        </pc:sldMkLst>
        <pc:spChg chg="mod">
          <ac:chgData name="Guest User" userId="S::urn:spo:anon#c437c167f923f422528aee73b5e70e5726914197d2dec7f210a84ae49e8498a7::" providerId="AD" clId="Web-{30ECA80E-4E5D-E6F0-D0B6-551836425DE0}" dt="2022-03-28T03:32:33.144" v="17" actId="20577"/>
          <ac:spMkLst>
            <pc:docMk/>
            <pc:sldMk cId="0" sldId="261"/>
            <ac:spMk id="331" creationId="{00000000-0000-0000-0000-000000000000}"/>
          </ac:spMkLst>
        </pc:spChg>
      </pc:sldChg>
      <pc:sldChg chg="modSp ord">
        <pc:chgData name="Guest User" userId="S::urn:spo:anon#c437c167f923f422528aee73b5e70e5726914197d2dec7f210a84ae49e8498a7::" providerId="AD" clId="Web-{30ECA80E-4E5D-E6F0-D0B6-551836425DE0}" dt="2022-03-28T03:34:46.653" v="30"/>
        <pc:sldMkLst>
          <pc:docMk/>
          <pc:sldMk cId="0" sldId="263"/>
        </pc:sldMkLst>
        <pc:spChg chg="mod">
          <ac:chgData name="Guest User" userId="S::urn:spo:anon#c437c167f923f422528aee73b5e70e5726914197d2dec7f210a84ae49e8498a7::" providerId="AD" clId="Web-{30ECA80E-4E5D-E6F0-D0B6-551836425DE0}" dt="2022-03-28T03:34:07.635" v="25" actId="20577"/>
          <ac:spMkLst>
            <pc:docMk/>
            <pc:sldMk cId="0" sldId="263"/>
            <ac:spMk id="460" creationId="{00000000-0000-0000-0000-000000000000}"/>
          </ac:spMkLst>
        </pc:spChg>
      </pc:sldChg>
      <pc:sldChg chg="modSp">
        <pc:chgData name="Guest User" userId="S::urn:spo:anon#c437c167f923f422528aee73b5e70e5726914197d2dec7f210a84ae49e8498a7::" providerId="AD" clId="Web-{30ECA80E-4E5D-E6F0-D0B6-551836425DE0}" dt="2022-03-28T03:33:31.789" v="21" actId="20577"/>
        <pc:sldMkLst>
          <pc:docMk/>
          <pc:sldMk cId="0" sldId="275"/>
        </pc:sldMkLst>
        <pc:spChg chg="mod">
          <ac:chgData name="Guest User" userId="S::urn:spo:anon#c437c167f923f422528aee73b5e70e5726914197d2dec7f210a84ae49e8498a7::" providerId="AD" clId="Web-{30ECA80E-4E5D-E6F0-D0B6-551836425DE0}" dt="2022-03-28T03:33:31.789" v="21" actId="20577"/>
          <ac:spMkLst>
            <pc:docMk/>
            <pc:sldMk cId="0" sldId="275"/>
            <ac:spMk id="692" creationId="{00000000-0000-0000-0000-000000000000}"/>
          </ac:spMkLst>
        </pc:spChg>
      </pc:sldChg>
      <pc:sldChg chg="modSp ord">
        <pc:chgData name="Guest User" userId="S::urn:spo:anon#c437c167f923f422528aee73b5e70e5726914197d2dec7f210a84ae49e8498a7::" providerId="AD" clId="Web-{30ECA80E-4E5D-E6F0-D0B6-551836425DE0}" dt="2022-03-28T03:34:29.168" v="29" actId="20577"/>
        <pc:sldMkLst>
          <pc:docMk/>
          <pc:sldMk cId="2486721525" sldId="341"/>
        </pc:sldMkLst>
        <pc:spChg chg="mod">
          <ac:chgData name="Guest User" userId="S::urn:spo:anon#c437c167f923f422528aee73b5e70e5726914197d2dec7f210a84ae49e8498a7::" providerId="AD" clId="Web-{30ECA80E-4E5D-E6F0-D0B6-551836425DE0}" dt="2022-03-28T03:34:29.168" v="29" actId="20577"/>
          <ac:spMkLst>
            <pc:docMk/>
            <pc:sldMk cId="2486721525" sldId="341"/>
            <ac:spMk id="344" creationId="{00000000-0000-0000-0000-000000000000}"/>
          </ac:spMkLst>
        </pc:spChg>
      </pc:sldChg>
      <pc:sldChg chg="modSp">
        <pc:chgData name="Guest User" userId="S::urn:spo:anon#c437c167f923f422528aee73b5e70e5726914197d2dec7f210a84ae49e8498a7::" providerId="AD" clId="Web-{30ECA80E-4E5D-E6F0-D0B6-551836425DE0}" dt="2022-03-28T03:35:50.970" v="63" actId="14100"/>
        <pc:sldMkLst>
          <pc:docMk/>
          <pc:sldMk cId="4114424017" sldId="342"/>
        </pc:sldMkLst>
        <pc:spChg chg="mod">
          <ac:chgData name="Guest User" userId="S::urn:spo:anon#c437c167f923f422528aee73b5e70e5726914197d2dec7f210a84ae49e8498a7::" providerId="AD" clId="Web-{30ECA80E-4E5D-E6F0-D0B6-551836425DE0}" dt="2022-03-28T03:35:50.970" v="63" actId="14100"/>
          <ac:spMkLst>
            <pc:docMk/>
            <pc:sldMk cId="4114424017" sldId="342"/>
            <ac:spMk id="2" creationId="{4D5921D8-9182-46DA-BF73-3160B3589AF0}"/>
          </ac:spMkLst>
        </pc:spChg>
      </pc:sldChg>
      <pc:sldChg chg="del">
        <pc:chgData name="Guest User" userId="S::urn:spo:anon#c437c167f923f422528aee73b5e70e5726914197d2dec7f210a84ae49e8498a7::" providerId="AD" clId="Web-{30ECA80E-4E5D-E6F0-D0B6-551836425DE0}" dt="2022-03-28T03:33:00.709" v="19"/>
        <pc:sldMkLst>
          <pc:docMk/>
          <pc:sldMk cId="4065509054" sldId="361"/>
        </pc:sldMkLst>
      </pc:sldChg>
      <pc:sldChg chg="modSp add replId">
        <pc:chgData name="Guest User" userId="S::urn:spo:anon#c437c167f923f422528aee73b5e70e5726914197d2dec7f210a84ae49e8498a7::" providerId="AD" clId="Web-{30ECA80E-4E5D-E6F0-D0B6-551836425DE0}" dt="2022-03-28T03:35:03.732" v="36" actId="20577"/>
        <pc:sldMkLst>
          <pc:docMk/>
          <pc:sldMk cId="1101287747" sldId="363"/>
        </pc:sldMkLst>
        <pc:spChg chg="mod">
          <ac:chgData name="Guest User" userId="S::urn:spo:anon#c437c167f923f422528aee73b5e70e5726914197d2dec7f210a84ae49e8498a7::" providerId="AD" clId="Web-{30ECA80E-4E5D-E6F0-D0B6-551836425DE0}" dt="2022-03-28T03:35:03.732" v="36" actId="20577"/>
          <ac:spMkLst>
            <pc:docMk/>
            <pc:sldMk cId="1101287747" sldId="363"/>
            <ac:spMk id="460" creationId="{00000000-0000-0000-0000-000000000000}"/>
          </ac:spMkLst>
        </pc:spChg>
      </pc:sldChg>
      <pc:sldChg chg="add ord replId">
        <pc:chgData name="Guest User" userId="S::urn:spo:anon#c437c167f923f422528aee73b5e70e5726914197d2dec7f210a84ae49e8498a7::" providerId="AD" clId="Web-{30ECA80E-4E5D-E6F0-D0B6-551836425DE0}" dt="2022-03-28T03:35:11.780" v="38"/>
        <pc:sldMkLst>
          <pc:docMk/>
          <pc:sldMk cId="806044536" sldId="364"/>
        </pc:sldMkLst>
      </pc:sldChg>
      <pc:sldChg chg="modSp new ord">
        <pc:chgData name="Guest User" userId="S::urn:spo:anon#c437c167f923f422528aee73b5e70e5726914197d2dec7f210a84ae49e8498a7::" providerId="AD" clId="Web-{30ECA80E-4E5D-E6F0-D0B6-551836425DE0}" dt="2022-03-28T03:35:32.891" v="53" actId="20577"/>
        <pc:sldMkLst>
          <pc:docMk/>
          <pc:sldMk cId="2576879601" sldId="365"/>
        </pc:sldMkLst>
        <pc:spChg chg="mod">
          <ac:chgData name="Guest User" userId="S::urn:spo:anon#c437c167f923f422528aee73b5e70e5726914197d2dec7f210a84ae49e8498a7::" providerId="AD" clId="Web-{30ECA80E-4E5D-E6F0-D0B6-551836425DE0}" dt="2022-03-28T03:35:32.891" v="53" actId="20577"/>
          <ac:spMkLst>
            <pc:docMk/>
            <pc:sldMk cId="2576879601" sldId="365"/>
            <ac:spMk id="2" creationId="{AB52A157-2CB8-6DCB-8D3B-00713BF25DCA}"/>
          </ac:spMkLst>
        </pc:spChg>
      </pc:sldChg>
    </pc:docChg>
  </pc:docChgLst>
  <pc:docChgLst>
    <pc:chgData name="Guest User" userId="S::urn:spo:anon#92e0bee1a612af7c1256e6aaf3dc4ec07c4151a598866b418723ef47912f2c2d::" providerId="AD" clId="Web-{D60EB00F-F736-758C-BCD1-FB61C735DDB4}"/>
    <pc:docChg chg="delSld modSld sldOrd">
      <pc:chgData name="Guest User" userId="S::urn:spo:anon#92e0bee1a612af7c1256e6aaf3dc4ec07c4151a598866b418723ef47912f2c2d::" providerId="AD" clId="Web-{D60EB00F-F736-758C-BCD1-FB61C735DDB4}" dt="2022-03-21T17:25:22.537" v="127" actId="14100"/>
      <pc:docMkLst>
        <pc:docMk/>
      </pc:docMkLst>
      <pc:sldChg chg="delSp">
        <pc:chgData name="Guest User" userId="S::urn:spo:anon#92e0bee1a612af7c1256e6aaf3dc4ec07c4151a598866b418723ef47912f2c2d::" providerId="AD" clId="Web-{D60EB00F-F736-758C-BCD1-FB61C735DDB4}" dt="2022-03-21T14:59:08.337" v="0"/>
        <pc:sldMkLst>
          <pc:docMk/>
          <pc:sldMk cId="0" sldId="257"/>
        </pc:sldMkLst>
        <pc:spChg chg="del">
          <ac:chgData name="Guest User" userId="S::urn:spo:anon#92e0bee1a612af7c1256e6aaf3dc4ec07c4151a598866b418723ef47912f2c2d::" providerId="AD" clId="Web-{D60EB00F-F736-758C-BCD1-FB61C735DDB4}" dt="2022-03-21T14:59:08.337" v="0"/>
          <ac:spMkLst>
            <pc:docMk/>
            <pc:sldMk cId="0" sldId="257"/>
            <ac:spMk id="2" creationId="{F0355976-ECFD-451C-9722-1FBB50212EF1}"/>
          </ac:spMkLst>
        </pc:spChg>
      </pc:sldChg>
      <pc:sldChg chg="addSp delSp modSp">
        <pc:chgData name="Guest User" userId="S::urn:spo:anon#92e0bee1a612af7c1256e6aaf3dc4ec07c4151a598866b418723ef47912f2c2d::" providerId="AD" clId="Web-{D60EB00F-F736-758C-BCD1-FB61C735DDB4}" dt="2022-03-21T15:03:54.689" v="57" actId="14100"/>
        <pc:sldMkLst>
          <pc:docMk/>
          <pc:sldMk cId="0" sldId="262"/>
        </pc:sldMkLst>
        <pc:spChg chg="add mod">
          <ac:chgData name="Guest User" userId="S::urn:spo:anon#92e0bee1a612af7c1256e6aaf3dc4ec07c4151a598866b418723ef47912f2c2d::" providerId="AD" clId="Web-{D60EB00F-F736-758C-BCD1-FB61C735DDB4}" dt="2022-03-21T15:01:51.967" v="31" actId="1076"/>
          <ac:spMkLst>
            <pc:docMk/>
            <pc:sldMk cId="0" sldId="262"/>
            <ac:spMk id="2" creationId="{16F0995F-6B60-4E73-B4E1-435614CD0A2C}"/>
          </ac:spMkLst>
        </pc:spChg>
        <pc:spChg chg="del">
          <ac:chgData name="Guest User" userId="S::urn:spo:anon#92e0bee1a612af7c1256e6aaf3dc4ec07c4151a598866b418723ef47912f2c2d::" providerId="AD" clId="Web-{D60EB00F-F736-758C-BCD1-FB61C735DDB4}" dt="2022-03-21T15:00:45.590" v="10"/>
          <ac:spMkLst>
            <pc:docMk/>
            <pc:sldMk cId="0" sldId="262"/>
            <ac:spMk id="3" creationId="{2DC3E4B2-4975-4103-9C00-0FA8F424A9A2}"/>
          </ac:spMkLst>
        </pc:spChg>
        <pc:spChg chg="add mod">
          <ac:chgData name="Guest User" userId="S::urn:spo:anon#92e0bee1a612af7c1256e6aaf3dc4ec07c4151a598866b418723ef47912f2c2d::" providerId="AD" clId="Web-{D60EB00F-F736-758C-BCD1-FB61C735DDB4}" dt="2022-03-21T15:01:51.998" v="32" actId="1076"/>
          <ac:spMkLst>
            <pc:docMk/>
            <pc:sldMk cId="0" sldId="262"/>
            <ac:spMk id="4" creationId="{6DEBA634-77BD-47BC-BE35-9E8586A9663B}"/>
          </ac:spMkLst>
        </pc:spChg>
        <pc:spChg chg="mod">
          <ac:chgData name="Guest User" userId="S::urn:spo:anon#92e0bee1a612af7c1256e6aaf3dc4ec07c4151a598866b418723ef47912f2c2d::" providerId="AD" clId="Web-{D60EB00F-F736-758C-BCD1-FB61C735DDB4}" dt="2022-03-21T15:02:28.046" v="40" actId="1076"/>
          <ac:spMkLst>
            <pc:docMk/>
            <pc:sldMk cId="0" sldId="262"/>
            <ac:spMk id="115" creationId="{E1B09134-0372-4CAF-82C4-955305B67393}"/>
          </ac:spMkLst>
        </pc:spChg>
        <pc:spChg chg="mod">
          <ac:chgData name="Guest User" userId="S::urn:spo:anon#92e0bee1a612af7c1256e6aaf3dc4ec07c4151a598866b418723ef47912f2c2d::" providerId="AD" clId="Web-{D60EB00F-F736-758C-BCD1-FB61C735DDB4}" dt="2022-03-21T15:02:39.734" v="42" actId="14100"/>
          <ac:spMkLst>
            <pc:docMk/>
            <pc:sldMk cId="0" sldId="262"/>
            <ac:spMk id="116" creationId="{473E579E-3692-41BD-8D3D-A49F032BB7D1}"/>
          </ac:spMkLst>
        </pc:spChg>
        <pc:spChg chg="mod">
          <ac:chgData name="Guest User" userId="S::urn:spo:anon#92e0bee1a612af7c1256e6aaf3dc4ec07c4151a598866b418723ef47912f2c2d::" providerId="AD" clId="Web-{D60EB00F-F736-758C-BCD1-FB61C735DDB4}" dt="2022-03-21T15:00:39.996" v="9" actId="20577"/>
          <ac:spMkLst>
            <pc:docMk/>
            <pc:sldMk cId="0" sldId="262"/>
            <ac:spMk id="344" creationId="{00000000-0000-0000-0000-000000000000}"/>
          </ac:spMkLst>
        </pc:spChg>
        <pc:spChg chg="mod">
          <ac:chgData name="Guest User" userId="S::urn:spo:anon#92e0bee1a612af7c1256e6aaf3dc4ec07c4151a598866b418723ef47912f2c2d::" providerId="AD" clId="Web-{D60EB00F-F736-758C-BCD1-FB61C735DDB4}" dt="2022-03-21T15:03:18.329" v="50" actId="14100"/>
          <ac:spMkLst>
            <pc:docMk/>
            <pc:sldMk cId="0" sldId="262"/>
            <ac:spMk id="404" creationId="{00000000-0000-0000-0000-000000000000}"/>
          </ac:spMkLst>
        </pc:spChg>
        <pc:spChg chg="del">
          <ac:chgData name="Guest User" userId="S::urn:spo:anon#92e0bee1a612af7c1256e6aaf3dc4ec07c4151a598866b418723ef47912f2c2d::" providerId="AD" clId="Web-{D60EB00F-F736-758C-BCD1-FB61C735DDB4}" dt="2022-03-21T15:03:14.891" v="49"/>
          <ac:spMkLst>
            <pc:docMk/>
            <pc:sldMk cId="0" sldId="262"/>
            <ac:spMk id="405" creationId="{00000000-0000-0000-0000-000000000000}"/>
          </ac:spMkLst>
        </pc:spChg>
        <pc:spChg chg="mod">
          <ac:chgData name="Guest User" userId="S::urn:spo:anon#92e0bee1a612af7c1256e6aaf3dc4ec07c4151a598866b418723ef47912f2c2d::" providerId="AD" clId="Web-{D60EB00F-F736-758C-BCD1-FB61C735DDB4}" dt="2022-03-21T15:03:54.689" v="57" actId="14100"/>
          <ac:spMkLst>
            <pc:docMk/>
            <pc:sldMk cId="0" sldId="262"/>
            <ac:spMk id="410" creationId="{00000000-0000-0000-0000-000000000000}"/>
          </ac:spMkLst>
        </pc:spChg>
        <pc:spChg chg="del mod">
          <ac:chgData name="Guest User" userId="S::urn:spo:anon#92e0bee1a612af7c1256e6aaf3dc4ec07c4151a598866b418723ef47912f2c2d::" providerId="AD" clId="Web-{D60EB00F-F736-758C-BCD1-FB61C735DDB4}" dt="2022-03-21T15:03:46.579" v="56"/>
          <ac:spMkLst>
            <pc:docMk/>
            <pc:sldMk cId="0" sldId="262"/>
            <ac:spMk id="413" creationId="{00000000-0000-0000-0000-000000000000}"/>
          </ac:spMkLst>
        </pc:spChg>
        <pc:spChg chg="del">
          <ac:chgData name="Guest User" userId="S::urn:spo:anon#92e0bee1a612af7c1256e6aaf3dc4ec07c4151a598866b418723ef47912f2c2d::" providerId="AD" clId="Web-{D60EB00F-F736-758C-BCD1-FB61C735DDB4}" dt="2022-03-21T15:02:07.686" v="37"/>
          <ac:spMkLst>
            <pc:docMk/>
            <pc:sldMk cId="0" sldId="262"/>
            <ac:spMk id="414" creationId="{00000000-0000-0000-0000-000000000000}"/>
          </ac:spMkLst>
        </pc:spChg>
        <pc:spChg chg="del">
          <ac:chgData name="Guest User" userId="S::urn:spo:anon#92e0bee1a612af7c1256e6aaf3dc4ec07c4151a598866b418723ef47912f2c2d::" providerId="AD" clId="Web-{D60EB00F-F736-758C-BCD1-FB61C735DDB4}" dt="2022-03-21T15:02:13.264" v="38"/>
          <ac:spMkLst>
            <pc:docMk/>
            <pc:sldMk cId="0" sldId="262"/>
            <ac:spMk id="415" creationId="{00000000-0000-0000-0000-000000000000}"/>
          </ac:spMkLst>
        </pc:spChg>
        <pc:spChg chg="del">
          <ac:chgData name="Guest User" userId="S::urn:spo:anon#92e0bee1a612af7c1256e6aaf3dc4ec07c4151a598866b418723ef47912f2c2d::" providerId="AD" clId="Web-{D60EB00F-F736-758C-BCD1-FB61C735DDB4}" dt="2022-03-21T15:01:33.607" v="21"/>
          <ac:spMkLst>
            <pc:docMk/>
            <pc:sldMk cId="0" sldId="262"/>
            <ac:spMk id="416" creationId="{00000000-0000-0000-0000-000000000000}"/>
          </ac:spMkLst>
        </pc:spChg>
        <pc:spChg chg="del">
          <ac:chgData name="Guest User" userId="S::urn:spo:anon#92e0bee1a612af7c1256e6aaf3dc4ec07c4151a598866b418723ef47912f2c2d::" providerId="AD" clId="Web-{D60EB00F-F736-758C-BCD1-FB61C735DDB4}" dt="2022-03-21T15:01:36.295" v="22"/>
          <ac:spMkLst>
            <pc:docMk/>
            <pc:sldMk cId="0" sldId="262"/>
            <ac:spMk id="417" creationId="{00000000-0000-0000-0000-000000000000}"/>
          </ac:spMkLst>
        </pc:spChg>
        <pc:spChg chg="mod">
          <ac:chgData name="Guest User" userId="S::urn:spo:anon#92e0bee1a612af7c1256e6aaf3dc4ec07c4151a598866b418723ef47912f2c2d::" providerId="AD" clId="Web-{D60EB00F-F736-758C-BCD1-FB61C735DDB4}" dt="2022-03-21T15:01:54.280" v="33" actId="1076"/>
          <ac:spMkLst>
            <pc:docMk/>
            <pc:sldMk cId="0" sldId="262"/>
            <ac:spMk id="430" creationId="{00000000-0000-0000-0000-000000000000}"/>
          </ac:spMkLst>
        </pc:spChg>
        <pc:spChg chg="mod">
          <ac:chgData name="Guest User" userId="S::urn:spo:anon#92e0bee1a612af7c1256e6aaf3dc4ec07c4151a598866b418723ef47912f2c2d::" providerId="AD" clId="Web-{D60EB00F-F736-758C-BCD1-FB61C735DDB4}" dt="2022-03-21T15:01:43.139" v="24" actId="1076"/>
          <ac:spMkLst>
            <pc:docMk/>
            <pc:sldMk cId="0" sldId="262"/>
            <ac:spMk id="431" creationId="{00000000-0000-0000-0000-000000000000}"/>
          </ac:spMkLst>
        </pc:spChg>
        <pc:spChg chg="mod">
          <ac:chgData name="Guest User" userId="S::urn:spo:anon#92e0bee1a612af7c1256e6aaf3dc4ec07c4151a598866b418723ef47912f2c2d::" providerId="AD" clId="Web-{D60EB00F-F736-758C-BCD1-FB61C735DDB4}" dt="2022-03-21T15:02:03.936" v="36" actId="1076"/>
          <ac:spMkLst>
            <pc:docMk/>
            <pc:sldMk cId="0" sldId="262"/>
            <ac:spMk id="436" creationId="{00000000-0000-0000-0000-000000000000}"/>
          </ac:spMkLst>
        </pc:spChg>
        <pc:spChg chg="mod">
          <ac:chgData name="Guest User" userId="S::urn:spo:anon#92e0bee1a612af7c1256e6aaf3dc4ec07c4151a598866b418723ef47912f2c2d::" providerId="AD" clId="Web-{D60EB00F-F736-758C-BCD1-FB61C735DDB4}" dt="2022-03-21T15:02:00.702" v="35" actId="1076"/>
          <ac:spMkLst>
            <pc:docMk/>
            <pc:sldMk cId="0" sldId="262"/>
            <ac:spMk id="441" creationId="{00000000-0000-0000-0000-000000000000}"/>
          </ac:spMkLst>
        </pc:spChg>
        <pc:spChg chg="mod">
          <ac:chgData name="Guest User" userId="S::urn:spo:anon#92e0bee1a612af7c1256e6aaf3dc4ec07c4151a598866b418723ef47912f2c2d::" providerId="AD" clId="Web-{D60EB00F-F736-758C-BCD1-FB61C735DDB4}" dt="2022-03-21T15:01:43.264" v="27" actId="1076"/>
          <ac:spMkLst>
            <pc:docMk/>
            <pc:sldMk cId="0" sldId="262"/>
            <ac:spMk id="446" creationId="{00000000-0000-0000-0000-000000000000}"/>
          </ac:spMkLst>
        </pc:spChg>
        <pc:spChg chg="mod">
          <ac:chgData name="Guest User" userId="S::urn:spo:anon#92e0bee1a612af7c1256e6aaf3dc4ec07c4151a598866b418723ef47912f2c2d::" providerId="AD" clId="Web-{D60EB00F-F736-758C-BCD1-FB61C735DDB4}" dt="2022-03-21T15:01:43.310" v="28" actId="1076"/>
          <ac:spMkLst>
            <pc:docMk/>
            <pc:sldMk cId="0" sldId="262"/>
            <ac:spMk id="447" creationId="{00000000-0000-0000-0000-000000000000}"/>
          </ac:spMkLst>
        </pc:spChg>
      </pc:sldChg>
      <pc:sldChg chg="modSp">
        <pc:chgData name="Guest User" userId="S::urn:spo:anon#92e0bee1a612af7c1256e6aaf3dc4ec07c4151a598866b418723ef47912f2c2d::" providerId="AD" clId="Web-{D60EB00F-F736-758C-BCD1-FB61C735DDB4}" dt="2022-03-21T17:08:30.552" v="102" actId="20577"/>
        <pc:sldMkLst>
          <pc:docMk/>
          <pc:sldMk cId="0" sldId="264"/>
        </pc:sldMkLst>
        <pc:spChg chg="mod">
          <ac:chgData name="Guest User" userId="S::urn:spo:anon#92e0bee1a612af7c1256e6aaf3dc4ec07c4151a598866b418723ef47912f2c2d::" providerId="AD" clId="Web-{D60EB00F-F736-758C-BCD1-FB61C735DDB4}" dt="2022-03-21T17:08:30.552" v="102" actId="20577"/>
          <ac:spMkLst>
            <pc:docMk/>
            <pc:sldMk cId="0" sldId="264"/>
            <ac:spMk id="29" creationId="{CE4534C1-122C-4584-960F-B0117C9A488A}"/>
          </ac:spMkLst>
        </pc:spChg>
      </pc:sldChg>
      <pc:sldChg chg="del">
        <pc:chgData name="Guest User" userId="S::urn:spo:anon#92e0bee1a612af7c1256e6aaf3dc4ec07c4151a598866b418723ef47912f2c2d::" providerId="AD" clId="Web-{D60EB00F-F736-758C-BCD1-FB61C735DDB4}" dt="2022-03-21T15:07:29.195" v="70"/>
        <pc:sldMkLst>
          <pc:docMk/>
          <pc:sldMk cId="0" sldId="277"/>
        </pc:sldMkLst>
      </pc:sldChg>
      <pc:sldChg chg="del">
        <pc:chgData name="Guest User" userId="S::urn:spo:anon#92e0bee1a612af7c1256e6aaf3dc4ec07c4151a598866b418723ef47912f2c2d::" providerId="AD" clId="Web-{D60EB00F-F736-758C-BCD1-FB61C735DDB4}" dt="2022-03-21T17:10:50.559" v="103"/>
        <pc:sldMkLst>
          <pc:docMk/>
          <pc:sldMk cId="160073799" sldId="337"/>
        </pc:sldMkLst>
      </pc:sldChg>
      <pc:sldChg chg="del">
        <pc:chgData name="Guest User" userId="S::urn:spo:anon#92e0bee1a612af7c1256e6aaf3dc4ec07c4151a598866b418723ef47912f2c2d::" providerId="AD" clId="Web-{D60EB00F-F736-758C-BCD1-FB61C735DDB4}" dt="2022-03-21T15:07:57.774" v="77"/>
        <pc:sldMkLst>
          <pc:docMk/>
          <pc:sldMk cId="2445507680" sldId="340"/>
        </pc:sldMkLst>
      </pc:sldChg>
      <pc:sldChg chg="addSp delSp modSp ord">
        <pc:chgData name="Guest User" userId="S::urn:spo:anon#92e0bee1a612af7c1256e6aaf3dc4ec07c4151a598866b418723ef47912f2c2d::" providerId="AD" clId="Web-{D60EB00F-F736-758C-BCD1-FB61C735DDB4}" dt="2022-03-21T15:07:48.164" v="76" actId="20577"/>
        <pc:sldMkLst>
          <pc:docMk/>
          <pc:sldMk cId="2486721525" sldId="341"/>
        </pc:sldMkLst>
        <pc:spChg chg="mod">
          <ac:chgData name="Guest User" userId="S::urn:spo:anon#92e0bee1a612af7c1256e6aaf3dc4ec07c4151a598866b418723ef47912f2c2d::" providerId="AD" clId="Web-{D60EB00F-F736-758C-BCD1-FB61C735DDB4}" dt="2022-03-21T15:03:31.829" v="53" actId="14100"/>
          <ac:spMkLst>
            <pc:docMk/>
            <pc:sldMk cId="2486721525" sldId="341"/>
            <ac:spMk id="115" creationId="{E1B09134-0372-4CAF-82C4-955305B67393}"/>
          </ac:spMkLst>
        </pc:spChg>
        <pc:spChg chg="mod">
          <ac:chgData name="Guest User" userId="S::urn:spo:anon#92e0bee1a612af7c1256e6aaf3dc4ec07c4151a598866b418723ef47912f2c2d::" providerId="AD" clId="Web-{D60EB00F-F736-758C-BCD1-FB61C735DDB4}" dt="2022-03-21T15:04:16.174" v="62" actId="1076"/>
          <ac:spMkLst>
            <pc:docMk/>
            <pc:sldMk cId="2486721525" sldId="341"/>
            <ac:spMk id="124" creationId="{3927D24C-3D9A-49E6-98C6-9726B7661B81}"/>
          </ac:spMkLst>
        </pc:spChg>
        <pc:spChg chg="mod">
          <ac:chgData name="Guest User" userId="S::urn:spo:anon#92e0bee1a612af7c1256e6aaf3dc4ec07c4151a598866b418723ef47912f2c2d::" providerId="AD" clId="Web-{D60EB00F-F736-758C-BCD1-FB61C735DDB4}" dt="2022-03-21T15:04:08.033" v="60" actId="1076"/>
          <ac:spMkLst>
            <pc:docMk/>
            <pc:sldMk cId="2486721525" sldId="341"/>
            <ac:spMk id="343" creationId="{00000000-0000-0000-0000-000000000000}"/>
          </ac:spMkLst>
        </pc:spChg>
        <pc:spChg chg="mod">
          <ac:chgData name="Guest User" userId="S::urn:spo:anon#92e0bee1a612af7c1256e6aaf3dc4ec07c4151a598866b418723ef47912f2c2d::" providerId="AD" clId="Web-{D60EB00F-F736-758C-BCD1-FB61C735DDB4}" dt="2022-03-21T15:07:48.164" v="76" actId="20577"/>
          <ac:spMkLst>
            <pc:docMk/>
            <pc:sldMk cId="2486721525" sldId="341"/>
            <ac:spMk id="344" creationId="{00000000-0000-0000-0000-000000000000}"/>
          </ac:spMkLst>
        </pc:spChg>
        <pc:spChg chg="mod">
          <ac:chgData name="Guest User" userId="S::urn:spo:anon#92e0bee1a612af7c1256e6aaf3dc4ec07c4151a598866b418723ef47912f2c2d::" providerId="AD" clId="Web-{D60EB00F-F736-758C-BCD1-FB61C735DDB4}" dt="2022-03-21T15:03:37.157" v="55" actId="14100"/>
          <ac:spMkLst>
            <pc:docMk/>
            <pc:sldMk cId="2486721525" sldId="341"/>
            <ac:spMk id="372" creationId="{00000000-0000-0000-0000-000000000000}"/>
          </ac:spMkLst>
        </pc:spChg>
        <pc:spChg chg="mod">
          <ac:chgData name="Guest User" userId="S::urn:spo:anon#92e0bee1a612af7c1256e6aaf3dc4ec07c4151a598866b418723ef47912f2c2d::" providerId="AD" clId="Web-{D60EB00F-F736-758C-BCD1-FB61C735DDB4}" dt="2022-03-21T15:03:34.485" v="54" actId="14100"/>
          <ac:spMkLst>
            <pc:docMk/>
            <pc:sldMk cId="2486721525" sldId="341"/>
            <ac:spMk id="404" creationId="{00000000-0000-0000-0000-000000000000}"/>
          </ac:spMkLst>
        </pc:spChg>
        <pc:spChg chg="mod">
          <ac:chgData name="Guest User" userId="S::urn:spo:anon#92e0bee1a612af7c1256e6aaf3dc4ec07c4151a598866b418723ef47912f2c2d::" providerId="AD" clId="Web-{D60EB00F-F736-758C-BCD1-FB61C735DDB4}" dt="2022-03-21T15:04:02.539" v="59" actId="14100"/>
          <ac:spMkLst>
            <pc:docMk/>
            <pc:sldMk cId="2486721525" sldId="341"/>
            <ac:spMk id="413" creationId="{00000000-0000-0000-0000-000000000000}"/>
          </ac:spMkLst>
        </pc:spChg>
        <pc:spChg chg="add del">
          <ac:chgData name="Guest User" userId="S::urn:spo:anon#92e0bee1a612af7c1256e6aaf3dc4ec07c4151a598866b418723ef47912f2c2d::" providerId="AD" clId="Web-{D60EB00F-F736-758C-BCD1-FB61C735DDB4}" dt="2022-03-21T15:02:48.875" v="44"/>
          <ac:spMkLst>
            <pc:docMk/>
            <pc:sldMk cId="2486721525" sldId="341"/>
            <ac:spMk id="414" creationId="{00000000-0000-0000-0000-000000000000}"/>
          </ac:spMkLst>
        </pc:spChg>
        <pc:spChg chg="del">
          <ac:chgData name="Guest User" userId="S::urn:spo:anon#92e0bee1a612af7c1256e6aaf3dc4ec07c4151a598866b418723ef47912f2c2d::" providerId="AD" clId="Web-{D60EB00F-F736-758C-BCD1-FB61C735DDB4}" dt="2022-03-21T15:03:57.361" v="58"/>
          <ac:spMkLst>
            <pc:docMk/>
            <pc:sldMk cId="2486721525" sldId="341"/>
            <ac:spMk id="415" creationId="{00000000-0000-0000-0000-000000000000}"/>
          </ac:spMkLst>
        </pc:spChg>
        <pc:spChg chg="mod">
          <ac:chgData name="Guest User" userId="S::urn:spo:anon#92e0bee1a612af7c1256e6aaf3dc4ec07c4151a598866b418723ef47912f2c2d::" providerId="AD" clId="Web-{D60EB00F-F736-758C-BCD1-FB61C735DDB4}" dt="2022-03-21T15:04:35.690" v="67" actId="20577"/>
          <ac:spMkLst>
            <pc:docMk/>
            <pc:sldMk cId="2486721525" sldId="341"/>
            <ac:spMk id="416" creationId="{00000000-0000-0000-0000-000000000000}"/>
          </ac:spMkLst>
        </pc:spChg>
        <pc:spChg chg="mod">
          <ac:chgData name="Guest User" userId="S::urn:spo:anon#92e0bee1a612af7c1256e6aaf3dc4ec07c4151a598866b418723ef47912f2c2d::" providerId="AD" clId="Web-{D60EB00F-F736-758C-BCD1-FB61C735DDB4}" dt="2022-03-21T15:04:42.112" v="68" actId="1076"/>
          <ac:spMkLst>
            <pc:docMk/>
            <pc:sldMk cId="2486721525" sldId="341"/>
            <ac:spMk id="417" creationId="{00000000-0000-0000-0000-000000000000}"/>
          </ac:spMkLst>
        </pc:spChg>
        <pc:spChg chg="mod">
          <ac:chgData name="Guest User" userId="S::urn:spo:anon#92e0bee1a612af7c1256e6aaf3dc4ec07c4151a598866b418723ef47912f2c2d::" providerId="AD" clId="Web-{D60EB00F-F736-758C-BCD1-FB61C735DDB4}" dt="2022-03-21T15:03:05.453" v="45" actId="1076"/>
          <ac:spMkLst>
            <pc:docMk/>
            <pc:sldMk cId="2486721525" sldId="341"/>
            <ac:spMk id="436" creationId="{00000000-0000-0000-0000-000000000000}"/>
          </ac:spMkLst>
        </pc:spChg>
        <pc:spChg chg="mod">
          <ac:chgData name="Guest User" userId="S::urn:spo:anon#92e0bee1a612af7c1256e6aaf3dc4ec07c4151a598866b418723ef47912f2c2d::" providerId="AD" clId="Web-{D60EB00F-F736-758C-BCD1-FB61C735DDB4}" dt="2022-03-21T15:03:05.485" v="46" actId="1076"/>
          <ac:spMkLst>
            <pc:docMk/>
            <pc:sldMk cId="2486721525" sldId="341"/>
            <ac:spMk id="441" creationId="{00000000-0000-0000-0000-000000000000}"/>
          </ac:spMkLst>
        </pc:spChg>
        <pc:spChg chg="mod">
          <ac:chgData name="Guest User" userId="S::urn:spo:anon#92e0bee1a612af7c1256e6aaf3dc4ec07c4151a598866b418723ef47912f2c2d::" providerId="AD" clId="Web-{D60EB00F-F736-758C-BCD1-FB61C735DDB4}" dt="2022-03-21T15:03:08.813" v="47" actId="1076"/>
          <ac:spMkLst>
            <pc:docMk/>
            <pc:sldMk cId="2486721525" sldId="341"/>
            <ac:spMk id="446" creationId="{00000000-0000-0000-0000-000000000000}"/>
          </ac:spMkLst>
        </pc:spChg>
        <pc:spChg chg="mod">
          <ac:chgData name="Guest User" userId="S::urn:spo:anon#92e0bee1a612af7c1256e6aaf3dc4ec07c4151a598866b418723ef47912f2c2d::" providerId="AD" clId="Web-{D60EB00F-F736-758C-BCD1-FB61C735DDB4}" dt="2022-03-21T15:03:08.844" v="48" actId="1076"/>
          <ac:spMkLst>
            <pc:docMk/>
            <pc:sldMk cId="2486721525" sldId="341"/>
            <ac:spMk id="447" creationId="{00000000-0000-0000-0000-000000000000}"/>
          </ac:spMkLst>
        </pc:spChg>
        <pc:grpChg chg="del">
          <ac:chgData name="Guest User" userId="S::urn:spo:anon#92e0bee1a612af7c1256e6aaf3dc4ec07c4151a598866b418723ef47912f2c2d::" providerId="AD" clId="Web-{D60EB00F-F736-758C-BCD1-FB61C735DDB4}" dt="2022-03-21T15:04:10.690" v="61"/>
          <ac:grpSpMkLst>
            <pc:docMk/>
            <pc:sldMk cId="2486721525" sldId="341"/>
            <ac:grpSpMk id="448" creationId="{00000000-0000-0000-0000-000000000000}"/>
          </ac:grpSpMkLst>
        </pc:grpChg>
      </pc:sldChg>
      <pc:sldChg chg="ord">
        <pc:chgData name="Guest User" userId="S::urn:spo:anon#92e0bee1a612af7c1256e6aaf3dc4ec07c4151a598866b418723ef47912f2c2d::" providerId="AD" clId="Web-{D60EB00F-F736-758C-BCD1-FB61C735DDB4}" dt="2022-03-21T15:08:32.462" v="94"/>
        <pc:sldMkLst>
          <pc:docMk/>
          <pc:sldMk cId="4114424017" sldId="342"/>
        </pc:sldMkLst>
      </pc:sldChg>
      <pc:sldChg chg="addSp modSp">
        <pc:chgData name="Guest User" userId="S::urn:spo:anon#92e0bee1a612af7c1256e6aaf3dc4ec07c4151a598866b418723ef47912f2c2d::" providerId="AD" clId="Web-{D60EB00F-F736-758C-BCD1-FB61C735DDB4}" dt="2022-03-21T15:08:24.962" v="90" actId="20577"/>
        <pc:sldMkLst>
          <pc:docMk/>
          <pc:sldMk cId="1358823486" sldId="345"/>
        </pc:sldMkLst>
        <pc:spChg chg="add mod">
          <ac:chgData name="Guest User" userId="S::urn:spo:anon#92e0bee1a612af7c1256e6aaf3dc4ec07c4151a598866b418723ef47912f2c2d::" providerId="AD" clId="Web-{D60EB00F-F736-758C-BCD1-FB61C735DDB4}" dt="2022-03-21T15:08:24.962" v="90" actId="20577"/>
          <ac:spMkLst>
            <pc:docMk/>
            <pc:sldMk cId="1358823486" sldId="345"/>
            <ac:spMk id="15" creationId="{CF9C4944-CC24-46A4-BC7C-9F086DBB5AAA}"/>
          </ac:spMkLst>
        </pc:spChg>
      </pc:sldChg>
      <pc:sldChg chg="del">
        <pc:chgData name="Guest User" userId="S::urn:spo:anon#92e0bee1a612af7c1256e6aaf3dc4ec07c4151a598866b418723ef47912f2c2d::" providerId="AD" clId="Web-{D60EB00F-F736-758C-BCD1-FB61C735DDB4}" dt="2022-03-21T15:08:37.634" v="95"/>
        <pc:sldMkLst>
          <pc:docMk/>
          <pc:sldMk cId="4007964044" sldId="346"/>
        </pc:sldMkLst>
      </pc:sldChg>
      <pc:sldChg chg="del">
        <pc:chgData name="Guest User" userId="S::urn:spo:anon#92e0bee1a612af7c1256e6aaf3dc4ec07c4151a598866b418723ef47912f2c2d::" providerId="AD" clId="Web-{D60EB00F-F736-758C-BCD1-FB61C735DDB4}" dt="2022-03-21T15:08:45.025" v="97"/>
        <pc:sldMkLst>
          <pc:docMk/>
          <pc:sldMk cId="1677424940" sldId="347"/>
        </pc:sldMkLst>
      </pc:sldChg>
      <pc:sldChg chg="modSp">
        <pc:chgData name="Guest User" userId="S::urn:spo:anon#92e0bee1a612af7c1256e6aaf3dc4ec07c4151a598866b418723ef47912f2c2d::" providerId="AD" clId="Web-{D60EB00F-F736-758C-BCD1-FB61C735DDB4}" dt="2022-03-21T17:25:22.537" v="127" actId="14100"/>
        <pc:sldMkLst>
          <pc:docMk/>
          <pc:sldMk cId="2963563579" sldId="348"/>
        </pc:sldMkLst>
        <pc:spChg chg="mod">
          <ac:chgData name="Guest User" userId="S::urn:spo:anon#92e0bee1a612af7c1256e6aaf3dc4ec07c4151a598866b418723ef47912f2c2d::" providerId="AD" clId="Web-{D60EB00F-F736-758C-BCD1-FB61C735DDB4}" dt="2022-03-21T17:25:22.537" v="127" actId="14100"/>
          <ac:spMkLst>
            <pc:docMk/>
            <pc:sldMk cId="2963563579" sldId="348"/>
            <ac:spMk id="13" creationId="{8AA9B512-3C2F-4929-A53B-DC613CCD9E7D}"/>
          </ac:spMkLst>
        </pc:spChg>
      </pc:sldChg>
      <pc:sldChg chg="del">
        <pc:chgData name="Guest User" userId="S::urn:spo:anon#92e0bee1a612af7c1256e6aaf3dc4ec07c4151a598866b418723ef47912f2c2d::" providerId="AD" clId="Web-{D60EB00F-F736-758C-BCD1-FB61C735DDB4}" dt="2022-03-21T15:08:29.697" v="92"/>
        <pc:sldMkLst>
          <pc:docMk/>
          <pc:sldMk cId="3186929354" sldId="350"/>
        </pc:sldMkLst>
      </pc:sldChg>
      <pc:sldChg chg="del">
        <pc:chgData name="Guest User" userId="S::urn:spo:anon#92e0bee1a612af7c1256e6aaf3dc4ec07c4151a598866b418723ef47912f2c2d::" providerId="AD" clId="Web-{D60EB00F-F736-758C-BCD1-FB61C735DDB4}" dt="2022-03-21T15:08:27.400" v="91"/>
        <pc:sldMkLst>
          <pc:docMk/>
          <pc:sldMk cId="4023700956" sldId="351"/>
        </pc:sldMkLst>
      </pc:sldChg>
      <pc:sldChg chg="addSp ord">
        <pc:chgData name="Guest User" userId="S::urn:spo:anon#92e0bee1a612af7c1256e6aaf3dc4ec07c4151a598866b418723ef47912f2c2d::" providerId="AD" clId="Web-{D60EB00F-F736-758C-BCD1-FB61C735DDB4}" dt="2022-03-21T15:08:41.900" v="96"/>
        <pc:sldMkLst>
          <pc:docMk/>
          <pc:sldMk cId="754587697" sldId="352"/>
        </pc:sldMkLst>
        <pc:spChg chg="add">
          <ac:chgData name="Guest User" userId="S::urn:spo:anon#92e0bee1a612af7c1256e6aaf3dc4ec07c4151a598866b418723ef47912f2c2d::" providerId="AD" clId="Web-{D60EB00F-F736-758C-BCD1-FB61C735DDB4}" dt="2022-03-21T15:08:41.900" v="96"/>
          <ac:spMkLst>
            <pc:docMk/>
            <pc:sldMk cId="754587697" sldId="352"/>
            <ac:spMk id="4" creationId="{974B56B3-82DE-42A0-B45B-EC8564BAA9EE}"/>
          </ac:spMkLst>
        </pc:spChg>
      </pc:sldChg>
    </pc:docChg>
  </pc:docChgLst>
  <pc:docChgLst>
    <pc:chgData name="Guest User" userId="S::urn:spo:anon#c437c167f923f422528aee73b5e70e5726914197d2dec7f210a84ae49e8498a7::" providerId="AD" clId="Web-{EB78B22A-652F-4F77-9280-5958030EB8DE}"/>
    <pc:docChg chg="modSld">
      <pc:chgData name="Guest User" userId="S::urn:spo:anon#c437c167f923f422528aee73b5e70e5726914197d2dec7f210a84ae49e8498a7::" providerId="AD" clId="Web-{EB78B22A-652F-4F77-9280-5958030EB8DE}" dt="2022-04-04T12:53:03.972" v="184" actId="20577"/>
      <pc:docMkLst>
        <pc:docMk/>
      </pc:docMkLst>
      <pc:sldChg chg="addSp delSp modSp">
        <pc:chgData name="Guest User" userId="S::urn:spo:anon#c437c167f923f422528aee73b5e70e5726914197d2dec7f210a84ae49e8498a7::" providerId="AD" clId="Web-{EB78B22A-652F-4F77-9280-5958030EB8DE}" dt="2022-04-04T12:53:03.972" v="184" actId="20577"/>
        <pc:sldMkLst>
          <pc:docMk/>
          <pc:sldMk cId="0" sldId="267"/>
        </pc:sldMkLst>
        <pc:spChg chg="del">
          <ac:chgData name="Guest User" userId="S::urn:spo:anon#c437c167f923f422528aee73b5e70e5726914197d2dec7f210a84ae49e8498a7::" providerId="AD" clId="Web-{EB78B22A-652F-4F77-9280-5958030EB8DE}" dt="2022-04-04T12:46:49.074" v="0"/>
          <ac:spMkLst>
            <pc:docMk/>
            <pc:sldMk cId="0" sldId="267"/>
            <ac:spMk id="15" creationId="{1E4F1338-17C9-4FF2-9D25-BE5608D8C1F6}"/>
          </ac:spMkLst>
        </pc:spChg>
        <pc:spChg chg="mod">
          <ac:chgData name="Guest User" userId="S::urn:spo:anon#c437c167f923f422528aee73b5e70e5726914197d2dec7f210a84ae49e8498a7::" providerId="AD" clId="Web-{EB78B22A-652F-4F77-9280-5958030EB8DE}" dt="2022-04-04T12:53:03.972" v="184" actId="20577"/>
          <ac:spMkLst>
            <pc:docMk/>
            <pc:sldMk cId="0" sldId="267"/>
            <ac:spMk id="16" creationId="{06D1BAE6-275A-40C2-ABFA-22E1B96BE960}"/>
          </ac:spMkLst>
        </pc:spChg>
        <pc:spChg chg="del">
          <ac:chgData name="Guest User" userId="S::urn:spo:anon#c437c167f923f422528aee73b5e70e5726914197d2dec7f210a84ae49e8498a7::" providerId="AD" clId="Web-{EB78B22A-652F-4F77-9280-5958030EB8DE}" dt="2022-04-04T12:50:31.447" v="122"/>
          <ac:spMkLst>
            <pc:docMk/>
            <pc:sldMk cId="0" sldId="267"/>
            <ac:spMk id="575" creationId="{00000000-0000-0000-0000-000000000000}"/>
          </ac:spMkLst>
        </pc:spChg>
        <pc:picChg chg="add mod">
          <ac:chgData name="Guest User" userId="S::urn:spo:anon#c437c167f923f422528aee73b5e70e5726914197d2dec7f210a84ae49e8498a7::" providerId="AD" clId="Web-{EB78B22A-652F-4F77-9280-5958030EB8DE}" dt="2022-04-04T12:51:06.121" v="129" actId="1076"/>
          <ac:picMkLst>
            <pc:docMk/>
            <pc:sldMk cId="0" sldId="267"/>
            <ac:picMk id="4" creationId="{42EA391A-1865-00F6-A513-7451C70F9F89}"/>
          </ac:picMkLst>
        </pc:picChg>
        <pc:picChg chg="add del mod">
          <ac:chgData name="Guest User" userId="S::urn:spo:anon#c437c167f923f422528aee73b5e70e5726914197d2dec7f210a84ae49e8498a7::" providerId="AD" clId="Web-{EB78B22A-652F-4F77-9280-5958030EB8DE}" dt="2022-04-04T12:52:39.283" v="154"/>
          <ac:picMkLst>
            <pc:docMk/>
            <pc:sldMk cId="0" sldId="267"/>
            <ac:picMk id="6" creationId="{3FCF0324-0ABE-18D6-DB01-6C1F2BB92020}"/>
          </ac:picMkLst>
        </pc:picChg>
      </pc:sldChg>
    </pc:docChg>
  </pc:docChgLst>
  <pc:docChgLst>
    <pc:chgData name="Guest User" userId="S::urn:spo:anon#c437c167f923f422528aee73b5e70e5726914197d2dec7f210a84ae49e8498a7::" providerId="AD" clId="Web-{29731164-AF9A-FDB7-5F52-9EBB5F3E47A3}"/>
    <pc:docChg chg="delSld modSld">
      <pc:chgData name="Guest User" userId="S::urn:spo:anon#c437c167f923f422528aee73b5e70e5726914197d2dec7f210a84ae49e8498a7::" providerId="AD" clId="Web-{29731164-AF9A-FDB7-5F52-9EBB5F3E47A3}" dt="2022-04-04T17:53:54.224" v="299" actId="20577"/>
      <pc:docMkLst>
        <pc:docMk/>
      </pc:docMkLst>
      <pc:sldChg chg="modSp">
        <pc:chgData name="Guest User" userId="S::urn:spo:anon#c437c167f923f422528aee73b5e70e5726914197d2dec7f210a84ae49e8498a7::" providerId="AD" clId="Web-{29731164-AF9A-FDB7-5F52-9EBB5F3E47A3}" dt="2022-04-04T17:21:20.195" v="136" actId="1076"/>
        <pc:sldMkLst>
          <pc:docMk/>
          <pc:sldMk cId="0" sldId="264"/>
        </pc:sldMkLst>
        <pc:spChg chg="mod">
          <ac:chgData name="Guest User" userId="S::urn:spo:anon#c437c167f923f422528aee73b5e70e5726914197d2dec7f210a84ae49e8498a7::" providerId="AD" clId="Web-{29731164-AF9A-FDB7-5F52-9EBB5F3E47A3}" dt="2022-04-04T17:20:48.913" v="135" actId="20577"/>
          <ac:spMkLst>
            <pc:docMk/>
            <pc:sldMk cId="0" sldId="264"/>
            <ac:spMk id="26" creationId="{63D5B65A-793E-4E79-B52C-834340BABD85}"/>
          </ac:spMkLst>
        </pc:spChg>
        <pc:spChg chg="mod">
          <ac:chgData name="Guest User" userId="S::urn:spo:anon#c437c167f923f422528aee73b5e70e5726914197d2dec7f210a84ae49e8498a7::" providerId="AD" clId="Web-{29731164-AF9A-FDB7-5F52-9EBB5F3E47A3}" dt="2022-04-04T17:17:45.268" v="131" actId="20577"/>
          <ac:spMkLst>
            <pc:docMk/>
            <pc:sldMk cId="0" sldId="264"/>
            <ac:spMk id="29" creationId="{CE4534C1-122C-4584-960F-B0117C9A488A}"/>
          </ac:spMkLst>
        </pc:spChg>
        <pc:spChg chg="mod">
          <ac:chgData name="Guest User" userId="S::urn:spo:anon#c437c167f923f422528aee73b5e70e5726914197d2dec7f210a84ae49e8498a7::" providerId="AD" clId="Web-{29731164-AF9A-FDB7-5F52-9EBB5F3E47A3}" dt="2022-04-04T17:21:20.195" v="136" actId="1076"/>
          <ac:spMkLst>
            <pc:docMk/>
            <pc:sldMk cId="0" sldId="264"/>
            <ac:spMk id="30" creationId="{100AEE39-1F64-4466-ACEE-5B01ED088536}"/>
          </ac:spMkLst>
        </pc:spChg>
        <pc:cxnChg chg="mod">
          <ac:chgData name="Guest User" userId="S::urn:spo:anon#c437c167f923f422528aee73b5e70e5726914197d2dec7f210a84ae49e8498a7::" providerId="AD" clId="Web-{29731164-AF9A-FDB7-5F52-9EBB5F3E47A3}" dt="2022-04-04T15:24:53.972" v="28" actId="1076"/>
          <ac:cxnSpMkLst>
            <pc:docMk/>
            <pc:sldMk cId="0" sldId="264"/>
            <ac:cxnSpMk id="84" creationId="{AC6210DF-562A-41C9-9E37-6F2588D8CA5A}"/>
          </ac:cxnSpMkLst>
        </pc:cxnChg>
      </pc:sldChg>
      <pc:sldChg chg="delSp modSp">
        <pc:chgData name="Guest User" userId="S::urn:spo:anon#c437c167f923f422528aee73b5e70e5726914197d2dec7f210a84ae49e8498a7::" providerId="AD" clId="Web-{29731164-AF9A-FDB7-5F52-9EBB5F3E47A3}" dt="2022-04-04T17:31:47.272" v="230"/>
        <pc:sldMkLst>
          <pc:docMk/>
          <pc:sldMk cId="1756389301" sldId="323"/>
        </pc:sldMkLst>
        <pc:spChg chg="del mod">
          <ac:chgData name="Guest User" userId="S::urn:spo:anon#c437c167f923f422528aee73b5e70e5726914197d2dec7f210a84ae49e8498a7::" providerId="AD" clId="Web-{29731164-AF9A-FDB7-5F52-9EBB5F3E47A3}" dt="2022-04-04T17:31:47.272" v="230"/>
          <ac:spMkLst>
            <pc:docMk/>
            <pc:sldMk cId="1756389301" sldId="323"/>
            <ac:spMk id="2" creationId="{F0989B0E-DB48-159B-A485-E409F4BFF5AD}"/>
          </ac:spMkLst>
        </pc:spChg>
        <pc:spChg chg="mod">
          <ac:chgData name="Guest User" userId="S::urn:spo:anon#c437c167f923f422528aee73b5e70e5726914197d2dec7f210a84ae49e8498a7::" providerId="AD" clId="Web-{29731164-AF9A-FDB7-5F52-9EBB5F3E47A3}" dt="2022-04-04T17:31:09.068" v="229" actId="20577"/>
          <ac:spMkLst>
            <pc:docMk/>
            <pc:sldMk cId="1756389301" sldId="323"/>
            <ac:spMk id="16" creationId="{8F0CA37A-B6EB-4A17-9D52-2FBB285889D0}"/>
          </ac:spMkLst>
        </pc:spChg>
        <pc:spChg chg="mod">
          <ac:chgData name="Guest User" userId="S::urn:spo:anon#c437c167f923f422528aee73b5e70e5726914197d2dec7f210a84ae49e8498a7::" providerId="AD" clId="Web-{29731164-AF9A-FDB7-5F52-9EBB5F3E47A3}" dt="2022-04-04T17:26:13.842" v="156" actId="20577"/>
          <ac:spMkLst>
            <pc:docMk/>
            <pc:sldMk cId="1756389301" sldId="323"/>
            <ac:spMk id="651" creationId="{00000000-0000-0000-0000-000000000000}"/>
          </ac:spMkLst>
        </pc:spChg>
      </pc:sldChg>
      <pc:sldChg chg="modSp">
        <pc:chgData name="Guest User" userId="S::urn:spo:anon#c437c167f923f422528aee73b5e70e5726914197d2dec7f210a84ae49e8498a7::" providerId="AD" clId="Web-{29731164-AF9A-FDB7-5F52-9EBB5F3E47A3}" dt="2022-04-04T16:28:54.075" v="73" actId="1076"/>
        <pc:sldMkLst>
          <pc:docMk/>
          <pc:sldMk cId="1209993513" sldId="338"/>
        </pc:sldMkLst>
        <pc:spChg chg="mod">
          <ac:chgData name="Guest User" userId="S::urn:spo:anon#c437c167f923f422528aee73b5e70e5726914197d2dec7f210a84ae49e8498a7::" providerId="AD" clId="Web-{29731164-AF9A-FDB7-5F52-9EBB5F3E47A3}" dt="2022-04-04T16:28:54.075" v="73" actId="1076"/>
          <ac:spMkLst>
            <pc:docMk/>
            <pc:sldMk cId="1209993513" sldId="338"/>
            <ac:spMk id="13" creationId="{7CB40364-C6DD-4E16-B46E-08A1E44306A9}"/>
          </ac:spMkLst>
        </pc:spChg>
      </pc:sldChg>
      <pc:sldChg chg="modSp">
        <pc:chgData name="Guest User" userId="S::urn:spo:anon#c437c167f923f422528aee73b5e70e5726914197d2dec7f210a84ae49e8498a7::" providerId="AD" clId="Web-{29731164-AF9A-FDB7-5F52-9EBB5F3E47A3}" dt="2022-04-04T17:08:58.787" v="86" actId="14100"/>
        <pc:sldMkLst>
          <pc:docMk/>
          <pc:sldMk cId="2486721525" sldId="341"/>
        </pc:sldMkLst>
        <pc:spChg chg="mod">
          <ac:chgData name="Guest User" userId="S::urn:spo:anon#c437c167f923f422528aee73b5e70e5726914197d2dec7f210a84ae49e8498a7::" providerId="AD" clId="Web-{29731164-AF9A-FDB7-5F52-9EBB5F3E47A3}" dt="2022-04-04T17:08:58.787" v="86" actId="14100"/>
          <ac:spMkLst>
            <pc:docMk/>
            <pc:sldMk cId="2486721525" sldId="341"/>
            <ac:spMk id="103" creationId="{B04D06FE-476F-DCF7-C3DF-A504A11C4BB5}"/>
          </ac:spMkLst>
        </pc:spChg>
        <pc:spChg chg="mod">
          <ac:chgData name="Guest User" userId="S::urn:spo:anon#c437c167f923f422528aee73b5e70e5726914197d2dec7f210a84ae49e8498a7::" providerId="AD" clId="Web-{29731164-AF9A-FDB7-5F52-9EBB5F3E47A3}" dt="2022-04-04T15:22:47.485" v="1" actId="1076"/>
          <ac:spMkLst>
            <pc:docMk/>
            <pc:sldMk cId="2486721525" sldId="341"/>
            <ac:spMk id="372" creationId="{00000000-0000-0000-0000-000000000000}"/>
          </ac:spMkLst>
        </pc:spChg>
        <pc:spChg chg="mod">
          <ac:chgData name="Guest User" userId="S::urn:spo:anon#c437c167f923f422528aee73b5e70e5726914197d2dec7f210a84ae49e8498a7::" providerId="AD" clId="Web-{29731164-AF9A-FDB7-5F52-9EBB5F3E47A3}" dt="2022-04-04T17:07:18.785" v="85" actId="1076"/>
          <ac:spMkLst>
            <pc:docMk/>
            <pc:sldMk cId="2486721525" sldId="341"/>
            <ac:spMk id="436" creationId="{00000000-0000-0000-0000-000000000000}"/>
          </ac:spMkLst>
        </pc:spChg>
        <pc:spChg chg="mod">
          <ac:chgData name="Guest User" userId="S::urn:spo:anon#c437c167f923f422528aee73b5e70e5726914197d2dec7f210a84ae49e8498a7::" providerId="AD" clId="Web-{29731164-AF9A-FDB7-5F52-9EBB5F3E47A3}" dt="2022-04-04T17:07:10.613" v="84" actId="1076"/>
          <ac:spMkLst>
            <pc:docMk/>
            <pc:sldMk cId="2486721525" sldId="341"/>
            <ac:spMk id="441" creationId="{00000000-0000-0000-0000-000000000000}"/>
          </ac:spMkLst>
        </pc:spChg>
        <pc:cxnChg chg="mod">
          <ac:chgData name="Guest User" userId="S::urn:spo:anon#c437c167f923f422528aee73b5e70e5726914197d2dec7f210a84ae49e8498a7::" providerId="AD" clId="Web-{29731164-AF9A-FDB7-5F52-9EBB5F3E47A3}" dt="2022-04-04T17:06:57.456" v="83" actId="1076"/>
          <ac:cxnSpMkLst>
            <pc:docMk/>
            <pc:sldMk cId="2486721525" sldId="341"/>
            <ac:cxnSpMk id="138" creationId="{72CD5195-4FCE-4FC8-B037-A7E561D0D2AA}"/>
          </ac:cxnSpMkLst>
        </pc:cxnChg>
      </pc:sldChg>
      <pc:sldChg chg="delSp modSp">
        <pc:chgData name="Guest User" userId="S::urn:spo:anon#c437c167f923f422528aee73b5e70e5726914197d2dec7f210a84ae49e8498a7::" providerId="AD" clId="Web-{29731164-AF9A-FDB7-5F52-9EBB5F3E47A3}" dt="2022-04-04T17:33:48.868" v="232"/>
        <pc:sldMkLst>
          <pc:docMk/>
          <pc:sldMk cId="4114424017" sldId="342"/>
        </pc:sldMkLst>
        <pc:spChg chg="mod">
          <ac:chgData name="Guest User" userId="S::urn:spo:anon#c437c167f923f422528aee73b5e70e5726914197d2dec7f210a84ae49e8498a7::" providerId="AD" clId="Web-{29731164-AF9A-FDB7-5F52-9EBB5F3E47A3}" dt="2022-04-04T15:29:14.009" v="34" actId="20577"/>
          <ac:spMkLst>
            <pc:docMk/>
            <pc:sldMk cId="4114424017" sldId="342"/>
            <ac:spMk id="2" creationId="{4D5921D8-9182-46DA-BF73-3160B3589AF0}"/>
          </ac:spMkLst>
        </pc:spChg>
        <pc:spChg chg="del">
          <ac:chgData name="Guest User" userId="S::urn:spo:anon#c437c167f923f422528aee73b5e70e5726914197d2dec7f210a84ae49e8498a7::" providerId="AD" clId="Web-{29731164-AF9A-FDB7-5F52-9EBB5F3E47A3}" dt="2022-04-04T17:33:48.868" v="232"/>
          <ac:spMkLst>
            <pc:docMk/>
            <pc:sldMk cId="4114424017" sldId="342"/>
            <ac:spMk id="11" creationId="{32873532-4DAB-46C2-9B1C-F38B26BCDC39}"/>
          </ac:spMkLst>
        </pc:spChg>
      </pc:sldChg>
      <pc:sldChg chg="del mod modShow">
        <pc:chgData name="Guest User" userId="S::urn:spo:anon#c437c167f923f422528aee73b5e70e5726914197d2dec7f210a84ae49e8498a7::" providerId="AD" clId="Web-{29731164-AF9A-FDB7-5F52-9EBB5F3E47A3}" dt="2022-04-04T17:32:53.539" v="231"/>
        <pc:sldMkLst>
          <pc:docMk/>
          <pc:sldMk cId="211703589" sldId="343"/>
        </pc:sldMkLst>
      </pc:sldChg>
      <pc:sldChg chg="delSp modSp">
        <pc:chgData name="Guest User" userId="S::urn:spo:anon#c437c167f923f422528aee73b5e70e5726914197d2dec7f210a84ae49e8498a7::" providerId="AD" clId="Web-{29731164-AF9A-FDB7-5F52-9EBB5F3E47A3}" dt="2022-04-04T17:34:32.947" v="236"/>
        <pc:sldMkLst>
          <pc:docMk/>
          <pc:sldMk cId="754587697" sldId="352"/>
        </pc:sldMkLst>
        <pc:spChg chg="del mod">
          <ac:chgData name="Guest User" userId="S::urn:spo:anon#c437c167f923f422528aee73b5e70e5726914197d2dec7f210a84ae49e8498a7::" providerId="AD" clId="Web-{29731164-AF9A-FDB7-5F52-9EBB5F3E47A3}" dt="2022-04-04T17:34:32.947" v="236"/>
          <ac:spMkLst>
            <pc:docMk/>
            <pc:sldMk cId="754587697" sldId="352"/>
            <ac:spMk id="8" creationId="{8F69E7F7-DBB9-40B0-9935-C325CC79771F}"/>
          </ac:spMkLst>
        </pc:spChg>
      </pc:sldChg>
      <pc:sldChg chg="delSp">
        <pc:chgData name="Guest User" userId="S::urn:spo:anon#c437c167f923f422528aee73b5e70e5726914197d2dec7f210a84ae49e8498a7::" providerId="AD" clId="Web-{29731164-AF9A-FDB7-5F52-9EBB5F3E47A3}" dt="2022-04-04T17:36:58.529" v="242"/>
        <pc:sldMkLst>
          <pc:docMk/>
          <pc:sldMk cId="2576879601" sldId="365"/>
        </pc:sldMkLst>
        <pc:spChg chg="del">
          <ac:chgData name="Guest User" userId="S::urn:spo:anon#c437c167f923f422528aee73b5e70e5726914197d2dec7f210a84ae49e8498a7::" providerId="AD" clId="Web-{29731164-AF9A-FDB7-5F52-9EBB5F3E47A3}" dt="2022-04-04T17:36:58.529" v="242"/>
          <ac:spMkLst>
            <pc:docMk/>
            <pc:sldMk cId="2576879601" sldId="365"/>
            <ac:spMk id="6" creationId="{74F8F5B6-6C79-278D-D3C6-E2F59AC9C58B}"/>
          </ac:spMkLst>
        </pc:spChg>
      </pc:sldChg>
      <pc:sldChg chg="delSp modSp">
        <pc:chgData name="Guest User" userId="S::urn:spo:anon#c437c167f923f422528aee73b5e70e5726914197d2dec7f210a84ae49e8498a7::" providerId="AD" clId="Web-{29731164-AF9A-FDB7-5F52-9EBB5F3E47A3}" dt="2022-04-04T17:35:20.167" v="241" actId="20577"/>
        <pc:sldMkLst>
          <pc:docMk/>
          <pc:sldMk cId="3514561185" sldId="374"/>
        </pc:sldMkLst>
        <pc:spChg chg="del">
          <ac:chgData name="Guest User" userId="S::urn:spo:anon#c437c167f923f422528aee73b5e70e5726914197d2dec7f210a84ae49e8498a7::" providerId="AD" clId="Web-{29731164-AF9A-FDB7-5F52-9EBB5F3E47A3}" dt="2022-04-04T15:29:53.057" v="35"/>
          <ac:spMkLst>
            <pc:docMk/>
            <pc:sldMk cId="3514561185" sldId="374"/>
            <ac:spMk id="2" creationId="{06BE3DF2-FF5A-32FB-904D-F3B56CDAAEDC}"/>
          </ac:spMkLst>
        </pc:spChg>
        <pc:spChg chg="mod">
          <ac:chgData name="Guest User" userId="S::urn:spo:anon#c437c167f923f422528aee73b5e70e5726914197d2dec7f210a84ae49e8498a7::" providerId="AD" clId="Web-{29731164-AF9A-FDB7-5F52-9EBB5F3E47A3}" dt="2022-04-04T17:35:20.167" v="241" actId="20577"/>
          <ac:spMkLst>
            <pc:docMk/>
            <pc:sldMk cId="3514561185" sldId="374"/>
            <ac:spMk id="11" creationId="{A9B97C9C-0C93-045F-4501-F39E80FF554F}"/>
          </ac:spMkLst>
        </pc:spChg>
        <pc:spChg chg="mod">
          <ac:chgData name="Guest User" userId="S::urn:spo:anon#c437c167f923f422528aee73b5e70e5726914197d2dec7f210a84ae49e8498a7::" providerId="AD" clId="Web-{29731164-AF9A-FDB7-5F52-9EBB5F3E47A3}" dt="2022-04-04T17:01:45.855" v="82" actId="20577"/>
          <ac:spMkLst>
            <pc:docMk/>
            <pc:sldMk cId="3514561185" sldId="374"/>
            <ac:spMk id="331" creationId="{00000000-0000-0000-0000-000000000000}"/>
          </ac:spMkLst>
        </pc:spChg>
      </pc:sldChg>
      <pc:sldChg chg="modSp">
        <pc:chgData name="Guest User" userId="S::urn:spo:anon#c437c167f923f422528aee73b5e70e5726914197d2dec7f210a84ae49e8498a7::" providerId="AD" clId="Web-{29731164-AF9A-FDB7-5F52-9EBB5F3E47A3}" dt="2022-04-04T17:53:54.224" v="299" actId="20577"/>
        <pc:sldMkLst>
          <pc:docMk/>
          <pc:sldMk cId="604654217" sldId="375"/>
        </pc:sldMkLst>
        <pc:spChg chg="mod">
          <ac:chgData name="Guest User" userId="S::urn:spo:anon#c437c167f923f422528aee73b5e70e5726914197d2dec7f210a84ae49e8498a7::" providerId="AD" clId="Web-{29731164-AF9A-FDB7-5F52-9EBB5F3E47A3}" dt="2022-04-04T17:53:54.224" v="299" actId="20577"/>
          <ac:spMkLst>
            <pc:docMk/>
            <pc:sldMk cId="604654217" sldId="375"/>
            <ac:spMk id="3" creationId="{346B9D98-5C00-250F-2E85-76FD3A920D22}"/>
          </ac:spMkLst>
        </pc:spChg>
        <pc:spChg chg="mod">
          <ac:chgData name="Guest User" userId="S::urn:spo:anon#c437c167f923f422528aee73b5e70e5726914197d2dec7f210a84ae49e8498a7::" providerId="AD" clId="Web-{29731164-AF9A-FDB7-5F52-9EBB5F3E47A3}" dt="2022-04-04T17:52:54.457" v="269" actId="20577"/>
          <ac:spMkLst>
            <pc:docMk/>
            <pc:sldMk cId="604654217" sldId="375"/>
            <ac:spMk id="5" creationId="{36D64229-262E-4A6E-9C18-00F422DCB439}"/>
          </ac:spMkLst>
        </pc:spChg>
      </pc:sldChg>
    </pc:docChg>
  </pc:docChgLst>
  <pc:docChgLst>
    <pc:chgData name="Guest User" userId="S::urn:spo:anon#c437c167f923f422528aee73b5e70e5726914197d2dec7f210a84ae49e8498a7::" providerId="AD" clId="Web-{6FA1A60D-B20F-069C-4B03-89CE5851F394}"/>
    <pc:docChg chg="modSld">
      <pc:chgData name="Guest User" userId="S::urn:spo:anon#c437c167f923f422528aee73b5e70e5726914197d2dec7f210a84ae49e8498a7::" providerId="AD" clId="Web-{6FA1A60D-B20F-069C-4B03-89CE5851F394}" dt="2022-04-04T15:21:36.073" v="69" actId="20577"/>
      <pc:docMkLst>
        <pc:docMk/>
      </pc:docMkLst>
      <pc:sldChg chg="addSp modSp">
        <pc:chgData name="Guest User" userId="S::urn:spo:anon#c437c167f923f422528aee73b5e70e5726914197d2dec7f210a84ae49e8498a7::" providerId="AD" clId="Web-{6FA1A60D-B20F-069C-4B03-89CE5851F394}" dt="2022-04-04T15:21:36.073" v="69" actId="20577"/>
        <pc:sldMkLst>
          <pc:docMk/>
          <pc:sldMk cId="2486721525" sldId="341"/>
        </pc:sldMkLst>
        <pc:spChg chg="mod">
          <ac:chgData name="Guest User" userId="S::urn:spo:anon#c437c167f923f422528aee73b5e70e5726914197d2dec7f210a84ae49e8498a7::" providerId="AD" clId="Web-{6FA1A60D-B20F-069C-4B03-89CE5851F394}" dt="2022-04-04T15:15:30.110" v="5" actId="20577"/>
          <ac:spMkLst>
            <pc:docMk/>
            <pc:sldMk cId="2486721525" sldId="341"/>
            <ac:spMk id="100" creationId="{523D7184-991A-457B-AD7E-9585D81AD188}"/>
          </ac:spMkLst>
        </pc:spChg>
        <pc:spChg chg="mod">
          <ac:chgData name="Guest User" userId="S::urn:spo:anon#c437c167f923f422528aee73b5e70e5726914197d2dec7f210a84ae49e8498a7::" providerId="AD" clId="Web-{6FA1A60D-B20F-069C-4B03-89CE5851F394}" dt="2022-04-04T15:20:49.306" v="50" actId="14100"/>
          <ac:spMkLst>
            <pc:docMk/>
            <pc:sldMk cId="2486721525" sldId="341"/>
            <ac:spMk id="101" creationId="{C490854A-3705-D3C2-CB0B-CA528B8E7892}"/>
          </ac:spMkLst>
        </pc:spChg>
        <pc:spChg chg="add mod">
          <ac:chgData name="Guest User" userId="S::urn:spo:anon#c437c167f923f422528aee73b5e70e5726914197d2dec7f210a84ae49e8498a7::" providerId="AD" clId="Web-{6FA1A60D-B20F-069C-4B03-89CE5851F394}" dt="2022-04-04T15:20:27.556" v="47" actId="20577"/>
          <ac:spMkLst>
            <pc:docMk/>
            <pc:sldMk cId="2486721525" sldId="341"/>
            <ac:spMk id="102" creationId="{1A6A5D54-4780-E7F1-2C5A-B261190E065C}"/>
          </ac:spMkLst>
        </pc:spChg>
        <pc:spChg chg="add mod">
          <ac:chgData name="Guest User" userId="S::urn:spo:anon#c437c167f923f422528aee73b5e70e5726914197d2dec7f210a84ae49e8498a7::" providerId="AD" clId="Web-{6FA1A60D-B20F-069C-4B03-89CE5851F394}" dt="2022-04-04T15:21:36.073" v="69" actId="20577"/>
          <ac:spMkLst>
            <pc:docMk/>
            <pc:sldMk cId="2486721525" sldId="341"/>
            <ac:spMk id="103" creationId="{B04D06FE-476F-DCF7-C3DF-A504A11C4BB5}"/>
          </ac:spMkLst>
        </pc:spChg>
      </pc:sldChg>
      <pc:sldChg chg="delSp">
        <pc:chgData name="Guest User" userId="S::urn:spo:anon#c437c167f923f422528aee73b5e70e5726914197d2dec7f210a84ae49e8498a7::" providerId="AD" clId="Web-{6FA1A60D-B20F-069C-4B03-89CE5851F394}" dt="2022-04-04T15:15:12.282" v="0"/>
        <pc:sldMkLst>
          <pc:docMk/>
          <pc:sldMk cId="1695560817" sldId="366"/>
        </pc:sldMkLst>
        <pc:spChg chg="del">
          <ac:chgData name="Guest User" userId="S::urn:spo:anon#c437c167f923f422528aee73b5e70e5726914197d2dec7f210a84ae49e8498a7::" providerId="AD" clId="Web-{6FA1A60D-B20F-069C-4B03-89CE5851F394}" dt="2022-04-04T15:15:12.282" v="0"/>
          <ac:spMkLst>
            <pc:docMk/>
            <pc:sldMk cId="1695560817" sldId="366"/>
            <ac:spMk id="3" creationId="{F1048966-CD25-3754-6E9D-DB4371B1B8BB}"/>
          </ac:spMkLst>
        </pc:spChg>
      </pc:sldChg>
    </pc:docChg>
  </pc:docChgLst>
  <pc:docChgLst>
    <pc:chgData name="Guest User" userId="S::urn:spo:anon#c437c167f923f422528aee73b5e70e5726914197d2dec7f210a84ae49e8498a7::" providerId="AD" clId="Web-{C85B2C23-02EC-1BA5-CEBD-8C6435B2177C}"/>
    <pc:docChg chg="modSld">
      <pc:chgData name="Guest User" userId="S::urn:spo:anon#c437c167f923f422528aee73b5e70e5726914197d2dec7f210a84ae49e8498a7::" providerId="AD" clId="Web-{C85B2C23-02EC-1BA5-CEBD-8C6435B2177C}" dt="2022-04-04T20:39:38.181" v="72"/>
      <pc:docMkLst>
        <pc:docMk/>
      </pc:docMkLst>
      <pc:sldChg chg="addSp delSp modSp">
        <pc:chgData name="Guest User" userId="S::urn:spo:anon#c437c167f923f422528aee73b5e70e5726914197d2dec7f210a84ae49e8498a7::" providerId="AD" clId="Web-{C85B2C23-02EC-1BA5-CEBD-8C6435B2177C}" dt="2022-04-04T20:36:25.942" v="60"/>
        <pc:sldMkLst>
          <pc:docMk/>
          <pc:sldMk cId="0" sldId="257"/>
        </pc:sldMkLst>
        <pc:grpChg chg="add del mod">
          <ac:chgData name="Guest User" userId="S::urn:spo:anon#c437c167f923f422528aee73b5e70e5726914197d2dec7f210a84ae49e8498a7::" providerId="AD" clId="Web-{C85B2C23-02EC-1BA5-CEBD-8C6435B2177C}" dt="2022-04-04T20:36:25.942" v="60"/>
          <ac:grpSpMkLst>
            <pc:docMk/>
            <pc:sldMk cId="0" sldId="257"/>
            <ac:grpSpMk id="41" creationId="{C9ABEC48-0217-0553-15D1-B14AC6C53581}"/>
          </ac:grpSpMkLst>
        </pc:grpChg>
      </pc:sldChg>
      <pc:sldChg chg="delSp">
        <pc:chgData name="Guest User" userId="S::urn:spo:anon#c437c167f923f422528aee73b5e70e5726914197d2dec7f210a84ae49e8498a7::" providerId="AD" clId="Web-{C85B2C23-02EC-1BA5-CEBD-8C6435B2177C}" dt="2022-04-04T19:54:57.365" v="25"/>
        <pc:sldMkLst>
          <pc:docMk/>
          <pc:sldMk cId="0" sldId="259"/>
        </pc:sldMkLst>
        <pc:spChg chg="del">
          <ac:chgData name="Guest User" userId="S::urn:spo:anon#c437c167f923f422528aee73b5e70e5726914197d2dec7f210a84ae49e8498a7::" providerId="AD" clId="Web-{C85B2C23-02EC-1BA5-CEBD-8C6435B2177C}" dt="2022-04-04T19:54:57.365" v="25"/>
          <ac:spMkLst>
            <pc:docMk/>
            <pc:sldMk cId="0" sldId="259"/>
            <ac:spMk id="2" creationId="{332FAA88-0C1A-23EC-244B-BB586AB16ADA}"/>
          </ac:spMkLst>
        </pc:spChg>
      </pc:sldChg>
      <pc:sldChg chg="addSp delSp modSp">
        <pc:chgData name="Guest User" userId="S::urn:spo:anon#c437c167f923f422528aee73b5e70e5726914197d2dec7f210a84ae49e8498a7::" providerId="AD" clId="Web-{C85B2C23-02EC-1BA5-CEBD-8C6435B2177C}" dt="2022-04-04T20:39:38.181" v="72"/>
        <pc:sldMkLst>
          <pc:docMk/>
          <pc:sldMk cId="0" sldId="264"/>
        </pc:sldMkLst>
        <pc:spChg chg="add del">
          <ac:chgData name="Guest User" userId="S::urn:spo:anon#c437c167f923f422528aee73b5e70e5726914197d2dec7f210a84ae49e8498a7::" providerId="AD" clId="Web-{C85B2C23-02EC-1BA5-CEBD-8C6435B2177C}" dt="2022-04-04T20:39:38.181" v="72"/>
          <ac:spMkLst>
            <pc:docMk/>
            <pc:sldMk cId="0" sldId="264"/>
            <ac:spMk id="2" creationId="{3E1B1E44-BB53-2A5A-4E4F-F11B3C57DCBD}"/>
          </ac:spMkLst>
        </pc:spChg>
        <pc:spChg chg="mod">
          <ac:chgData name="Guest User" userId="S::urn:spo:anon#c437c167f923f422528aee73b5e70e5726914197d2dec7f210a84ae49e8498a7::" providerId="AD" clId="Web-{C85B2C23-02EC-1BA5-CEBD-8C6435B2177C}" dt="2022-04-04T20:39:34.494" v="71" actId="20577"/>
          <ac:spMkLst>
            <pc:docMk/>
            <pc:sldMk cId="0" sldId="264"/>
            <ac:spMk id="29" creationId="{CE4534C1-122C-4584-960F-B0117C9A488A}"/>
          </ac:spMkLst>
        </pc:spChg>
      </pc:sldChg>
      <pc:sldChg chg="delSp modSp">
        <pc:chgData name="Guest User" userId="S::urn:spo:anon#c437c167f923f422528aee73b5e70e5726914197d2dec7f210a84ae49e8498a7::" providerId="AD" clId="Web-{C85B2C23-02EC-1BA5-CEBD-8C6435B2177C}" dt="2022-04-04T20:35:31.269" v="57" actId="1076"/>
        <pc:sldMkLst>
          <pc:docMk/>
          <pc:sldMk cId="2486721525" sldId="341"/>
        </pc:sldMkLst>
        <pc:spChg chg="del">
          <ac:chgData name="Guest User" userId="S::urn:spo:anon#c437c167f923f422528aee73b5e70e5726914197d2dec7f210a84ae49e8498a7::" providerId="AD" clId="Web-{C85B2C23-02EC-1BA5-CEBD-8C6435B2177C}" dt="2022-04-04T19:54:51.162" v="24"/>
          <ac:spMkLst>
            <pc:docMk/>
            <pc:sldMk cId="2486721525" sldId="341"/>
            <ac:spMk id="100" creationId="{523D7184-991A-457B-AD7E-9585D81AD188}"/>
          </ac:spMkLst>
        </pc:spChg>
        <pc:spChg chg="mod">
          <ac:chgData name="Guest User" userId="S::urn:spo:anon#c437c167f923f422528aee73b5e70e5726914197d2dec7f210a84ae49e8498a7::" providerId="AD" clId="Web-{C85B2C23-02EC-1BA5-CEBD-8C6435B2177C}" dt="2022-04-04T20:33:56.704" v="42" actId="20577"/>
          <ac:spMkLst>
            <pc:docMk/>
            <pc:sldMk cId="2486721525" sldId="341"/>
            <ac:spMk id="102" creationId="{1A6A5D54-4780-E7F1-2C5A-B261190E065C}"/>
          </ac:spMkLst>
        </pc:spChg>
        <pc:spChg chg="mod">
          <ac:chgData name="Guest User" userId="S::urn:spo:anon#c437c167f923f422528aee73b5e70e5726914197d2dec7f210a84ae49e8498a7::" providerId="AD" clId="Web-{C85B2C23-02EC-1BA5-CEBD-8C6435B2177C}" dt="2022-04-04T20:34:29.798" v="50" actId="20577"/>
          <ac:spMkLst>
            <pc:docMk/>
            <pc:sldMk cId="2486721525" sldId="341"/>
            <ac:spMk id="103" creationId="{B04D06FE-476F-DCF7-C3DF-A504A11C4BB5}"/>
          </ac:spMkLst>
        </pc:spChg>
        <pc:spChg chg="mod">
          <ac:chgData name="Guest User" userId="S::urn:spo:anon#c437c167f923f422528aee73b5e70e5726914197d2dec7f210a84ae49e8498a7::" providerId="AD" clId="Web-{C85B2C23-02EC-1BA5-CEBD-8C6435B2177C}" dt="2022-04-04T20:35:31.269" v="57" actId="1076"/>
          <ac:spMkLst>
            <pc:docMk/>
            <pc:sldMk cId="2486721525" sldId="341"/>
            <ac:spMk id="116" creationId="{473E579E-3692-41BD-8D3D-A49F032BB7D1}"/>
          </ac:spMkLst>
        </pc:spChg>
        <pc:spChg chg="mod">
          <ac:chgData name="Guest User" userId="S::urn:spo:anon#c437c167f923f422528aee73b5e70e5726914197d2dec7f210a84ae49e8498a7::" providerId="AD" clId="Web-{C85B2C23-02EC-1BA5-CEBD-8C6435B2177C}" dt="2022-04-04T20:34:51.299" v="55" actId="20577"/>
          <ac:spMkLst>
            <pc:docMk/>
            <pc:sldMk cId="2486721525" sldId="341"/>
            <ac:spMk id="372" creationId="{00000000-0000-0000-0000-000000000000}"/>
          </ac:spMkLst>
        </pc:spChg>
        <pc:spChg chg="mod">
          <ac:chgData name="Guest User" userId="S::urn:spo:anon#c437c167f923f422528aee73b5e70e5726914197d2dec7f210a84ae49e8498a7::" providerId="AD" clId="Web-{C85B2C23-02EC-1BA5-CEBD-8C6435B2177C}" dt="2022-04-04T20:35:24.159" v="56" actId="1076"/>
          <ac:spMkLst>
            <pc:docMk/>
            <pc:sldMk cId="2486721525" sldId="341"/>
            <ac:spMk id="401" creationId="{00000000-0000-0000-0000-000000000000}"/>
          </ac:spMkLst>
        </pc:spChg>
        <pc:spChg chg="mod">
          <ac:chgData name="Guest User" userId="S::urn:spo:anon#c437c167f923f422528aee73b5e70e5726914197d2dec7f210a84ae49e8498a7::" providerId="AD" clId="Web-{C85B2C23-02EC-1BA5-CEBD-8C6435B2177C}" dt="2022-04-04T20:34:13.563" v="47" actId="20577"/>
          <ac:spMkLst>
            <pc:docMk/>
            <pc:sldMk cId="2486721525" sldId="341"/>
            <ac:spMk id="413" creationId="{00000000-0000-0000-0000-000000000000}"/>
          </ac:spMkLst>
        </pc:spChg>
      </pc:sldChg>
      <pc:sldChg chg="delSp modSp">
        <pc:chgData name="Guest User" userId="S::urn:spo:anon#c437c167f923f422528aee73b5e70e5726914197d2dec7f210a84ae49e8498a7::" providerId="AD" clId="Web-{C85B2C23-02EC-1BA5-CEBD-8C6435B2177C}" dt="2022-04-04T19:33:35.007" v="21"/>
        <pc:sldMkLst>
          <pc:docMk/>
          <pc:sldMk cId="1695560817" sldId="366"/>
        </pc:sldMkLst>
        <pc:spChg chg="del mod">
          <ac:chgData name="Guest User" userId="S::urn:spo:anon#c437c167f923f422528aee73b5e70e5726914197d2dec7f210a84ae49e8498a7::" providerId="AD" clId="Web-{C85B2C23-02EC-1BA5-CEBD-8C6435B2177C}" dt="2022-04-04T19:33:35.007" v="21"/>
          <ac:spMkLst>
            <pc:docMk/>
            <pc:sldMk cId="1695560817" sldId="366"/>
            <ac:spMk id="8" creationId="{6E60928D-F747-4E02-5F0E-A23E862AB85C}"/>
          </ac:spMkLst>
        </pc:spChg>
        <pc:spChg chg="del">
          <ac:chgData name="Guest User" userId="S::urn:spo:anon#c437c167f923f422528aee73b5e70e5726914197d2dec7f210a84ae49e8498a7::" providerId="AD" clId="Web-{C85B2C23-02EC-1BA5-CEBD-8C6435B2177C}" dt="2022-04-04T19:33:18.319" v="19"/>
          <ac:spMkLst>
            <pc:docMk/>
            <pc:sldMk cId="1695560817" sldId="366"/>
            <ac:spMk id="40" creationId="{611EBE9E-2A7C-8DB0-CAE5-712C95EA2AD3}"/>
          </ac:spMkLst>
        </pc:spChg>
        <pc:spChg chg="del">
          <ac:chgData name="Guest User" userId="S::urn:spo:anon#c437c167f923f422528aee73b5e70e5726914197d2dec7f210a84ae49e8498a7::" providerId="AD" clId="Web-{C85B2C23-02EC-1BA5-CEBD-8C6435B2177C}" dt="2022-04-04T19:33:21.069" v="20"/>
          <ac:spMkLst>
            <pc:docMk/>
            <pc:sldMk cId="1695560817" sldId="366"/>
            <ac:spMk id="42" creationId="{1B08A347-B138-5843-98E6-3B81B9906B8E}"/>
          </ac:spMkLst>
        </pc:spChg>
      </pc:sldChg>
      <pc:sldChg chg="delSp">
        <pc:chgData name="Guest User" userId="S::urn:spo:anon#c437c167f923f422528aee73b5e70e5726914197d2dec7f210a84ae49e8498a7::" providerId="AD" clId="Web-{C85B2C23-02EC-1BA5-CEBD-8C6435B2177C}" dt="2022-04-04T19:33:51.273" v="23"/>
        <pc:sldMkLst>
          <pc:docMk/>
          <pc:sldMk cId="3514561185" sldId="374"/>
        </pc:sldMkLst>
        <pc:spChg chg="del">
          <ac:chgData name="Guest User" userId="S::urn:spo:anon#c437c167f923f422528aee73b5e70e5726914197d2dec7f210a84ae49e8498a7::" providerId="AD" clId="Web-{C85B2C23-02EC-1BA5-CEBD-8C6435B2177C}" dt="2022-04-04T19:33:48.710" v="22"/>
          <ac:spMkLst>
            <pc:docMk/>
            <pc:sldMk cId="3514561185" sldId="374"/>
            <ac:spMk id="2" creationId="{71601D73-6075-4594-3641-75266AC8AC50}"/>
          </ac:spMkLst>
        </pc:spChg>
        <pc:spChg chg="del">
          <ac:chgData name="Guest User" userId="S::urn:spo:anon#c437c167f923f422528aee73b5e70e5726914197d2dec7f210a84ae49e8498a7::" providerId="AD" clId="Web-{C85B2C23-02EC-1BA5-CEBD-8C6435B2177C}" dt="2022-04-04T19:33:51.273" v="23"/>
          <ac:spMkLst>
            <pc:docMk/>
            <pc:sldMk cId="3514561185" sldId="374"/>
            <ac:spMk id="11" creationId="{A9B97C9C-0C93-045F-4501-F39E80FF554F}"/>
          </ac:spMkLst>
        </pc:spChg>
      </pc:sldChg>
      <pc:sldChg chg="modSp">
        <pc:chgData name="Guest User" userId="S::urn:spo:anon#c437c167f923f422528aee73b5e70e5726914197d2dec7f210a84ae49e8498a7::" providerId="AD" clId="Web-{C85B2C23-02EC-1BA5-CEBD-8C6435B2177C}" dt="2022-04-04T19:57:48.885" v="26" actId="1076"/>
        <pc:sldMkLst>
          <pc:docMk/>
          <pc:sldMk cId="604654217" sldId="375"/>
        </pc:sldMkLst>
        <pc:spChg chg="mod">
          <ac:chgData name="Guest User" userId="S::urn:spo:anon#c437c167f923f422528aee73b5e70e5726914197d2dec7f210a84ae49e8498a7::" providerId="AD" clId="Web-{C85B2C23-02EC-1BA5-CEBD-8C6435B2177C}" dt="2022-04-04T18:27:59.046" v="17" actId="20577"/>
          <ac:spMkLst>
            <pc:docMk/>
            <pc:sldMk cId="604654217" sldId="375"/>
            <ac:spMk id="3" creationId="{346B9D98-5C00-250F-2E85-76FD3A920D22}"/>
          </ac:spMkLst>
        </pc:spChg>
        <pc:cxnChg chg="mod">
          <ac:chgData name="Guest User" userId="S::urn:spo:anon#c437c167f923f422528aee73b5e70e5726914197d2dec7f210a84ae49e8498a7::" providerId="AD" clId="Web-{C85B2C23-02EC-1BA5-CEBD-8C6435B2177C}" dt="2022-04-04T19:57:48.885" v="26" actId="1076"/>
          <ac:cxnSpMkLst>
            <pc:docMk/>
            <pc:sldMk cId="604654217" sldId="375"/>
            <ac:cxnSpMk id="11" creationId="{80DA06C6-E09C-08BC-D6FB-BC20D8957044}"/>
          </ac:cxnSpMkLst>
        </pc:cxn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txBox="1">
            <a:spLocks noGrp="1"/>
          </p:cNvSpPr>
          <p:nvPr>
            <p:ph type="hdr" idx="2"/>
          </p:nvPr>
        </p:nvSpPr>
        <p:spPr>
          <a:xfrm>
            <a:off x="0" y="0"/>
            <a:ext cx="3037840" cy="466434"/>
          </a:xfrm>
          <a:prstGeom prst="rect">
            <a:avLst/>
          </a:prstGeom>
          <a:noFill/>
          <a:ln>
            <a:noFill/>
          </a:ln>
        </p:spPr>
        <p:txBody>
          <a:bodyPr spcFirstLastPara="1" wrap="square" lIns="93162" tIns="46568" rIns="93162" bIns="46568" anchor="t" anchorCtr="0">
            <a:noAutofit/>
          </a:bodyPr>
          <a:lstStyle>
            <a:lvl1pPr marR="0" lvl="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4" name="Google Shape;4;n"/>
          <p:cNvSpPr txBox="1">
            <a:spLocks noGrp="1"/>
          </p:cNvSpPr>
          <p:nvPr>
            <p:ph type="dt" idx="10"/>
          </p:nvPr>
        </p:nvSpPr>
        <p:spPr>
          <a:xfrm>
            <a:off x="3970938" y="0"/>
            <a:ext cx="3037840" cy="466434"/>
          </a:xfrm>
          <a:prstGeom prst="rect">
            <a:avLst/>
          </a:prstGeom>
          <a:noFill/>
          <a:ln>
            <a:noFill/>
          </a:ln>
        </p:spPr>
        <p:txBody>
          <a:bodyPr spcFirstLastPara="1" wrap="square" lIns="93162" tIns="46568" rIns="93162" bIns="46568" anchor="t" anchorCtr="0">
            <a:noAutofit/>
          </a:bodyPr>
          <a:lstStyle>
            <a:lvl1pPr marR="0" lvl="0" algn="r"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5" name="Google Shape;5;n"/>
          <p:cNvSpPr>
            <a:spLocks noGrp="1" noRot="1" noChangeAspect="1"/>
          </p:cNvSpPr>
          <p:nvPr>
            <p:ph type="sldImg" idx="3"/>
          </p:nvPr>
        </p:nvSpPr>
        <p:spPr>
          <a:xfrm>
            <a:off x="717550" y="1162050"/>
            <a:ext cx="5575300" cy="31369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 name="Google Shape;6;n"/>
          <p:cNvSpPr txBox="1">
            <a:spLocks noGrp="1"/>
          </p:cNvSpPr>
          <p:nvPr>
            <p:ph type="body" idx="1"/>
          </p:nvPr>
        </p:nvSpPr>
        <p:spPr>
          <a:xfrm>
            <a:off x="701040" y="4473892"/>
            <a:ext cx="5608320" cy="3660458"/>
          </a:xfrm>
          <a:prstGeom prst="rect">
            <a:avLst/>
          </a:prstGeom>
          <a:noFill/>
          <a:ln>
            <a:noFill/>
          </a:ln>
        </p:spPr>
        <p:txBody>
          <a:bodyPr spcFirstLastPara="1" wrap="square" lIns="93162" tIns="46568" rIns="93162" bIns="46568" anchor="t" anchorCtr="0">
            <a:noAutofit/>
          </a:bodyPr>
          <a:lstStyle>
            <a:lvl1pPr marL="457200" marR="0" lvl="0"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L="914400" marR="0" lvl="1"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2pPr>
            <a:lvl3pPr marL="1371600" marR="0" lvl="2"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3pPr>
            <a:lvl4pPr marL="1828800" marR="0" lvl="3"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4pPr>
            <a:lvl5pPr marL="2286000" marR="0" lvl="4"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5pPr>
            <a:lvl6pPr marL="2743200" marR="0" lvl="5"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6pPr>
            <a:lvl7pPr marL="3200400" marR="0" lvl="6"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7pPr>
            <a:lvl8pPr marL="3657600" marR="0" lvl="7"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8pPr>
            <a:lvl9pPr marL="4114800" marR="0" lvl="8"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9pPr>
          </a:lstStyle>
          <a:p>
            <a:endParaRPr/>
          </a:p>
        </p:txBody>
      </p:sp>
      <p:sp>
        <p:nvSpPr>
          <p:cNvPr id="7" name="Google Shape;7;n"/>
          <p:cNvSpPr txBox="1">
            <a:spLocks noGrp="1"/>
          </p:cNvSpPr>
          <p:nvPr>
            <p:ph type="ftr" idx="11"/>
          </p:nvPr>
        </p:nvSpPr>
        <p:spPr>
          <a:xfrm>
            <a:off x="0" y="8829967"/>
            <a:ext cx="3037840" cy="466433"/>
          </a:xfrm>
          <a:prstGeom prst="rect">
            <a:avLst/>
          </a:prstGeom>
          <a:noFill/>
          <a:ln>
            <a:noFill/>
          </a:ln>
        </p:spPr>
        <p:txBody>
          <a:bodyPr spcFirstLastPara="1" wrap="square" lIns="93162" tIns="46568" rIns="93162" bIns="46568" anchor="b" anchorCtr="0">
            <a:noAutofit/>
          </a:bodyPr>
          <a:lstStyle>
            <a:lvl1pPr marR="0" lvl="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8" name="Google Shape;8;n"/>
          <p:cNvSpPr txBox="1">
            <a:spLocks noGrp="1"/>
          </p:cNvSpPr>
          <p:nvPr>
            <p:ph type="sldNum" idx="12"/>
          </p:nvPr>
        </p:nvSpPr>
        <p:spPr>
          <a:xfrm>
            <a:off x="3970938" y="8829967"/>
            <a:ext cx="3037840" cy="466433"/>
          </a:xfrm>
          <a:prstGeom prst="rect">
            <a:avLst/>
          </a:prstGeom>
          <a:noFill/>
          <a:ln>
            <a:noFill/>
          </a:ln>
        </p:spPr>
        <p:txBody>
          <a:bodyPr spcFirstLastPara="1" wrap="square" lIns="93162" tIns="46568" rIns="93162" bIns="46568" anchor="b" anchorCtr="0">
            <a:noAutofit/>
          </a:bodyPr>
          <a:lstStyle/>
          <a:p>
            <a:pPr algn="r"/>
            <a:fld id="{00000000-1234-1234-1234-123412341234}" type="slidenum">
              <a:rPr lang="en-US" sz="1200" smtClean="0">
                <a:solidFill>
                  <a:schemeClr val="dk1"/>
                </a:solidFill>
                <a:latin typeface="Calibri"/>
                <a:ea typeface="Calibri"/>
                <a:cs typeface="Calibri"/>
                <a:sym typeface="Calibri"/>
              </a:rPr>
              <a:pPr algn="r"/>
              <a:t>‹#›</a:t>
            </a:fld>
            <a:endParaRPr lang="en-US" sz="1200">
              <a:solidFill>
                <a:schemeClr val="dk1"/>
              </a:solidFill>
              <a:latin typeface="Calibri"/>
              <a:ea typeface="Calibri"/>
              <a:cs typeface="Calibri"/>
              <a:sym typeface="Calibri"/>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0"/>
        <p:cNvGrpSpPr/>
        <p:nvPr/>
      </p:nvGrpSpPr>
      <p:grpSpPr>
        <a:xfrm>
          <a:off x="0" y="0"/>
          <a:ext cx="0" cy="0"/>
          <a:chOff x="0" y="0"/>
          <a:chExt cx="0" cy="0"/>
        </a:xfrm>
      </p:grpSpPr>
      <p:sp>
        <p:nvSpPr>
          <p:cNvPr id="181" name="Google Shape;181;p1:notes"/>
          <p:cNvSpPr txBox="1">
            <a:spLocks noGrp="1"/>
          </p:cNvSpPr>
          <p:nvPr>
            <p:ph type="body" idx="1"/>
          </p:nvPr>
        </p:nvSpPr>
        <p:spPr>
          <a:xfrm>
            <a:off x="701040" y="4473892"/>
            <a:ext cx="5608320" cy="3660458"/>
          </a:xfrm>
          <a:prstGeom prst="rect">
            <a:avLst/>
          </a:prstGeom>
        </p:spPr>
        <p:txBody>
          <a:bodyPr spcFirstLastPara="1" wrap="square" lIns="93162" tIns="46568" rIns="93162" bIns="46568" anchor="t" anchorCtr="0">
            <a:noAutofit/>
          </a:bodyPr>
          <a:lstStyle/>
          <a:p>
            <a:pPr marL="0" indent="0"/>
            <a:endParaRPr/>
          </a:p>
        </p:txBody>
      </p:sp>
      <p:sp>
        <p:nvSpPr>
          <p:cNvPr id="182" name="Google Shape;182;p1:notes"/>
          <p:cNvSpPr>
            <a:spLocks noGrp="1" noRot="1" noChangeAspect="1"/>
          </p:cNvSpPr>
          <p:nvPr>
            <p:ph type="sldImg" idx="2"/>
          </p:nvPr>
        </p:nvSpPr>
        <p:spPr>
          <a:xfrm>
            <a:off x="717550" y="1162050"/>
            <a:ext cx="5575300" cy="31369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10"/>
        <p:cNvGrpSpPr/>
        <p:nvPr/>
      </p:nvGrpSpPr>
      <p:grpSpPr>
        <a:xfrm>
          <a:off x="0" y="0"/>
          <a:ext cx="0" cy="0"/>
          <a:chOff x="0" y="0"/>
          <a:chExt cx="0" cy="0"/>
        </a:xfrm>
      </p:grpSpPr>
      <p:sp>
        <p:nvSpPr>
          <p:cNvPr id="611" name="Google Shape;611;p15:notes"/>
          <p:cNvSpPr txBox="1">
            <a:spLocks noGrp="1"/>
          </p:cNvSpPr>
          <p:nvPr>
            <p:ph type="body" idx="1"/>
          </p:nvPr>
        </p:nvSpPr>
        <p:spPr>
          <a:xfrm>
            <a:off x="701040" y="4473892"/>
            <a:ext cx="5608320" cy="3660458"/>
          </a:xfrm>
          <a:prstGeom prst="rect">
            <a:avLst/>
          </a:prstGeom>
          <a:noFill/>
          <a:ln>
            <a:noFill/>
          </a:ln>
        </p:spPr>
        <p:txBody>
          <a:bodyPr spcFirstLastPara="1" wrap="square" lIns="93162" tIns="46568" rIns="93162" bIns="46568" anchor="t" anchorCtr="0">
            <a:noAutofit/>
          </a:bodyPr>
          <a:lstStyle/>
          <a:p>
            <a:pPr marL="0" indent="0">
              <a:buClr>
                <a:schemeClr val="dk1"/>
              </a:buClr>
            </a:pPr>
            <a:endParaRPr/>
          </a:p>
        </p:txBody>
      </p:sp>
      <p:sp>
        <p:nvSpPr>
          <p:cNvPr id="612" name="Google Shape;612;p15:notes"/>
          <p:cNvSpPr>
            <a:spLocks noGrp="1" noRot="1" noChangeAspect="1"/>
          </p:cNvSpPr>
          <p:nvPr>
            <p:ph type="sldImg" idx="2"/>
          </p:nvPr>
        </p:nvSpPr>
        <p:spPr>
          <a:xfrm>
            <a:off x="717550" y="1162050"/>
            <a:ext cx="5575300" cy="31369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53959176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10"/>
        <p:cNvGrpSpPr/>
        <p:nvPr/>
      </p:nvGrpSpPr>
      <p:grpSpPr>
        <a:xfrm>
          <a:off x="0" y="0"/>
          <a:ext cx="0" cy="0"/>
          <a:chOff x="0" y="0"/>
          <a:chExt cx="0" cy="0"/>
        </a:xfrm>
      </p:grpSpPr>
      <p:sp>
        <p:nvSpPr>
          <p:cNvPr id="611" name="Google Shape;611;p15:notes"/>
          <p:cNvSpPr txBox="1">
            <a:spLocks noGrp="1"/>
          </p:cNvSpPr>
          <p:nvPr>
            <p:ph type="body" idx="1"/>
          </p:nvPr>
        </p:nvSpPr>
        <p:spPr>
          <a:xfrm>
            <a:off x="701040" y="4473892"/>
            <a:ext cx="5608320" cy="3660458"/>
          </a:xfrm>
          <a:prstGeom prst="rect">
            <a:avLst/>
          </a:prstGeom>
          <a:noFill/>
          <a:ln>
            <a:noFill/>
          </a:ln>
        </p:spPr>
        <p:txBody>
          <a:bodyPr spcFirstLastPara="1" wrap="square" lIns="93162" tIns="46568" rIns="93162" bIns="46568" anchor="t" anchorCtr="0">
            <a:noAutofit/>
          </a:bodyPr>
          <a:lstStyle/>
          <a:p>
            <a:pPr marL="0" indent="0">
              <a:buClr>
                <a:schemeClr val="dk1"/>
              </a:buClr>
            </a:pPr>
            <a:endParaRPr/>
          </a:p>
        </p:txBody>
      </p:sp>
      <p:sp>
        <p:nvSpPr>
          <p:cNvPr id="612" name="Google Shape;612;p15:notes"/>
          <p:cNvSpPr>
            <a:spLocks noGrp="1" noRot="1" noChangeAspect="1"/>
          </p:cNvSpPr>
          <p:nvPr>
            <p:ph type="sldImg" idx="2"/>
          </p:nvPr>
        </p:nvSpPr>
        <p:spPr>
          <a:xfrm>
            <a:off x="717550" y="1162050"/>
            <a:ext cx="5575300" cy="31369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322304335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10"/>
        <p:cNvGrpSpPr/>
        <p:nvPr/>
      </p:nvGrpSpPr>
      <p:grpSpPr>
        <a:xfrm>
          <a:off x="0" y="0"/>
          <a:ext cx="0" cy="0"/>
          <a:chOff x="0" y="0"/>
          <a:chExt cx="0" cy="0"/>
        </a:xfrm>
      </p:grpSpPr>
      <p:sp>
        <p:nvSpPr>
          <p:cNvPr id="611" name="Google Shape;611;p15:notes"/>
          <p:cNvSpPr txBox="1">
            <a:spLocks noGrp="1"/>
          </p:cNvSpPr>
          <p:nvPr>
            <p:ph type="body" idx="1"/>
          </p:nvPr>
        </p:nvSpPr>
        <p:spPr>
          <a:xfrm>
            <a:off x="701040" y="4473892"/>
            <a:ext cx="5608320" cy="3660458"/>
          </a:xfrm>
          <a:prstGeom prst="rect">
            <a:avLst/>
          </a:prstGeom>
          <a:noFill/>
          <a:ln>
            <a:noFill/>
          </a:ln>
        </p:spPr>
        <p:txBody>
          <a:bodyPr spcFirstLastPara="1" wrap="square" lIns="93162" tIns="46568" rIns="93162" bIns="46568" anchor="t" anchorCtr="0">
            <a:noAutofit/>
          </a:bodyPr>
          <a:lstStyle/>
          <a:p>
            <a:pPr marL="0" indent="0">
              <a:buClr>
                <a:schemeClr val="dk1"/>
              </a:buClr>
            </a:pPr>
            <a:endParaRPr/>
          </a:p>
        </p:txBody>
      </p:sp>
      <p:sp>
        <p:nvSpPr>
          <p:cNvPr id="612" name="Google Shape;612;p15:notes"/>
          <p:cNvSpPr>
            <a:spLocks noGrp="1" noRot="1" noChangeAspect="1"/>
          </p:cNvSpPr>
          <p:nvPr>
            <p:ph type="sldImg" idx="2"/>
          </p:nvPr>
        </p:nvSpPr>
        <p:spPr>
          <a:xfrm>
            <a:off x="717550" y="1162050"/>
            <a:ext cx="5575300" cy="31369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94923125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68"/>
        <p:cNvGrpSpPr/>
        <p:nvPr/>
      </p:nvGrpSpPr>
      <p:grpSpPr>
        <a:xfrm>
          <a:off x="0" y="0"/>
          <a:ext cx="0" cy="0"/>
          <a:chOff x="0" y="0"/>
          <a:chExt cx="0" cy="0"/>
        </a:xfrm>
      </p:grpSpPr>
      <p:sp>
        <p:nvSpPr>
          <p:cNvPr id="569" name="Google Shape;569;p12:notes"/>
          <p:cNvSpPr txBox="1">
            <a:spLocks noGrp="1"/>
          </p:cNvSpPr>
          <p:nvPr>
            <p:ph type="body" idx="1"/>
          </p:nvPr>
        </p:nvSpPr>
        <p:spPr>
          <a:xfrm>
            <a:off x="701040" y="4473892"/>
            <a:ext cx="5608320" cy="3660458"/>
          </a:xfrm>
          <a:prstGeom prst="rect">
            <a:avLst/>
          </a:prstGeom>
          <a:noFill/>
          <a:ln>
            <a:noFill/>
          </a:ln>
        </p:spPr>
        <p:txBody>
          <a:bodyPr spcFirstLastPara="1" wrap="square" lIns="93162" tIns="46568" rIns="93162" bIns="46568" anchor="t" anchorCtr="0">
            <a:noAutofit/>
          </a:bodyPr>
          <a:lstStyle/>
          <a:p>
            <a:pPr marL="0" indent="0">
              <a:buClr>
                <a:schemeClr val="dk1"/>
              </a:buClr>
            </a:pPr>
            <a:endParaRPr/>
          </a:p>
        </p:txBody>
      </p:sp>
      <p:sp>
        <p:nvSpPr>
          <p:cNvPr id="570" name="Google Shape;570;p12:notes"/>
          <p:cNvSpPr>
            <a:spLocks noGrp="1" noRot="1" noChangeAspect="1"/>
          </p:cNvSpPr>
          <p:nvPr>
            <p:ph type="sldImg" idx="2"/>
          </p:nvPr>
        </p:nvSpPr>
        <p:spPr>
          <a:xfrm>
            <a:off x="717550" y="1162050"/>
            <a:ext cx="5575300" cy="31369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85158703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56"/>
        <p:cNvGrpSpPr/>
        <p:nvPr/>
      </p:nvGrpSpPr>
      <p:grpSpPr>
        <a:xfrm>
          <a:off x="0" y="0"/>
          <a:ext cx="0" cy="0"/>
          <a:chOff x="0" y="0"/>
          <a:chExt cx="0" cy="0"/>
        </a:xfrm>
      </p:grpSpPr>
      <p:sp>
        <p:nvSpPr>
          <p:cNvPr id="457" name="Google Shape;457;p8:notes"/>
          <p:cNvSpPr txBox="1">
            <a:spLocks noGrp="1"/>
          </p:cNvSpPr>
          <p:nvPr>
            <p:ph type="body" idx="1"/>
          </p:nvPr>
        </p:nvSpPr>
        <p:spPr>
          <a:xfrm>
            <a:off x="701040" y="4473892"/>
            <a:ext cx="5608320" cy="3660458"/>
          </a:xfrm>
          <a:prstGeom prst="rect">
            <a:avLst/>
          </a:prstGeom>
        </p:spPr>
        <p:txBody>
          <a:bodyPr spcFirstLastPara="1" wrap="square" lIns="93162" tIns="46568" rIns="93162" bIns="46568" anchor="t" anchorCtr="0">
            <a:noAutofit/>
          </a:bodyPr>
          <a:lstStyle/>
          <a:p>
            <a:pPr marL="0" indent="0"/>
            <a:endParaRPr/>
          </a:p>
        </p:txBody>
      </p:sp>
      <p:sp>
        <p:nvSpPr>
          <p:cNvPr id="458" name="Google Shape;458;p8:notes"/>
          <p:cNvSpPr>
            <a:spLocks noGrp="1" noRot="1" noChangeAspect="1"/>
          </p:cNvSpPr>
          <p:nvPr>
            <p:ph type="sldImg" idx="2"/>
          </p:nvPr>
        </p:nvSpPr>
        <p:spPr>
          <a:xfrm>
            <a:off x="717550" y="1162050"/>
            <a:ext cx="5575300" cy="31369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56"/>
        <p:cNvGrpSpPr/>
        <p:nvPr/>
      </p:nvGrpSpPr>
      <p:grpSpPr>
        <a:xfrm>
          <a:off x="0" y="0"/>
          <a:ext cx="0" cy="0"/>
          <a:chOff x="0" y="0"/>
          <a:chExt cx="0" cy="0"/>
        </a:xfrm>
      </p:grpSpPr>
      <p:sp>
        <p:nvSpPr>
          <p:cNvPr id="457" name="Google Shape;457;p8:notes"/>
          <p:cNvSpPr txBox="1">
            <a:spLocks noGrp="1"/>
          </p:cNvSpPr>
          <p:nvPr>
            <p:ph type="body" idx="1"/>
          </p:nvPr>
        </p:nvSpPr>
        <p:spPr>
          <a:xfrm>
            <a:off x="701040" y="4473892"/>
            <a:ext cx="5608320" cy="3660458"/>
          </a:xfrm>
          <a:prstGeom prst="rect">
            <a:avLst/>
          </a:prstGeom>
        </p:spPr>
        <p:txBody>
          <a:bodyPr spcFirstLastPara="1" wrap="square" lIns="93162" tIns="46568" rIns="93162" bIns="46568" anchor="t" anchorCtr="0">
            <a:noAutofit/>
          </a:bodyPr>
          <a:lstStyle/>
          <a:p>
            <a:pPr marL="0" indent="0"/>
            <a:endParaRPr/>
          </a:p>
        </p:txBody>
      </p:sp>
      <p:sp>
        <p:nvSpPr>
          <p:cNvPr id="458" name="Google Shape;458;p8:notes"/>
          <p:cNvSpPr>
            <a:spLocks noGrp="1" noRot="1" noChangeAspect="1"/>
          </p:cNvSpPr>
          <p:nvPr>
            <p:ph type="sldImg" idx="2"/>
          </p:nvPr>
        </p:nvSpPr>
        <p:spPr>
          <a:xfrm>
            <a:off x="717550" y="1162050"/>
            <a:ext cx="5575300" cy="31369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98459720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88"/>
        <p:cNvGrpSpPr/>
        <p:nvPr/>
      </p:nvGrpSpPr>
      <p:grpSpPr>
        <a:xfrm>
          <a:off x="0" y="0"/>
          <a:ext cx="0" cy="0"/>
          <a:chOff x="0" y="0"/>
          <a:chExt cx="0" cy="0"/>
        </a:xfrm>
      </p:grpSpPr>
      <p:sp>
        <p:nvSpPr>
          <p:cNvPr id="689" name="Google Shape;689;p20:notes"/>
          <p:cNvSpPr txBox="1">
            <a:spLocks noGrp="1"/>
          </p:cNvSpPr>
          <p:nvPr>
            <p:ph type="body" idx="1"/>
          </p:nvPr>
        </p:nvSpPr>
        <p:spPr>
          <a:xfrm>
            <a:off x="701040" y="4473892"/>
            <a:ext cx="5608320" cy="3660458"/>
          </a:xfrm>
          <a:prstGeom prst="rect">
            <a:avLst/>
          </a:prstGeom>
        </p:spPr>
        <p:txBody>
          <a:bodyPr spcFirstLastPara="1" wrap="square" lIns="93162" tIns="46568" rIns="93162" bIns="46568" anchor="t" anchorCtr="0">
            <a:noAutofit/>
          </a:bodyPr>
          <a:lstStyle/>
          <a:p>
            <a:pPr marL="0" indent="0"/>
            <a:endParaRPr/>
          </a:p>
        </p:txBody>
      </p:sp>
      <p:sp>
        <p:nvSpPr>
          <p:cNvPr id="690" name="Google Shape;690;p20:notes"/>
          <p:cNvSpPr>
            <a:spLocks noGrp="1" noRot="1" noChangeAspect="1"/>
          </p:cNvSpPr>
          <p:nvPr>
            <p:ph type="sldImg" idx="2"/>
          </p:nvPr>
        </p:nvSpPr>
        <p:spPr>
          <a:xfrm>
            <a:off x="717550" y="1162050"/>
            <a:ext cx="5575300" cy="31369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88"/>
        <p:cNvGrpSpPr/>
        <p:nvPr/>
      </p:nvGrpSpPr>
      <p:grpSpPr>
        <a:xfrm>
          <a:off x="0" y="0"/>
          <a:ext cx="0" cy="0"/>
          <a:chOff x="0" y="0"/>
          <a:chExt cx="0" cy="0"/>
        </a:xfrm>
      </p:grpSpPr>
      <p:sp>
        <p:nvSpPr>
          <p:cNvPr id="689" name="Google Shape;689;p20:notes"/>
          <p:cNvSpPr txBox="1">
            <a:spLocks noGrp="1"/>
          </p:cNvSpPr>
          <p:nvPr>
            <p:ph type="body" idx="1"/>
          </p:nvPr>
        </p:nvSpPr>
        <p:spPr>
          <a:xfrm>
            <a:off x="701040" y="4473892"/>
            <a:ext cx="5608320" cy="3660458"/>
          </a:xfrm>
          <a:prstGeom prst="rect">
            <a:avLst/>
          </a:prstGeom>
        </p:spPr>
        <p:txBody>
          <a:bodyPr spcFirstLastPara="1" wrap="square" lIns="93162" tIns="46568" rIns="93162" bIns="46568" anchor="t" anchorCtr="0">
            <a:noAutofit/>
          </a:bodyPr>
          <a:lstStyle/>
          <a:p>
            <a:pPr marL="0" indent="0"/>
            <a:endParaRPr/>
          </a:p>
        </p:txBody>
      </p:sp>
      <p:sp>
        <p:nvSpPr>
          <p:cNvPr id="690" name="Google Shape;690;p20:notes"/>
          <p:cNvSpPr>
            <a:spLocks noGrp="1" noRot="1" noChangeAspect="1"/>
          </p:cNvSpPr>
          <p:nvPr>
            <p:ph type="sldImg" idx="2"/>
          </p:nvPr>
        </p:nvSpPr>
        <p:spPr>
          <a:xfrm>
            <a:off x="717550" y="1162050"/>
            <a:ext cx="5575300" cy="31369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35899586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88"/>
        <p:cNvGrpSpPr/>
        <p:nvPr/>
      </p:nvGrpSpPr>
      <p:grpSpPr>
        <a:xfrm>
          <a:off x="0" y="0"/>
          <a:ext cx="0" cy="0"/>
          <a:chOff x="0" y="0"/>
          <a:chExt cx="0" cy="0"/>
        </a:xfrm>
      </p:grpSpPr>
      <p:sp>
        <p:nvSpPr>
          <p:cNvPr id="689" name="Google Shape;689;p20:notes"/>
          <p:cNvSpPr txBox="1">
            <a:spLocks noGrp="1"/>
          </p:cNvSpPr>
          <p:nvPr>
            <p:ph type="body" idx="1"/>
          </p:nvPr>
        </p:nvSpPr>
        <p:spPr>
          <a:xfrm>
            <a:off x="701040" y="4473892"/>
            <a:ext cx="5608320" cy="3660458"/>
          </a:xfrm>
          <a:prstGeom prst="rect">
            <a:avLst/>
          </a:prstGeom>
        </p:spPr>
        <p:txBody>
          <a:bodyPr spcFirstLastPara="1" wrap="square" lIns="93162" tIns="46568" rIns="93162" bIns="46568" anchor="t" anchorCtr="0">
            <a:noAutofit/>
          </a:bodyPr>
          <a:lstStyle/>
          <a:p>
            <a:pPr marL="0" indent="0"/>
            <a:endParaRPr/>
          </a:p>
        </p:txBody>
      </p:sp>
      <p:sp>
        <p:nvSpPr>
          <p:cNvPr id="690" name="Google Shape;690;p20:notes"/>
          <p:cNvSpPr>
            <a:spLocks noGrp="1" noRot="1" noChangeAspect="1"/>
          </p:cNvSpPr>
          <p:nvPr>
            <p:ph type="sldImg" idx="2"/>
          </p:nvPr>
        </p:nvSpPr>
        <p:spPr>
          <a:xfrm>
            <a:off x="717550" y="1162050"/>
            <a:ext cx="5575300" cy="31369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79868822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00"/>
        <p:cNvGrpSpPr/>
        <p:nvPr/>
      </p:nvGrpSpPr>
      <p:grpSpPr>
        <a:xfrm>
          <a:off x="0" y="0"/>
          <a:ext cx="0" cy="0"/>
          <a:chOff x="0" y="0"/>
          <a:chExt cx="0" cy="0"/>
        </a:xfrm>
      </p:grpSpPr>
      <p:sp>
        <p:nvSpPr>
          <p:cNvPr id="701" name="Google Shape;701;p21:notes"/>
          <p:cNvSpPr txBox="1">
            <a:spLocks noGrp="1"/>
          </p:cNvSpPr>
          <p:nvPr>
            <p:ph type="body" idx="1"/>
          </p:nvPr>
        </p:nvSpPr>
        <p:spPr>
          <a:xfrm>
            <a:off x="701040" y="4473892"/>
            <a:ext cx="5608320" cy="3660458"/>
          </a:xfrm>
          <a:prstGeom prst="rect">
            <a:avLst/>
          </a:prstGeom>
        </p:spPr>
        <p:txBody>
          <a:bodyPr spcFirstLastPara="1" wrap="square" lIns="93162" tIns="46568" rIns="93162" bIns="46568" anchor="t" anchorCtr="0">
            <a:noAutofit/>
          </a:bodyPr>
          <a:lstStyle/>
          <a:p>
            <a:pPr marL="0" indent="0"/>
            <a:endParaRPr/>
          </a:p>
        </p:txBody>
      </p:sp>
      <p:sp>
        <p:nvSpPr>
          <p:cNvPr id="702" name="Google Shape;702;p21:notes"/>
          <p:cNvSpPr>
            <a:spLocks noGrp="1" noRot="1" noChangeAspect="1"/>
          </p:cNvSpPr>
          <p:nvPr>
            <p:ph type="sldImg" idx="2"/>
          </p:nvPr>
        </p:nvSpPr>
        <p:spPr>
          <a:xfrm>
            <a:off x="717550" y="1162050"/>
            <a:ext cx="5575300" cy="31369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7"/>
        <p:cNvGrpSpPr/>
        <p:nvPr/>
      </p:nvGrpSpPr>
      <p:grpSpPr>
        <a:xfrm>
          <a:off x="0" y="0"/>
          <a:ext cx="0" cy="0"/>
          <a:chOff x="0" y="0"/>
          <a:chExt cx="0" cy="0"/>
        </a:xfrm>
      </p:grpSpPr>
      <p:sp>
        <p:nvSpPr>
          <p:cNvPr id="188" name="Google Shape;188;p2:notes"/>
          <p:cNvSpPr txBox="1">
            <a:spLocks noGrp="1"/>
          </p:cNvSpPr>
          <p:nvPr>
            <p:ph type="body" idx="1"/>
          </p:nvPr>
        </p:nvSpPr>
        <p:spPr>
          <a:xfrm>
            <a:off x="701040" y="4473892"/>
            <a:ext cx="5608320" cy="3660458"/>
          </a:xfrm>
          <a:prstGeom prst="rect">
            <a:avLst/>
          </a:prstGeom>
        </p:spPr>
        <p:txBody>
          <a:bodyPr spcFirstLastPara="1" wrap="square" lIns="93162" tIns="46568" rIns="93162" bIns="46568" anchor="t" anchorCtr="0">
            <a:noAutofit/>
          </a:bodyPr>
          <a:lstStyle/>
          <a:p>
            <a:pPr marL="0" indent="0"/>
            <a:endParaRPr/>
          </a:p>
        </p:txBody>
      </p:sp>
      <p:sp>
        <p:nvSpPr>
          <p:cNvPr id="189" name="Google Shape;189;p2:notes"/>
          <p:cNvSpPr>
            <a:spLocks noGrp="1" noRot="1" noChangeAspect="1"/>
          </p:cNvSpPr>
          <p:nvPr>
            <p:ph type="sldImg" idx="2"/>
          </p:nvPr>
        </p:nvSpPr>
        <p:spPr>
          <a:xfrm>
            <a:off x="717550" y="1162050"/>
            <a:ext cx="5575300" cy="31369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63"/>
        <p:cNvGrpSpPr/>
        <p:nvPr/>
      </p:nvGrpSpPr>
      <p:grpSpPr>
        <a:xfrm>
          <a:off x="0" y="0"/>
          <a:ext cx="0" cy="0"/>
          <a:chOff x="0" y="0"/>
          <a:chExt cx="0" cy="0"/>
        </a:xfrm>
      </p:grpSpPr>
      <p:sp>
        <p:nvSpPr>
          <p:cNvPr id="464" name="Google Shape;464;p9:notes"/>
          <p:cNvSpPr txBox="1">
            <a:spLocks noGrp="1"/>
          </p:cNvSpPr>
          <p:nvPr>
            <p:ph type="body" idx="1"/>
          </p:nvPr>
        </p:nvSpPr>
        <p:spPr>
          <a:xfrm>
            <a:off x="701040" y="4473892"/>
            <a:ext cx="5608320" cy="3660458"/>
          </a:xfrm>
          <a:prstGeom prst="rect">
            <a:avLst/>
          </a:prstGeom>
        </p:spPr>
        <p:txBody>
          <a:bodyPr spcFirstLastPara="1" wrap="square" lIns="93162" tIns="46568" rIns="93162" bIns="46568" anchor="t" anchorCtr="0">
            <a:noAutofit/>
          </a:bodyPr>
          <a:lstStyle/>
          <a:p>
            <a:pPr marL="0" indent="0"/>
            <a:endParaRPr/>
          </a:p>
        </p:txBody>
      </p:sp>
      <p:sp>
        <p:nvSpPr>
          <p:cNvPr id="465" name="Google Shape;465;p9:notes"/>
          <p:cNvSpPr>
            <a:spLocks noGrp="1" noRot="1" noChangeAspect="1"/>
          </p:cNvSpPr>
          <p:nvPr>
            <p:ph type="sldImg" idx="2"/>
          </p:nvPr>
        </p:nvSpPr>
        <p:spPr>
          <a:xfrm>
            <a:off x="717550" y="1162050"/>
            <a:ext cx="5575300" cy="31369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20371975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39"/>
        <p:cNvGrpSpPr/>
        <p:nvPr/>
      </p:nvGrpSpPr>
      <p:grpSpPr>
        <a:xfrm>
          <a:off x="0" y="0"/>
          <a:ext cx="0" cy="0"/>
          <a:chOff x="0" y="0"/>
          <a:chExt cx="0" cy="0"/>
        </a:xfrm>
      </p:grpSpPr>
      <p:sp>
        <p:nvSpPr>
          <p:cNvPr id="340" name="Google Shape;340;p7:notes"/>
          <p:cNvSpPr txBox="1">
            <a:spLocks noGrp="1"/>
          </p:cNvSpPr>
          <p:nvPr>
            <p:ph type="body" idx="1"/>
          </p:nvPr>
        </p:nvSpPr>
        <p:spPr>
          <a:xfrm>
            <a:off x="701040" y="4473892"/>
            <a:ext cx="5608320" cy="3660458"/>
          </a:xfrm>
          <a:prstGeom prst="rect">
            <a:avLst/>
          </a:prstGeom>
        </p:spPr>
        <p:txBody>
          <a:bodyPr spcFirstLastPara="1" wrap="square" lIns="93162" tIns="46568" rIns="93162" bIns="46568" anchor="t" anchorCtr="0">
            <a:noAutofit/>
          </a:bodyPr>
          <a:lstStyle/>
          <a:p>
            <a:pPr marL="0" indent="0"/>
            <a:endParaRPr/>
          </a:p>
        </p:txBody>
      </p:sp>
      <p:sp>
        <p:nvSpPr>
          <p:cNvPr id="341" name="Google Shape;341;p7:notes"/>
          <p:cNvSpPr>
            <a:spLocks noGrp="1" noRot="1" noChangeAspect="1"/>
          </p:cNvSpPr>
          <p:nvPr>
            <p:ph type="sldImg" idx="2"/>
          </p:nvPr>
        </p:nvSpPr>
        <p:spPr>
          <a:xfrm>
            <a:off x="717550" y="1162050"/>
            <a:ext cx="5575300" cy="31369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30446292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47"/>
        <p:cNvGrpSpPr/>
        <p:nvPr/>
      </p:nvGrpSpPr>
      <p:grpSpPr>
        <a:xfrm>
          <a:off x="0" y="0"/>
          <a:ext cx="0" cy="0"/>
          <a:chOff x="0" y="0"/>
          <a:chExt cx="0" cy="0"/>
        </a:xfrm>
      </p:grpSpPr>
      <p:sp>
        <p:nvSpPr>
          <p:cNvPr id="848" name="Google Shape;848;p24:notes"/>
          <p:cNvSpPr txBox="1">
            <a:spLocks noGrp="1"/>
          </p:cNvSpPr>
          <p:nvPr>
            <p:ph type="body" idx="1"/>
          </p:nvPr>
        </p:nvSpPr>
        <p:spPr>
          <a:xfrm>
            <a:off x="701040" y="4473892"/>
            <a:ext cx="5608320" cy="3660458"/>
          </a:xfrm>
          <a:prstGeom prst="rect">
            <a:avLst/>
          </a:prstGeom>
        </p:spPr>
        <p:txBody>
          <a:bodyPr spcFirstLastPara="1" wrap="square" lIns="93162" tIns="46568" rIns="93162" bIns="46568" anchor="t" anchorCtr="0">
            <a:noAutofit/>
          </a:bodyPr>
          <a:lstStyle/>
          <a:p>
            <a:pPr marL="0" indent="0"/>
            <a:endParaRPr/>
          </a:p>
        </p:txBody>
      </p:sp>
      <p:sp>
        <p:nvSpPr>
          <p:cNvPr id="849" name="Google Shape;849;p24:notes"/>
          <p:cNvSpPr>
            <a:spLocks noGrp="1" noRot="1" noChangeAspect="1"/>
          </p:cNvSpPr>
          <p:nvPr>
            <p:ph type="sldImg" idx="2"/>
          </p:nvPr>
        </p:nvSpPr>
        <p:spPr>
          <a:xfrm>
            <a:off x="717550" y="1162050"/>
            <a:ext cx="5575300" cy="31369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54"/>
        <p:cNvGrpSpPr/>
        <p:nvPr/>
      </p:nvGrpSpPr>
      <p:grpSpPr>
        <a:xfrm>
          <a:off x="0" y="0"/>
          <a:ext cx="0" cy="0"/>
          <a:chOff x="0" y="0"/>
          <a:chExt cx="0" cy="0"/>
        </a:xfrm>
      </p:grpSpPr>
      <p:sp>
        <p:nvSpPr>
          <p:cNvPr id="855" name="Google Shape;855;p25:notes"/>
          <p:cNvSpPr txBox="1">
            <a:spLocks noGrp="1"/>
          </p:cNvSpPr>
          <p:nvPr>
            <p:ph type="body" idx="1"/>
          </p:nvPr>
        </p:nvSpPr>
        <p:spPr>
          <a:xfrm>
            <a:off x="701040" y="4473892"/>
            <a:ext cx="5608320" cy="3660458"/>
          </a:xfrm>
          <a:prstGeom prst="rect">
            <a:avLst/>
          </a:prstGeom>
        </p:spPr>
        <p:txBody>
          <a:bodyPr spcFirstLastPara="1" wrap="square" lIns="93162" tIns="46568" rIns="93162" bIns="46568" anchor="t" anchorCtr="0">
            <a:noAutofit/>
          </a:bodyPr>
          <a:lstStyle/>
          <a:p>
            <a:pPr marL="0" indent="0"/>
            <a:endParaRPr/>
          </a:p>
        </p:txBody>
      </p:sp>
      <p:sp>
        <p:nvSpPr>
          <p:cNvPr id="856" name="Google Shape;856;p25:notes"/>
          <p:cNvSpPr>
            <a:spLocks noGrp="1" noRot="1" noChangeAspect="1"/>
          </p:cNvSpPr>
          <p:nvPr>
            <p:ph type="sldImg" idx="2"/>
          </p:nvPr>
        </p:nvSpPr>
        <p:spPr>
          <a:xfrm>
            <a:off x="717550" y="1162050"/>
            <a:ext cx="5575300" cy="31369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22"/>
        <p:cNvGrpSpPr/>
        <p:nvPr/>
      </p:nvGrpSpPr>
      <p:grpSpPr>
        <a:xfrm>
          <a:off x="0" y="0"/>
          <a:ext cx="0" cy="0"/>
          <a:chOff x="0" y="0"/>
          <a:chExt cx="0" cy="0"/>
        </a:xfrm>
      </p:grpSpPr>
      <p:sp>
        <p:nvSpPr>
          <p:cNvPr id="923" name="Google Shape;923;p28:notes"/>
          <p:cNvSpPr txBox="1">
            <a:spLocks noGrp="1"/>
          </p:cNvSpPr>
          <p:nvPr>
            <p:ph type="body" idx="1"/>
          </p:nvPr>
        </p:nvSpPr>
        <p:spPr>
          <a:xfrm>
            <a:off x="701040" y="4473892"/>
            <a:ext cx="5608320" cy="3660458"/>
          </a:xfrm>
          <a:prstGeom prst="rect">
            <a:avLst/>
          </a:prstGeom>
        </p:spPr>
        <p:txBody>
          <a:bodyPr spcFirstLastPara="1" wrap="square" lIns="93162" tIns="46568" rIns="93162" bIns="46568" anchor="t" anchorCtr="0">
            <a:noAutofit/>
          </a:bodyPr>
          <a:lstStyle/>
          <a:p>
            <a:pPr marL="0" indent="0"/>
            <a:endParaRPr/>
          </a:p>
        </p:txBody>
      </p:sp>
      <p:sp>
        <p:nvSpPr>
          <p:cNvPr id="924" name="Google Shape;924;p28:notes"/>
          <p:cNvSpPr>
            <a:spLocks noGrp="1" noRot="1" noChangeAspect="1"/>
          </p:cNvSpPr>
          <p:nvPr>
            <p:ph type="sldImg" idx="2"/>
          </p:nvPr>
        </p:nvSpPr>
        <p:spPr>
          <a:xfrm>
            <a:off x="717550" y="1162050"/>
            <a:ext cx="5575300" cy="31369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42"/>
        <p:cNvGrpSpPr/>
        <p:nvPr/>
      </p:nvGrpSpPr>
      <p:grpSpPr>
        <a:xfrm>
          <a:off x="0" y="0"/>
          <a:ext cx="0" cy="0"/>
          <a:chOff x="0" y="0"/>
          <a:chExt cx="0" cy="0"/>
        </a:xfrm>
      </p:grpSpPr>
      <p:sp>
        <p:nvSpPr>
          <p:cNvPr id="643" name="Google Shape;643;p17:notes"/>
          <p:cNvSpPr>
            <a:spLocks noGrp="1" noRot="1" noChangeAspect="1"/>
          </p:cNvSpPr>
          <p:nvPr>
            <p:ph type="sldImg" idx="2"/>
          </p:nvPr>
        </p:nvSpPr>
        <p:spPr>
          <a:xfrm>
            <a:off x="717550" y="1162050"/>
            <a:ext cx="5575300" cy="31369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44" name="Google Shape;644;p17:notes"/>
          <p:cNvSpPr txBox="1">
            <a:spLocks noGrp="1"/>
          </p:cNvSpPr>
          <p:nvPr>
            <p:ph type="body" idx="1"/>
          </p:nvPr>
        </p:nvSpPr>
        <p:spPr>
          <a:xfrm>
            <a:off x="701040" y="4473892"/>
            <a:ext cx="5608320" cy="3660458"/>
          </a:xfrm>
          <a:prstGeom prst="rect">
            <a:avLst/>
          </a:prstGeom>
          <a:noFill/>
          <a:ln>
            <a:noFill/>
          </a:ln>
        </p:spPr>
        <p:txBody>
          <a:bodyPr spcFirstLastPara="1" wrap="square" lIns="93162" tIns="46568" rIns="93162" bIns="46568" anchor="t" anchorCtr="0">
            <a:noAutofit/>
          </a:bodyPr>
          <a:lstStyle/>
          <a:p>
            <a:pPr marL="0" indent="0">
              <a:buClr>
                <a:schemeClr val="dk1"/>
              </a:buClr>
            </a:pPr>
            <a:endParaRPr/>
          </a:p>
        </p:txBody>
      </p:sp>
      <p:sp>
        <p:nvSpPr>
          <p:cNvPr id="645" name="Google Shape;645;p17:notes"/>
          <p:cNvSpPr txBox="1">
            <a:spLocks noGrp="1"/>
          </p:cNvSpPr>
          <p:nvPr>
            <p:ph type="sldNum" idx="12"/>
          </p:nvPr>
        </p:nvSpPr>
        <p:spPr>
          <a:xfrm>
            <a:off x="3970938" y="8829967"/>
            <a:ext cx="3037840" cy="466433"/>
          </a:xfrm>
          <a:prstGeom prst="rect">
            <a:avLst/>
          </a:prstGeom>
          <a:noFill/>
          <a:ln>
            <a:noFill/>
          </a:ln>
        </p:spPr>
        <p:txBody>
          <a:bodyPr spcFirstLastPara="1" wrap="square" lIns="93162" tIns="46568" rIns="93162" bIns="46568" anchor="b" anchorCtr="0">
            <a:noAutofit/>
          </a:bodyPr>
          <a:lstStyle/>
          <a:p>
            <a:pPr algn="r">
              <a:buSzPts val="1200"/>
            </a:pPr>
            <a:fld id="{00000000-1234-1234-1234-123412341234}" type="slidenum">
              <a:rPr lang="en-US" sz="1200">
                <a:latin typeface="Calibri"/>
                <a:ea typeface="Calibri"/>
                <a:cs typeface="Calibri"/>
                <a:sym typeface="Calibri"/>
              </a:rPr>
              <a:pPr algn="r">
                <a:buSzPts val="1200"/>
              </a:pPr>
              <a:t>30</a:t>
            </a:fld>
            <a:endParaRPr sz="1200">
              <a:latin typeface="Calibri"/>
              <a:ea typeface="Calibri"/>
              <a:cs typeface="Calibri"/>
              <a:sym typeface="Calibri"/>
            </a:endParaRPr>
          </a:p>
        </p:txBody>
      </p:sp>
    </p:spTree>
    <p:extLst>
      <p:ext uri="{BB962C8B-B14F-4D97-AF65-F5344CB8AC3E}">
        <p14:creationId xmlns:p14="http://schemas.microsoft.com/office/powerpoint/2010/main" val="365837373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42"/>
        <p:cNvGrpSpPr/>
        <p:nvPr/>
      </p:nvGrpSpPr>
      <p:grpSpPr>
        <a:xfrm>
          <a:off x="0" y="0"/>
          <a:ext cx="0" cy="0"/>
          <a:chOff x="0" y="0"/>
          <a:chExt cx="0" cy="0"/>
        </a:xfrm>
      </p:grpSpPr>
      <p:sp>
        <p:nvSpPr>
          <p:cNvPr id="643" name="Google Shape;643;p17:notes"/>
          <p:cNvSpPr>
            <a:spLocks noGrp="1" noRot="1" noChangeAspect="1"/>
          </p:cNvSpPr>
          <p:nvPr>
            <p:ph type="sldImg" idx="2"/>
          </p:nvPr>
        </p:nvSpPr>
        <p:spPr>
          <a:xfrm>
            <a:off x="717550" y="1162050"/>
            <a:ext cx="5575300" cy="31369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44" name="Google Shape;644;p17:notes"/>
          <p:cNvSpPr txBox="1">
            <a:spLocks noGrp="1"/>
          </p:cNvSpPr>
          <p:nvPr>
            <p:ph type="body" idx="1"/>
          </p:nvPr>
        </p:nvSpPr>
        <p:spPr>
          <a:xfrm>
            <a:off x="701040" y="4473892"/>
            <a:ext cx="5608320" cy="3660458"/>
          </a:xfrm>
          <a:prstGeom prst="rect">
            <a:avLst/>
          </a:prstGeom>
          <a:noFill/>
          <a:ln>
            <a:noFill/>
          </a:ln>
        </p:spPr>
        <p:txBody>
          <a:bodyPr spcFirstLastPara="1" wrap="square" lIns="93162" tIns="46568" rIns="93162" bIns="46568" anchor="t" anchorCtr="0">
            <a:noAutofit/>
          </a:bodyPr>
          <a:lstStyle/>
          <a:p>
            <a:pPr marL="0" indent="0">
              <a:buClr>
                <a:schemeClr val="dk1"/>
              </a:buClr>
            </a:pPr>
            <a:endParaRPr/>
          </a:p>
        </p:txBody>
      </p:sp>
      <p:sp>
        <p:nvSpPr>
          <p:cNvPr id="645" name="Google Shape;645;p17:notes"/>
          <p:cNvSpPr txBox="1">
            <a:spLocks noGrp="1"/>
          </p:cNvSpPr>
          <p:nvPr>
            <p:ph type="sldNum" idx="12"/>
          </p:nvPr>
        </p:nvSpPr>
        <p:spPr>
          <a:xfrm>
            <a:off x="3970938" y="8829967"/>
            <a:ext cx="3037840" cy="466433"/>
          </a:xfrm>
          <a:prstGeom prst="rect">
            <a:avLst/>
          </a:prstGeom>
          <a:noFill/>
          <a:ln>
            <a:noFill/>
          </a:ln>
        </p:spPr>
        <p:txBody>
          <a:bodyPr spcFirstLastPara="1" wrap="square" lIns="93162" tIns="46568" rIns="93162" bIns="46568" anchor="b" anchorCtr="0">
            <a:noAutofit/>
          </a:bodyPr>
          <a:lstStyle/>
          <a:p>
            <a:pPr algn="r">
              <a:buSzPts val="1200"/>
            </a:pPr>
            <a:fld id="{00000000-1234-1234-1234-123412341234}" type="slidenum">
              <a:rPr lang="en-US" sz="1200">
                <a:latin typeface="Calibri"/>
                <a:ea typeface="Calibri"/>
                <a:cs typeface="Calibri"/>
                <a:sym typeface="Calibri"/>
              </a:rPr>
              <a:pPr algn="r">
                <a:buSzPts val="1200"/>
              </a:pPr>
              <a:t>31</a:t>
            </a:fld>
            <a:endParaRPr sz="1200">
              <a:latin typeface="Calibri"/>
              <a:ea typeface="Calibri"/>
              <a:cs typeface="Calibri"/>
              <a:sym typeface="Calibri"/>
            </a:endParaRPr>
          </a:p>
        </p:txBody>
      </p:sp>
    </p:spTree>
    <p:extLst>
      <p:ext uri="{BB962C8B-B14F-4D97-AF65-F5344CB8AC3E}">
        <p14:creationId xmlns:p14="http://schemas.microsoft.com/office/powerpoint/2010/main" val="52186031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42"/>
        <p:cNvGrpSpPr/>
        <p:nvPr/>
      </p:nvGrpSpPr>
      <p:grpSpPr>
        <a:xfrm>
          <a:off x="0" y="0"/>
          <a:ext cx="0" cy="0"/>
          <a:chOff x="0" y="0"/>
          <a:chExt cx="0" cy="0"/>
        </a:xfrm>
      </p:grpSpPr>
      <p:sp>
        <p:nvSpPr>
          <p:cNvPr id="643" name="Google Shape;643;p17:notes"/>
          <p:cNvSpPr>
            <a:spLocks noGrp="1" noRot="1" noChangeAspect="1"/>
          </p:cNvSpPr>
          <p:nvPr>
            <p:ph type="sldImg" idx="2"/>
          </p:nvPr>
        </p:nvSpPr>
        <p:spPr>
          <a:xfrm>
            <a:off x="717550" y="1162050"/>
            <a:ext cx="5575300" cy="31369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44" name="Google Shape;644;p17:notes"/>
          <p:cNvSpPr txBox="1">
            <a:spLocks noGrp="1"/>
          </p:cNvSpPr>
          <p:nvPr>
            <p:ph type="body" idx="1"/>
          </p:nvPr>
        </p:nvSpPr>
        <p:spPr>
          <a:xfrm>
            <a:off x="701040" y="4473892"/>
            <a:ext cx="5608320" cy="3660458"/>
          </a:xfrm>
          <a:prstGeom prst="rect">
            <a:avLst/>
          </a:prstGeom>
          <a:noFill/>
          <a:ln>
            <a:noFill/>
          </a:ln>
        </p:spPr>
        <p:txBody>
          <a:bodyPr spcFirstLastPara="1" wrap="square" lIns="93162" tIns="46568" rIns="93162" bIns="46568" anchor="t" anchorCtr="0">
            <a:noAutofit/>
          </a:bodyPr>
          <a:lstStyle/>
          <a:p>
            <a:pPr marL="0" indent="0">
              <a:buClr>
                <a:schemeClr val="dk1"/>
              </a:buClr>
            </a:pPr>
            <a:endParaRPr/>
          </a:p>
        </p:txBody>
      </p:sp>
      <p:sp>
        <p:nvSpPr>
          <p:cNvPr id="645" name="Google Shape;645;p17:notes"/>
          <p:cNvSpPr txBox="1">
            <a:spLocks noGrp="1"/>
          </p:cNvSpPr>
          <p:nvPr>
            <p:ph type="sldNum" idx="12"/>
          </p:nvPr>
        </p:nvSpPr>
        <p:spPr>
          <a:xfrm>
            <a:off x="3970938" y="8829967"/>
            <a:ext cx="3037840" cy="466433"/>
          </a:xfrm>
          <a:prstGeom prst="rect">
            <a:avLst/>
          </a:prstGeom>
          <a:noFill/>
          <a:ln>
            <a:noFill/>
          </a:ln>
        </p:spPr>
        <p:txBody>
          <a:bodyPr spcFirstLastPara="1" wrap="square" lIns="93162" tIns="46568" rIns="93162" bIns="46568" anchor="b" anchorCtr="0">
            <a:noAutofit/>
          </a:bodyPr>
          <a:lstStyle/>
          <a:p>
            <a:pPr algn="r">
              <a:buSzPts val="1200"/>
            </a:pPr>
            <a:fld id="{00000000-1234-1234-1234-123412341234}" type="slidenum">
              <a:rPr lang="en-US" sz="1200">
                <a:latin typeface="Calibri"/>
                <a:ea typeface="Calibri"/>
                <a:cs typeface="Calibri"/>
                <a:sym typeface="Calibri"/>
              </a:rPr>
              <a:pPr algn="r">
                <a:buSzPts val="1200"/>
              </a:pPr>
              <a:t>32</a:t>
            </a:fld>
            <a:endParaRPr sz="1200">
              <a:latin typeface="Calibri"/>
              <a:ea typeface="Calibri"/>
              <a:cs typeface="Calibri"/>
              <a:sym typeface="Calibri"/>
            </a:endParaRPr>
          </a:p>
        </p:txBody>
      </p:sp>
    </p:spTree>
    <p:extLst>
      <p:ext uri="{BB962C8B-B14F-4D97-AF65-F5344CB8AC3E}">
        <p14:creationId xmlns:p14="http://schemas.microsoft.com/office/powerpoint/2010/main" val="1177051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68"/>
        <p:cNvGrpSpPr/>
        <p:nvPr/>
      </p:nvGrpSpPr>
      <p:grpSpPr>
        <a:xfrm>
          <a:off x="0" y="0"/>
          <a:ext cx="0" cy="0"/>
          <a:chOff x="0" y="0"/>
          <a:chExt cx="0" cy="0"/>
        </a:xfrm>
      </p:grpSpPr>
      <p:sp>
        <p:nvSpPr>
          <p:cNvPr id="569" name="Google Shape;569;p12:notes"/>
          <p:cNvSpPr txBox="1">
            <a:spLocks noGrp="1"/>
          </p:cNvSpPr>
          <p:nvPr>
            <p:ph type="body" idx="1"/>
          </p:nvPr>
        </p:nvSpPr>
        <p:spPr>
          <a:xfrm>
            <a:off x="701040" y="4473892"/>
            <a:ext cx="5608320" cy="3660458"/>
          </a:xfrm>
          <a:prstGeom prst="rect">
            <a:avLst/>
          </a:prstGeom>
          <a:noFill/>
          <a:ln>
            <a:noFill/>
          </a:ln>
        </p:spPr>
        <p:txBody>
          <a:bodyPr spcFirstLastPara="1" wrap="square" lIns="93162" tIns="46568" rIns="93162" bIns="46568" anchor="t" anchorCtr="0">
            <a:noAutofit/>
          </a:bodyPr>
          <a:lstStyle/>
          <a:p>
            <a:pPr marL="0" indent="0">
              <a:buClr>
                <a:schemeClr val="dk1"/>
              </a:buClr>
            </a:pPr>
            <a:endParaRPr/>
          </a:p>
        </p:txBody>
      </p:sp>
      <p:sp>
        <p:nvSpPr>
          <p:cNvPr id="570" name="Google Shape;570;p12:notes"/>
          <p:cNvSpPr>
            <a:spLocks noGrp="1" noRot="1" noChangeAspect="1"/>
          </p:cNvSpPr>
          <p:nvPr>
            <p:ph type="sldImg" idx="2"/>
          </p:nvPr>
        </p:nvSpPr>
        <p:spPr>
          <a:xfrm>
            <a:off x="717550" y="1162050"/>
            <a:ext cx="5575300" cy="31369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68"/>
        <p:cNvGrpSpPr/>
        <p:nvPr/>
      </p:nvGrpSpPr>
      <p:grpSpPr>
        <a:xfrm>
          <a:off x="0" y="0"/>
          <a:ext cx="0" cy="0"/>
          <a:chOff x="0" y="0"/>
          <a:chExt cx="0" cy="0"/>
        </a:xfrm>
      </p:grpSpPr>
      <p:sp>
        <p:nvSpPr>
          <p:cNvPr id="569" name="Google Shape;569;p12:notes"/>
          <p:cNvSpPr txBox="1">
            <a:spLocks noGrp="1"/>
          </p:cNvSpPr>
          <p:nvPr>
            <p:ph type="body" idx="1"/>
          </p:nvPr>
        </p:nvSpPr>
        <p:spPr>
          <a:xfrm>
            <a:off x="701040" y="4473892"/>
            <a:ext cx="5608320" cy="3660458"/>
          </a:xfrm>
          <a:prstGeom prst="rect">
            <a:avLst/>
          </a:prstGeom>
          <a:noFill/>
          <a:ln>
            <a:noFill/>
          </a:ln>
        </p:spPr>
        <p:txBody>
          <a:bodyPr spcFirstLastPara="1" wrap="square" lIns="93162" tIns="46568" rIns="93162" bIns="46568" anchor="t" anchorCtr="0">
            <a:noAutofit/>
          </a:bodyPr>
          <a:lstStyle/>
          <a:p>
            <a:pPr marL="0" indent="0">
              <a:buClr>
                <a:schemeClr val="dk1"/>
              </a:buClr>
            </a:pPr>
            <a:endParaRPr/>
          </a:p>
        </p:txBody>
      </p:sp>
      <p:sp>
        <p:nvSpPr>
          <p:cNvPr id="570" name="Google Shape;570;p12:notes"/>
          <p:cNvSpPr>
            <a:spLocks noGrp="1" noRot="1" noChangeAspect="1"/>
          </p:cNvSpPr>
          <p:nvPr>
            <p:ph type="sldImg" idx="2"/>
          </p:nvPr>
        </p:nvSpPr>
        <p:spPr>
          <a:xfrm>
            <a:off x="717550" y="1162050"/>
            <a:ext cx="5575300" cy="31369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148008078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1"/>
        <p:cNvGrpSpPr/>
        <p:nvPr/>
      </p:nvGrpSpPr>
      <p:grpSpPr>
        <a:xfrm>
          <a:off x="0" y="0"/>
          <a:ext cx="0" cy="0"/>
          <a:chOff x="0" y="0"/>
          <a:chExt cx="0" cy="0"/>
        </a:xfrm>
      </p:grpSpPr>
      <p:sp>
        <p:nvSpPr>
          <p:cNvPr id="232" name="Google Shape;232;p3:notes"/>
          <p:cNvSpPr>
            <a:spLocks noGrp="1" noRot="1" noChangeAspect="1"/>
          </p:cNvSpPr>
          <p:nvPr>
            <p:ph type="sldImg" idx="2"/>
          </p:nvPr>
        </p:nvSpPr>
        <p:spPr>
          <a:xfrm>
            <a:off x="717550" y="1162050"/>
            <a:ext cx="5575300" cy="31369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33" name="Google Shape;233;p3:notes"/>
          <p:cNvSpPr txBox="1">
            <a:spLocks noGrp="1"/>
          </p:cNvSpPr>
          <p:nvPr>
            <p:ph type="body" idx="1"/>
          </p:nvPr>
        </p:nvSpPr>
        <p:spPr>
          <a:xfrm>
            <a:off x="701040" y="4473892"/>
            <a:ext cx="5608320" cy="3660458"/>
          </a:xfrm>
          <a:prstGeom prst="rect">
            <a:avLst/>
          </a:prstGeom>
          <a:noFill/>
          <a:ln>
            <a:noFill/>
          </a:ln>
        </p:spPr>
        <p:txBody>
          <a:bodyPr spcFirstLastPara="1" wrap="square" lIns="93162" tIns="46568" rIns="93162" bIns="46568" anchor="t" anchorCtr="0">
            <a:noAutofit/>
          </a:bodyPr>
          <a:lstStyle/>
          <a:p>
            <a:pPr marL="0" indent="0"/>
            <a:endParaRPr/>
          </a:p>
        </p:txBody>
      </p:sp>
      <p:sp>
        <p:nvSpPr>
          <p:cNvPr id="234" name="Google Shape;234;p3:notes"/>
          <p:cNvSpPr txBox="1">
            <a:spLocks noGrp="1"/>
          </p:cNvSpPr>
          <p:nvPr>
            <p:ph type="sldNum" idx="12"/>
          </p:nvPr>
        </p:nvSpPr>
        <p:spPr>
          <a:xfrm>
            <a:off x="3970938" y="8829967"/>
            <a:ext cx="3037840" cy="466433"/>
          </a:xfrm>
          <a:prstGeom prst="rect">
            <a:avLst/>
          </a:prstGeom>
          <a:noFill/>
          <a:ln>
            <a:noFill/>
          </a:ln>
        </p:spPr>
        <p:txBody>
          <a:bodyPr spcFirstLastPara="1" wrap="square" lIns="93162" tIns="46568" rIns="93162" bIns="46568" anchor="b" anchorCtr="0">
            <a:noAutofit/>
          </a:bodyPr>
          <a:lstStyle/>
          <a:p>
            <a:pPr algn="r"/>
            <a:fld id="{00000000-1234-1234-1234-123412341234}" type="slidenum">
              <a:rPr lang="en-US"/>
              <a:pPr algn="r"/>
              <a:t>3</a:t>
            </a:fld>
            <a:endParaRPr/>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68"/>
        <p:cNvGrpSpPr/>
        <p:nvPr/>
      </p:nvGrpSpPr>
      <p:grpSpPr>
        <a:xfrm>
          <a:off x="0" y="0"/>
          <a:ext cx="0" cy="0"/>
          <a:chOff x="0" y="0"/>
          <a:chExt cx="0" cy="0"/>
        </a:xfrm>
      </p:grpSpPr>
      <p:sp>
        <p:nvSpPr>
          <p:cNvPr id="569" name="Google Shape;569;p12:notes"/>
          <p:cNvSpPr txBox="1">
            <a:spLocks noGrp="1"/>
          </p:cNvSpPr>
          <p:nvPr>
            <p:ph type="body" idx="1"/>
          </p:nvPr>
        </p:nvSpPr>
        <p:spPr>
          <a:xfrm>
            <a:off x="701040" y="4473892"/>
            <a:ext cx="5608320" cy="3660458"/>
          </a:xfrm>
          <a:prstGeom prst="rect">
            <a:avLst/>
          </a:prstGeom>
          <a:noFill/>
          <a:ln>
            <a:noFill/>
          </a:ln>
        </p:spPr>
        <p:txBody>
          <a:bodyPr spcFirstLastPara="1" wrap="square" lIns="93162" tIns="46568" rIns="93162" bIns="46568" anchor="t" anchorCtr="0">
            <a:noAutofit/>
          </a:bodyPr>
          <a:lstStyle/>
          <a:p>
            <a:pPr marL="0" indent="0">
              <a:buClr>
                <a:schemeClr val="dk1"/>
              </a:buClr>
            </a:pPr>
            <a:endParaRPr/>
          </a:p>
        </p:txBody>
      </p:sp>
      <p:sp>
        <p:nvSpPr>
          <p:cNvPr id="570" name="Google Shape;570;p12:notes"/>
          <p:cNvSpPr>
            <a:spLocks noGrp="1" noRot="1" noChangeAspect="1"/>
          </p:cNvSpPr>
          <p:nvPr>
            <p:ph type="sldImg" idx="2"/>
          </p:nvPr>
        </p:nvSpPr>
        <p:spPr>
          <a:xfrm>
            <a:off x="717550" y="1162050"/>
            <a:ext cx="5575300" cy="31369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312394944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58"/>
        <p:cNvGrpSpPr/>
        <p:nvPr/>
      </p:nvGrpSpPr>
      <p:grpSpPr>
        <a:xfrm>
          <a:off x="0" y="0"/>
          <a:ext cx="0" cy="0"/>
          <a:chOff x="0" y="0"/>
          <a:chExt cx="0" cy="0"/>
        </a:xfrm>
      </p:grpSpPr>
      <p:sp>
        <p:nvSpPr>
          <p:cNvPr id="259" name="Google Shape;259;p4:notes"/>
          <p:cNvSpPr txBox="1">
            <a:spLocks noGrp="1"/>
          </p:cNvSpPr>
          <p:nvPr>
            <p:ph type="body" idx="1"/>
          </p:nvPr>
        </p:nvSpPr>
        <p:spPr>
          <a:xfrm>
            <a:off x="701040" y="4473892"/>
            <a:ext cx="5608320" cy="3660458"/>
          </a:xfrm>
          <a:prstGeom prst="rect">
            <a:avLst/>
          </a:prstGeom>
        </p:spPr>
        <p:txBody>
          <a:bodyPr spcFirstLastPara="1" wrap="square" lIns="93162" tIns="46568" rIns="93162" bIns="46568" anchor="t" anchorCtr="0">
            <a:noAutofit/>
          </a:bodyPr>
          <a:lstStyle/>
          <a:p>
            <a:pPr marL="0" indent="0"/>
            <a:endParaRPr/>
          </a:p>
        </p:txBody>
      </p:sp>
      <p:sp>
        <p:nvSpPr>
          <p:cNvPr id="260" name="Google Shape;260;p4:notes"/>
          <p:cNvSpPr>
            <a:spLocks noGrp="1" noRot="1" noChangeAspect="1"/>
          </p:cNvSpPr>
          <p:nvPr>
            <p:ph type="sldImg" idx="2"/>
          </p:nvPr>
        </p:nvSpPr>
        <p:spPr>
          <a:xfrm>
            <a:off x="717550" y="1162050"/>
            <a:ext cx="5575300" cy="31369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39"/>
        <p:cNvGrpSpPr/>
        <p:nvPr/>
      </p:nvGrpSpPr>
      <p:grpSpPr>
        <a:xfrm>
          <a:off x="0" y="0"/>
          <a:ext cx="0" cy="0"/>
          <a:chOff x="0" y="0"/>
          <a:chExt cx="0" cy="0"/>
        </a:xfrm>
      </p:grpSpPr>
      <p:sp>
        <p:nvSpPr>
          <p:cNvPr id="340" name="Google Shape;340;p7:notes"/>
          <p:cNvSpPr txBox="1">
            <a:spLocks noGrp="1"/>
          </p:cNvSpPr>
          <p:nvPr>
            <p:ph type="body" idx="1"/>
          </p:nvPr>
        </p:nvSpPr>
        <p:spPr>
          <a:xfrm>
            <a:off x="701040" y="4473892"/>
            <a:ext cx="5608320" cy="3660458"/>
          </a:xfrm>
          <a:prstGeom prst="rect">
            <a:avLst/>
          </a:prstGeom>
        </p:spPr>
        <p:txBody>
          <a:bodyPr spcFirstLastPara="1" wrap="square" lIns="93162" tIns="46568" rIns="93162" bIns="46568" anchor="t" anchorCtr="0">
            <a:noAutofit/>
          </a:bodyPr>
          <a:lstStyle/>
          <a:p>
            <a:pPr marL="0" indent="0"/>
            <a:endParaRPr/>
          </a:p>
        </p:txBody>
      </p:sp>
      <p:sp>
        <p:nvSpPr>
          <p:cNvPr id="341" name="Google Shape;341;p7:notes"/>
          <p:cNvSpPr>
            <a:spLocks noGrp="1" noRot="1" noChangeAspect="1"/>
          </p:cNvSpPr>
          <p:nvPr>
            <p:ph type="sldImg" idx="2"/>
          </p:nvPr>
        </p:nvSpPr>
        <p:spPr>
          <a:xfrm>
            <a:off x="717550" y="1162050"/>
            <a:ext cx="5575300" cy="31369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2389451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63"/>
        <p:cNvGrpSpPr/>
        <p:nvPr/>
      </p:nvGrpSpPr>
      <p:grpSpPr>
        <a:xfrm>
          <a:off x="0" y="0"/>
          <a:ext cx="0" cy="0"/>
          <a:chOff x="0" y="0"/>
          <a:chExt cx="0" cy="0"/>
        </a:xfrm>
      </p:grpSpPr>
      <p:sp>
        <p:nvSpPr>
          <p:cNvPr id="464" name="Google Shape;464;p9:notes"/>
          <p:cNvSpPr txBox="1">
            <a:spLocks noGrp="1"/>
          </p:cNvSpPr>
          <p:nvPr>
            <p:ph type="body" idx="1"/>
          </p:nvPr>
        </p:nvSpPr>
        <p:spPr>
          <a:xfrm>
            <a:off x="701040" y="4473892"/>
            <a:ext cx="5608320" cy="3660458"/>
          </a:xfrm>
          <a:prstGeom prst="rect">
            <a:avLst/>
          </a:prstGeom>
        </p:spPr>
        <p:txBody>
          <a:bodyPr spcFirstLastPara="1" wrap="square" lIns="93162" tIns="46568" rIns="93162" bIns="46568" anchor="t" anchorCtr="0">
            <a:noAutofit/>
          </a:bodyPr>
          <a:lstStyle/>
          <a:p>
            <a:pPr marL="0" indent="0"/>
            <a:endParaRPr/>
          </a:p>
        </p:txBody>
      </p:sp>
      <p:sp>
        <p:nvSpPr>
          <p:cNvPr id="465" name="Google Shape;465;p9:notes"/>
          <p:cNvSpPr>
            <a:spLocks noGrp="1" noRot="1" noChangeAspect="1"/>
          </p:cNvSpPr>
          <p:nvPr>
            <p:ph type="sldImg" idx="2"/>
          </p:nvPr>
        </p:nvSpPr>
        <p:spPr>
          <a:xfrm>
            <a:off x="717550" y="1162050"/>
            <a:ext cx="5575300" cy="31369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20"/>
        <p:cNvGrpSpPr/>
        <p:nvPr/>
      </p:nvGrpSpPr>
      <p:grpSpPr>
        <a:xfrm>
          <a:off x="0" y="0"/>
          <a:ext cx="0" cy="0"/>
          <a:chOff x="0" y="0"/>
          <a:chExt cx="0" cy="0"/>
        </a:xfrm>
      </p:grpSpPr>
      <p:sp>
        <p:nvSpPr>
          <p:cNvPr id="321" name="Google Shape;321;p5:notes"/>
          <p:cNvSpPr txBox="1">
            <a:spLocks noGrp="1"/>
          </p:cNvSpPr>
          <p:nvPr>
            <p:ph type="body" idx="1"/>
          </p:nvPr>
        </p:nvSpPr>
        <p:spPr>
          <a:xfrm>
            <a:off x="701040" y="4473892"/>
            <a:ext cx="5608320" cy="3660458"/>
          </a:xfrm>
          <a:prstGeom prst="rect">
            <a:avLst/>
          </a:prstGeom>
        </p:spPr>
        <p:txBody>
          <a:bodyPr spcFirstLastPara="1" wrap="square" lIns="93162" tIns="46568" rIns="93162" bIns="46568" anchor="t" anchorCtr="0">
            <a:noAutofit/>
          </a:bodyPr>
          <a:lstStyle/>
          <a:p>
            <a:pPr marL="0" indent="0"/>
            <a:endParaRPr/>
          </a:p>
        </p:txBody>
      </p:sp>
      <p:sp>
        <p:nvSpPr>
          <p:cNvPr id="322" name="Google Shape;322;p5:notes"/>
          <p:cNvSpPr>
            <a:spLocks noGrp="1" noRot="1" noChangeAspect="1"/>
          </p:cNvSpPr>
          <p:nvPr>
            <p:ph type="sldImg" idx="2"/>
          </p:nvPr>
        </p:nvSpPr>
        <p:spPr>
          <a:xfrm>
            <a:off x="717550" y="1162050"/>
            <a:ext cx="5575300" cy="31369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27"/>
        <p:cNvGrpSpPr/>
        <p:nvPr/>
      </p:nvGrpSpPr>
      <p:grpSpPr>
        <a:xfrm>
          <a:off x="0" y="0"/>
          <a:ext cx="0" cy="0"/>
          <a:chOff x="0" y="0"/>
          <a:chExt cx="0" cy="0"/>
        </a:xfrm>
      </p:grpSpPr>
      <p:sp>
        <p:nvSpPr>
          <p:cNvPr id="328" name="Google Shape;328;p6:notes"/>
          <p:cNvSpPr txBox="1">
            <a:spLocks noGrp="1"/>
          </p:cNvSpPr>
          <p:nvPr>
            <p:ph type="body" idx="1"/>
          </p:nvPr>
        </p:nvSpPr>
        <p:spPr>
          <a:xfrm>
            <a:off x="701040" y="4473892"/>
            <a:ext cx="5608320" cy="3660458"/>
          </a:xfrm>
          <a:prstGeom prst="rect">
            <a:avLst/>
          </a:prstGeom>
        </p:spPr>
        <p:txBody>
          <a:bodyPr spcFirstLastPara="1" wrap="square" lIns="93162" tIns="46568" rIns="93162" bIns="46568" anchor="t" anchorCtr="0">
            <a:noAutofit/>
          </a:bodyPr>
          <a:lstStyle/>
          <a:p>
            <a:pPr marL="0" indent="0"/>
            <a:endParaRPr/>
          </a:p>
        </p:txBody>
      </p:sp>
      <p:sp>
        <p:nvSpPr>
          <p:cNvPr id="329" name="Google Shape;329;p6:notes"/>
          <p:cNvSpPr>
            <a:spLocks noGrp="1" noRot="1" noChangeAspect="1"/>
          </p:cNvSpPr>
          <p:nvPr>
            <p:ph type="sldImg" idx="2"/>
          </p:nvPr>
        </p:nvSpPr>
        <p:spPr>
          <a:xfrm>
            <a:off x="717550" y="1162050"/>
            <a:ext cx="5575300" cy="31369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10"/>
        <p:cNvGrpSpPr/>
        <p:nvPr/>
      </p:nvGrpSpPr>
      <p:grpSpPr>
        <a:xfrm>
          <a:off x="0" y="0"/>
          <a:ext cx="0" cy="0"/>
          <a:chOff x="0" y="0"/>
          <a:chExt cx="0" cy="0"/>
        </a:xfrm>
      </p:grpSpPr>
      <p:sp>
        <p:nvSpPr>
          <p:cNvPr id="611" name="Google Shape;611;p15:notes"/>
          <p:cNvSpPr txBox="1">
            <a:spLocks noGrp="1"/>
          </p:cNvSpPr>
          <p:nvPr>
            <p:ph type="body" idx="1"/>
          </p:nvPr>
        </p:nvSpPr>
        <p:spPr>
          <a:xfrm>
            <a:off x="701040" y="4473892"/>
            <a:ext cx="5608320" cy="3660458"/>
          </a:xfrm>
          <a:prstGeom prst="rect">
            <a:avLst/>
          </a:prstGeom>
          <a:noFill/>
          <a:ln>
            <a:noFill/>
          </a:ln>
        </p:spPr>
        <p:txBody>
          <a:bodyPr spcFirstLastPara="1" wrap="square" lIns="93162" tIns="46568" rIns="93162" bIns="46568" anchor="t" anchorCtr="0">
            <a:noAutofit/>
          </a:bodyPr>
          <a:lstStyle/>
          <a:p>
            <a:pPr marL="0" indent="0">
              <a:buClr>
                <a:schemeClr val="dk1"/>
              </a:buClr>
            </a:pPr>
            <a:endParaRPr/>
          </a:p>
        </p:txBody>
      </p:sp>
      <p:sp>
        <p:nvSpPr>
          <p:cNvPr id="612" name="Google Shape;612;p15:notes"/>
          <p:cNvSpPr>
            <a:spLocks noGrp="1" noRot="1" noChangeAspect="1"/>
          </p:cNvSpPr>
          <p:nvPr>
            <p:ph type="sldImg" idx="2"/>
          </p:nvPr>
        </p:nvSpPr>
        <p:spPr>
          <a:xfrm>
            <a:off x="717550" y="1162050"/>
            <a:ext cx="5575300" cy="31369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104064012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 Id="rId5" Type="http://schemas.openxmlformats.org/officeDocument/2006/relationships/image" Target="../media/image5.png"/><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jpeg"/><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9.jpe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0.pn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14_Title Slide">
  <p:cSld name="14_Title Slide">
    <p:bg>
      <p:bgPr>
        <a:blipFill>
          <a:blip r:embed="rId2">
            <a:alphaModFix/>
          </a:blip>
          <a:stretch>
            <a:fillRect/>
          </a:stretch>
        </a:blipFill>
        <a:effectLst/>
      </p:bgPr>
    </p:bg>
    <p:spTree>
      <p:nvGrpSpPr>
        <p:cNvPr id="1" name="Shape 15"/>
        <p:cNvGrpSpPr/>
        <p:nvPr/>
      </p:nvGrpSpPr>
      <p:grpSpPr>
        <a:xfrm>
          <a:off x="0" y="0"/>
          <a:ext cx="0" cy="0"/>
          <a:chOff x="0" y="0"/>
          <a:chExt cx="0" cy="0"/>
        </a:xfrm>
      </p:grpSpPr>
      <p:sp>
        <p:nvSpPr>
          <p:cNvPr id="16" name="Google Shape;16;p30"/>
          <p:cNvSpPr txBox="1">
            <a:spLocks noGrp="1"/>
          </p:cNvSpPr>
          <p:nvPr>
            <p:ph type="ctrTitle"/>
          </p:nvPr>
        </p:nvSpPr>
        <p:spPr>
          <a:xfrm>
            <a:off x="341868" y="1683430"/>
            <a:ext cx="7261656" cy="1632577"/>
          </a:xfrm>
          <a:prstGeom prst="rect">
            <a:avLst/>
          </a:prstGeom>
          <a:noFill/>
          <a:ln>
            <a:noFill/>
          </a:ln>
        </p:spPr>
        <p:txBody>
          <a:bodyPr spcFirstLastPara="1" wrap="square" lIns="91425" tIns="45700" rIns="91425" bIns="45700" anchor="t" anchorCtr="0">
            <a:noAutofit/>
          </a:bodyPr>
          <a:lstStyle>
            <a:lvl1pPr lvl="0" algn="l">
              <a:lnSpc>
                <a:spcPct val="90000"/>
              </a:lnSpc>
              <a:spcBef>
                <a:spcPts val="0"/>
              </a:spcBef>
              <a:spcAft>
                <a:spcPts val="0"/>
              </a:spcAft>
              <a:buClr>
                <a:schemeClr val="lt1"/>
              </a:buClr>
              <a:buSzPts val="6600"/>
              <a:buFont typeface="PT Serif"/>
              <a:buNone/>
              <a:defRPr sz="6600">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 name="Google Shape;17;p30"/>
          <p:cNvSpPr txBox="1">
            <a:spLocks noGrp="1"/>
          </p:cNvSpPr>
          <p:nvPr>
            <p:ph type="subTitle" idx="1"/>
          </p:nvPr>
        </p:nvSpPr>
        <p:spPr>
          <a:xfrm>
            <a:off x="341868" y="4099381"/>
            <a:ext cx="4852432" cy="365125"/>
          </a:xfrm>
          <a:prstGeom prst="rect">
            <a:avLst/>
          </a:prstGeom>
          <a:noFill/>
          <a:ln>
            <a:noFill/>
          </a:ln>
        </p:spPr>
        <p:txBody>
          <a:bodyPr spcFirstLastPara="1" wrap="square" lIns="91425" tIns="45700" rIns="91425" bIns="45700" anchor="t" anchorCtr="0">
            <a:normAutofit/>
          </a:bodyPr>
          <a:lstStyle>
            <a:lvl1pPr lvl="0" algn="l">
              <a:lnSpc>
                <a:spcPct val="90000"/>
              </a:lnSpc>
              <a:spcBef>
                <a:spcPts val="1000"/>
              </a:spcBef>
              <a:spcAft>
                <a:spcPts val="0"/>
              </a:spcAft>
              <a:buClr>
                <a:schemeClr val="lt1"/>
              </a:buClr>
              <a:buSzPts val="2000"/>
              <a:buNone/>
              <a:defRPr sz="2000">
                <a:solidFill>
                  <a:schemeClr val="lt1"/>
                </a:solidFill>
              </a:defRPr>
            </a:lvl1pPr>
            <a:lvl2pPr lvl="1" algn="ctr">
              <a:lnSpc>
                <a:spcPct val="90000"/>
              </a:lnSpc>
              <a:spcBef>
                <a:spcPts val="500"/>
              </a:spcBef>
              <a:spcAft>
                <a:spcPts val="0"/>
              </a:spcAft>
              <a:buClr>
                <a:schemeClr val="dk2"/>
              </a:buClr>
              <a:buSzPts val="2000"/>
              <a:buNone/>
              <a:defRPr sz="2000"/>
            </a:lvl2pPr>
            <a:lvl3pPr lvl="2" algn="ctr">
              <a:lnSpc>
                <a:spcPct val="90000"/>
              </a:lnSpc>
              <a:spcBef>
                <a:spcPts val="500"/>
              </a:spcBef>
              <a:spcAft>
                <a:spcPts val="0"/>
              </a:spcAft>
              <a:buClr>
                <a:schemeClr val="dk2"/>
              </a:buClr>
              <a:buSzPts val="1800"/>
              <a:buNone/>
              <a:defRPr sz="1800"/>
            </a:lvl3pPr>
            <a:lvl4pPr lvl="3" algn="ctr">
              <a:lnSpc>
                <a:spcPct val="90000"/>
              </a:lnSpc>
              <a:spcBef>
                <a:spcPts val="500"/>
              </a:spcBef>
              <a:spcAft>
                <a:spcPts val="0"/>
              </a:spcAft>
              <a:buClr>
                <a:schemeClr val="dk2"/>
              </a:buClr>
              <a:buSzPts val="1600"/>
              <a:buNone/>
              <a:defRPr sz="1600"/>
            </a:lvl4pPr>
            <a:lvl5pPr lvl="4" algn="ctr">
              <a:lnSpc>
                <a:spcPct val="90000"/>
              </a:lnSpc>
              <a:spcBef>
                <a:spcPts val="500"/>
              </a:spcBef>
              <a:spcAft>
                <a:spcPts val="0"/>
              </a:spcAft>
              <a:buClr>
                <a:schemeClr val="dk2"/>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8" name="Google Shape;18;p30"/>
          <p:cNvSpPr txBox="1">
            <a:spLocks noGrp="1"/>
          </p:cNvSpPr>
          <p:nvPr>
            <p:ph type="dt" idx="10"/>
          </p:nvPr>
        </p:nvSpPr>
        <p:spPr>
          <a:xfrm>
            <a:off x="341868" y="447448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solidFill>
                  <a:schemeClr val="lt1"/>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9" name="Google Shape;19;p30"/>
          <p:cNvSpPr txBox="1">
            <a:spLocks noGrp="1"/>
          </p:cNvSpPr>
          <p:nvPr>
            <p:ph type="body" idx="2"/>
          </p:nvPr>
        </p:nvSpPr>
        <p:spPr>
          <a:xfrm>
            <a:off x="341868" y="1269031"/>
            <a:ext cx="4246607" cy="366651"/>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lt1"/>
              </a:buClr>
              <a:buSzPts val="1600"/>
              <a:buNone/>
              <a:defRPr sz="1600" b="0" i="0">
                <a:solidFill>
                  <a:schemeClr val="lt1"/>
                </a:solidFill>
                <a:latin typeface="Source Sans Pro"/>
                <a:ea typeface="Source Sans Pro"/>
                <a:cs typeface="Source Sans Pro"/>
                <a:sym typeface="Source Sans Pro"/>
              </a:defRPr>
            </a:lvl1pPr>
            <a:lvl2pPr marL="914400" lvl="1" indent="-228600" algn="l">
              <a:lnSpc>
                <a:spcPct val="90000"/>
              </a:lnSpc>
              <a:spcBef>
                <a:spcPts val="500"/>
              </a:spcBef>
              <a:spcAft>
                <a:spcPts val="0"/>
              </a:spcAft>
              <a:buClr>
                <a:schemeClr val="lt1"/>
              </a:buClr>
              <a:buSzPts val="1800"/>
              <a:buNone/>
              <a:defRPr>
                <a:solidFill>
                  <a:schemeClr val="lt1"/>
                </a:solidFill>
              </a:defRPr>
            </a:lvl2pPr>
            <a:lvl3pPr marL="1371600" lvl="2" indent="-330200" algn="l">
              <a:lnSpc>
                <a:spcPct val="90000"/>
              </a:lnSpc>
              <a:spcBef>
                <a:spcPts val="500"/>
              </a:spcBef>
              <a:spcAft>
                <a:spcPts val="0"/>
              </a:spcAft>
              <a:buClr>
                <a:schemeClr val="lt1"/>
              </a:buClr>
              <a:buSzPts val="1600"/>
              <a:buChar char="•"/>
              <a:defRPr>
                <a:solidFill>
                  <a:schemeClr val="lt1"/>
                </a:solidFill>
              </a:defRPr>
            </a:lvl3pPr>
            <a:lvl4pPr marL="1828800" lvl="3" indent="-317500" algn="l">
              <a:lnSpc>
                <a:spcPct val="90000"/>
              </a:lnSpc>
              <a:spcBef>
                <a:spcPts val="500"/>
              </a:spcBef>
              <a:spcAft>
                <a:spcPts val="0"/>
              </a:spcAft>
              <a:buClr>
                <a:schemeClr val="lt1"/>
              </a:buClr>
              <a:buSzPts val="1400"/>
              <a:buChar char="•"/>
              <a:defRPr>
                <a:solidFill>
                  <a:schemeClr val="lt1"/>
                </a:solidFill>
              </a:defRPr>
            </a:lvl4pPr>
            <a:lvl5pPr marL="2286000" lvl="4" indent="-317500" algn="l">
              <a:lnSpc>
                <a:spcPct val="90000"/>
              </a:lnSpc>
              <a:spcBef>
                <a:spcPts val="500"/>
              </a:spcBef>
              <a:spcAft>
                <a:spcPts val="0"/>
              </a:spcAft>
              <a:buClr>
                <a:schemeClr val="lt1"/>
              </a:buClr>
              <a:buSzPts val="1400"/>
              <a:buChar char="•"/>
              <a:defRPr>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20" name="Google Shape;20;p30"/>
          <p:cNvPicPr preferRelativeResize="0"/>
          <p:nvPr/>
        </p:nvPicPr>
        <p:blipFill rotWithShape="1">
          <a:blip r:embed="rId3">
            <a:alphaModFix/>
          </a:blip>
          <a:srcRect/>
          <a:stretch/>
        </p:blipFill>
        <p:spPr>
          <a:xfrm>
            <a:off x="10313774" y="6051214"/>
            <a:ext cx="1623008" cy="486903"/>
          </a:xfrm>
          <a:prstGeom prst="rect">
            <a:avLst/>
          </a:prstGeom>
          <a:noFill/>
          <a:ln>
            <a:noFill/>
          </a:ln>
        </p:spPr>
      </p:pic>
      <p:pic>
        <p:nvPicPr>
          <p:cNvPr id="21" name="Google Shape;21;p30"/>
          <p:cNvPicPr preferRelativeResize="0"/>
          <p:nvPr/>
        </p:nvPicPr>
        <p:blipFill rotWithShape="1">
          <a:blip r:embed="rId4">
            <a:alphaModFix/>
          </a:blip>
          <a:srcRect/>
          <a:stretch/>
        </p:blipFill>
        <p:spPr>
          <a:xfrm>
            <a:off x="10297298" y="6051214"/>
            <a:ext cx="1623008" cy="486903"/>
          </a:xfrm>
          <a:prstGeom prst="rect">
            <a:avLst/>
          </a:prstGeom>
          <a:noFill/>
          <a:ln>
            <a:noFill/>
          </a:ln>
        </p:spPr>
      </p:pic>
      <p:pic>
        <p:nvPicPr>
          <p:cNvPr id="22" name="Google Shape;22;p30"/>
          <p:cNvPicPr preferRelativeResize="0"/>
          <p:nvPr/>
        </p:nvPicPr>
        <p:blipFill rotWithShape="1">
          <a:blip r:embed="rId5">
            <a:alphaModFix/>
          </a:blip>
          <a:srcRect/>
          <a:stretch/>
        </p:blipFill>
        <p:spPr>
          <a:xfrm>
            <a:off x="424248" y="5988105"/>
            <a:ext cx="2604948" cy="580008"/>
          </a:xfrm>
          <a:prstGeom prst="rect">
            <a:avLst/>
          </a:prstGeom>
          <a:noFill/>
          <a:ln>
            <a:noFill/>
          </a:ln>
        </p:spPr>
      </p:pic>
      <p:cxnSp>
        <p:nvCxnSpPr>
          <p:cNvPr id="23" name="Google Shape;23;p30"/>
          <p:cNvCxnSpPr/>
          <p:nvPr/>
        </p:nvCxnSpPr>
        <p:spPr>
          <a:xfrm>
            <a:off x="419100" y="5548640"/>
            <a:ext cx="11353800" cy="0"/>
          </a:xfrm>
          <a:prstGeom prst="straightConnector1">
            <a:avLst/>
          </a:prstGeom>
          <a:noFill/>
          <a:ln w="19050" cap="flat" cmpd="sng">
            <a:solidFill>
              <a:schemeClr val="lt1"/>
            </a:solidFill>
            <a:prstDash val="solid"/>
            <a:miter lim="800000"/>
            <a:headEnd type="none" w="sm" len="sm"/>
            <a:tailEnd type="none" w="sm" len="sm"/>
          </a:ln>
        </p:spPr>
      </p:cxnSp>
    </p:spTree>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7_Title Slide">
  <p:cSld name="7_Title Slide">
    <p:spTree>
      <p:nvGrpSpPr>
        <p:cNvPr id="1" name="Shape 73"/>
        <p:cNvGrpSpPr/>
        <p:nvPr/>
      </p:nvGrpSpPr>
      <p:grpSpPr>
        <a:xfrm>
          <a:off x="0" y="0"/>
          <a:ext cx="0" cy="0"/>
          <a:chOff x="0" y="0"/>
          <a:chExt cx="0" cy="0"/>
        </a:xfrm>
      </p:grpSpPr>
      <p:sp>
        <p:nvSpPr>
          <p:cNvPr id="74" name="Google Shape;74;p39"/>
          <p:cNvSpPr/>
          <p:nvPr/>
        </p:nvSpPr>
        <p:spPr>
          <a:xfrm>
            <a:off x="0" y="0"/>
            <a:ext cx="12200239" cy="6858000"/>
          </a:xfrm>
          <a:prstGeom prst="rect">
            <a:avLst/>
          </a:prstGeom>
          <a:solidFill>
            <a:srgbClr val="A9D4FE">
              <a:alpha val="60000"/>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5" name="Google Shape;75;p39"/>
          <p:cNvSpPr/>
          <p:nvPr/>
        </p:nvSpPr>
        <p:spPr>
          <a:xfrm>
            <a:off x="-8239" y="5725297"/>
            <a:ext cx="12200239" cy="1132702"/>
          </a:xfrm>
          <a:prstGeom prst="rect">
            <a:avLst/>
          </a:prstGeom>
          <a:solidFill>
            <a:schemeClr val="dk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6" name="Google Shape;76;p39"/>
          <p:cNvSpPr txBox="1">
            <a:spLocks noGrp="1"/>
          </p:cNvSpPr>
          <p:nvPr>
            <p:ph type="ctrTitle"/>
          </p:nvPr>
        </p:nvSpPr>
        <p:spPr>
          <a:xfrm>
            <a:off x="341868" y="1770694"/>
            <a:ext cx="7261656" cy="1632577"/>
          </a:xfrm>
          <a:prstGeom prst="rect">
            <a:avLst/>
          </a:prstGeom>
          <a:noFill/>
          <a:ln>
            <a:noFill/>
          </a:ln>
        </p:spPr>
        <p:txBody>
          <a:bodyPr spcFirstLastPara="1" wrap="square" lIns="91425" tIns="45700" rIns="91425" bIns="45700" anchor="t" anchorCtr="0">
            <a:noAutofit/>
          </a:bodyPr>
          <a:lstStyle>
            <a:lvl1pPr lvl="0" algn="l">
              <a:lnSpc>
                <a:spcPct val="90000"/>
              </a:lnSpc>
              <a:spcBef>
                <a:spcPts val="0"/>
              </a:spcBef>
              <a:spcAft>
                <a:spcPts val="0"/>
              </a:spcAft>
              <a:buClr>
                <a:schemeClr val="dk2"/>
              </a:buClr>
              <a:buSzPts val="6600"/>
              <a:buFont typeface="PT Serif"/>
              <a:buNone/>
              <a:defRPr sz="6600">
                <a:solidFill>
                  <a:schemeClr val="dk2"/>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7" name="Google Shape;77;p39"/>
          <p:cNvSpPr txBox="1">
            <a:spLocks noGrp="1"/>
          </p:cNvSpPr>
          <p:nvPr>
            <p:ph type="body" idx="1"/>
          </p:nvPr>
        </p:nvSpPr>
        <p:spPr>
          <a:xfrm>
            <a:off x="341868" y="1356295"/>
            <a:ext cx="4246607" cy="366651"/>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dk2"/>
              </a:buClr>
              <a:buSzPts val="1600"/>
              <a:buNone/>
              <a:defRPr sz="1600" b="0" i="0">
                <a:solidFill>
                  <a:schemeClr val="dk2"/>
                </a:solidFill>
                <a:latin typeface="Source Sans Pro"/>
                <a:ea typeface="Source Sans Pro"/>
                <a:cs typeface="Source Sans Pro"/>
                <a:sym typeface="Source Sans Pro"/>
              </a:defRPr>
            </a:lvl1pPr>
            <a:lvl2pPr marL="914400" lvl="1" indent="-228600" algn="l">
              <a:lnSpc>
                <a:spcPct val="90000"/>
              </a:lnSpc>
              <a:spcBef>
                <a:spcPts val="500"/>
              </a:spcBef>
              <a:spcAft>
                <a:spcPts val="0"/>
              </a:spcAft>
              <a:buClr>
                <a:schemeClr val="lt1"/>
              </a:buClr>
              <a:buSzPts val="1800"/>
              <a:buNone/>
              <a:defRPr>
                <a:solidFill>
                  <a:schemeClr val="lt1"/>
                </a:solidFill>
              </a:defRPr>
            </a:lvl2pPr>
            <a:lvl3pPr marL="1371600" lvl="2" indent="-330200" algn="l">
              <a:lnSpc>
                <a:spcPct val="90000"/>
              </a:lnSpc>
              <a:spcBef>
                <a:spcPts val="500"/>
              </a:spcBef>
              <a:spcAft>
                <a:spcPts val="0"/>
              </a:spcAft>
              <a:buClr>
                <a:schemeClr val="lt1"/>
              </a:buClr>
              <a:buSzPts val="1600"/>
              <a:buChar char="•"/>
              <a:defRPr>
                <a:solidFill>
                  <a:schemeClr val="lt1"/>
                </a:solidFill>
              </a:defRPr>
            </a:lvl3pPr>
            <a:lvl4pPr marL="1828800" lvl="3" indent="-317500" algn="l">
              <a:lnSpc>
                <a:spcPct val="90000"/>
              </a:lnSpc>
              <a:spcBef>
                <a:spcPts val="500"/>
              </a:spcBef>
              <a:spcAft>
                <a:spcPts val="0"/>
              </a:spcAft>
              <a:buClr>
                <a:schemeClr val="lt1"/>
              </a:buClr>
              <a:buSzPts val="1400"/>
              <a:buChar char="•"/>
              <a:defRPr>
                <a:solidFill>
                  <a:schemeClr val="lt1"/>
                </a:solidFill>
              </a:defRPr>
            </a:lvl4pPr>
            <a:lvl5pPr marL="2286000" lvl="4" indent="-317500" algn="l">
              <a:lnSpc>
                <a:spcPct val="90000"/>
              </a:lnSpc>
              <a:spcBef>
                <a:spcPts val="500"/>
              </a:spcBef>
              <a:spcAft>
                <a:spcPts val="0"/>
              </a:spcAft>
              <a:buClr>
                <a:schemeClr val="lt1"/>
              </a:buClr>
              <a:buSzPts val="1400"/>
              <a:buChar char="•"/>
              <a:defRPr>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78" name="Google Shape;78;p39"/>
          <p:cNvPicPr preferRelativeResize="0"/>
          <p:nvPr/>
        </p:nvPicPr>
        <p:blipFill rotWithShape="1">
          <a:blip r:embed="rId2">
            <a:alphaModFix/>
          </a:blip>
          <a:srcRect/>
          <a:stretch/>
        </p:blipFill>
        <p:spPr>
          <a:xfrm>
            <a:off x="10552670" y="6124872"/>
            <a:ext cx="1384113" cy="415234"/>
          </a:xfrm>
          <a:prstGeom prst="rect">
            <a:avLst/>
          </a:prstGeom>
          <a:noFill/>
          <a:ln>
            <a:noFill/>
          </a:ln>
        </p:spPr>
      </p:pic>
      <p:grpSp>
        <p:nvGrpSpPr>
          <p:cNvPr id="79" name="Google Shape;79;p39"/>
          <p:cNvGrpSpPr/>
          <p:nvPr/>
        </p:nvGrpSpPr>
        <p:grpSpPr>
          <a:xfrm>
            <a:off x="432486" y="6116925"/>
            <a:ext cx="1873603" cy="415350"/>
            <a:chOff x="432486" y="6131005"/>
            <a:chExt cx="1873603" cy="415350"/>
          </a:xfrm>
        </p:grpSpPr>
        <p:pic>
          <p:nvPicPr>
            <p:cNvPr id="80" name="Google Shape;80;p39"/>
            <p:cNvPicPr preferRelativeResize="0"/>
            <p:nvPr/>
          </p:nvPicPr>
          <p:blipFill rotWithShape="1">
            <a:blip r:embed="rId3">
              <a:alphaModFix/>
            </a:blip>
            <a:srcRect/>
            <a:stretch/>
          </p:blipFill>
          <p:spPr>
            <a:xfrm>
              <a:off x="432486" y="6131005"/>
              <a:ext cx="1873603" cy="415350"/>
            </a:xfrm>
            <a:prstGeom prst="rect">
              <a:avLst/>
            </a:prstGeom>
            <a:noFill/>
            <a:ln>
              <a:noFill/>
            </a:ln>
          </p:spPr>
        </p:pic>
        <p:pic>
          <p:nvPicPr>
            <p:cNvPr id="81" name="Google Shape;81;p39"/>
            <p:cNvPicPr preferRelativeResize="0"/>
            <p:nvPr/>
          </p:nvPicPr>
          <p:blipFill rotWithShape="1">
            <a:blip r:embed="rId4">
              <a:alphaModFix/>
            </a:blip>
            <a:srcRect l="25281" r="50096"/>
            <a:stretch/>
          </p:blipFill>
          <p:spPr>
            <a:xfrm>
              <a:off x="906162" y="6131005"/>
              <a:ext cx="461320" cy="415350"/>
            </a:xfrm>
            <a:prstGeom prst="rect">
              <a:avLst/>
            </a:prstGeom>
            <a:noFill/>
            <a:ln>
              <a:noFill/>
            </a:ln>
          </p:spPr>
        </p:pic>
      </p:grpSp>
      <p:sp>
        <p:nvSpPr>
          <p:cNvPr id="82" name="Google Shape;82;p39"/>
          <p:cNvSpPr txBox="1">
            <a:spLocks noGrp="1"/>
          </p:cNvSpPr>
          <p:nvPr>
            <p:ph type="dt" idx="10"/>
          </p:nvPr>
        </p:nvSpPr>
        <p:spPr>
          <a:xfrm>
            <a:off x="341868" y="4368504"/>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solidFill>
                  <a:schemeClr val="dk2"/>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83" name="Google Shape;83;p39"/>
          <p:cNvSpPr txBox="1">
            <a:spLocks noGrp="1"/>
          </p:cNvSpPr>
          <p:nvPr>
            <p:ph type="subTitle" idx="2"/>
          </p:nvPr>
        </p:nvSpPr>
        <p:spPr>
          <a:xfrm>
            <a:off x="341868" y="3993405"/>
            <a:ext cx="5208032" cy="365125"/>
          </a:xfrm>
          <a:prstGeom prst="rect">
            <a:avLst/>
          </a:prstGeom>
          <a:noFill/>
          <a:ln>
            <a:noFill/>
          </a:ln>
        </p:spPr>
        <p:txBody>
          <a:bodyPr spcFirstLastPara="1" wrap="square" lIns="91425" tIns="45700" rIns="91425" bIns="45700" anchor="t" anchorCtr="0">
            <a:normAutofit/>
          </a:bodyPr>
          <a:lstStyle>
            <a:lvl1pPr lvl="0" algn="l">
              <a:lnSpc>
                <a:spcPct val="90000"/>
              </a:lnSpc>
              <a:spcBef>
                <a:spcPts val="1000"/>
              </a:spcBef>
              <a:spcAft>
                <a:spcPts val="0"/>
              </a:spcAft>
              <a:buClr>
                <a:schemeClr val="dk2"/>
              </a:buClr>
              <a:buSzPts val="2000"/>
              <a:buNone/>
              <a:defRPr sz="2000">
                <a:solidFill>
                  <a:schemeClr val="dk2"/>
                </a:solidFill>
              </a:defRPr>
            </a:lvl1pPr>
            <a:lvl2pPr lvl="1" algn="ctr">
              <a:lnSpc>
                <a:spcPct val="90000"/>
              </a:lnSpc>
              <a:spcBef>
                <a:spcPts val="500"/>
              </a:spcBef>
              <a:spcAft>
                <a:spcPts val="0"/>
              </a:spcAft>
              <a:buClr>
                <a:schemeClr val="dk2"/>
              </a:buClr>
              <a:buSzPts val="2000"/>
              <a:buNone/>
              <a:defRPr sz="2000"/>
            </a:lvl2pPr>
            <a:lvl3pPr lvl="2" algn="ctr">
              <a:lnSpc>
                <a:spcPct val="90000"/>
              </a:lnSpc>
              <a:spcBef>
                <a:spcPts val="500"/>
              </a:spcBef>
              <a:spcAft>
                <a:spcPts val="0"/>
              </a:spcAft>
              <a:buClr>
                <a:schemeClr val="dk2"/>
              </a:buClr>
              <a:buSzPts val="1800"/>
              <a:buNone/>
              <a:defRPr sz="1800"/>
            </a:lvl3pPr>
            <a:lvl4pPr lvl="3" algn="ctr">
              <a:lnSpc>
                <a:spcPct val="90000"/>
              </a:lnSpc>
              <a:spcBef>
                <a:spcPts val="500"/>
              </a:spcBef>
              <a:spcAft>
                <a:spcPts val="0"/>
              </a:spcAft>
              <a:buClr>
                <a:schemeClr val="dk2"/>
              </a:buClr>
              <a:buSzPts val="1600"/>
              <a:buNone/>
              <a:defRPr sz="1600"/>
            </a:lvl4pPr>
            <a:lvl5pPr lvl="4" algn="ctr">
              <a:lnSpc>
                <a:spcPct val="90000"/>
              </a:lnSpc>
              <a:spcBef>
                <a:spcPts val="500"/>
              </a:spcBef>
              <a:spcAft>
                <a:spcPts val="0"/>
              </a:spcAft>
              <a:buClr>
                <a:schemeClr val="dk2"/>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10_Title Slide">
  <p:cSld name="10_Title Slide">
    <p:bg>
      <p:bgPr>
        <a:blipFill>
          <a:blip r:embed="rId2">
            <a:alphaModFix/>
          </a:blip>
          <a:stretch>
            <a:fillRect/>
          </a:stretch>
        </a:blipFill>
        <a:effectLst/>
      </p:bgPr>
    </p:bg>
    <p:spTree>
      <p:nvGrpSpPr>
        <p:cNvPr id="1" name="Shape 84"/>
        <p:cNvGrpSpPr/>
        <p:nvPr/>
      </p:nvGrpSpPr>
      <p:grpSpPr>
        <a:xfrm>
          <a:off x="0" y="0"/>
          <a:ext cx="0" cy="0"/>
          <a:chOff x="0" y="0"/>
          <a:chExt cx="0" cy="0"/>
        </a:xfrm>
      </p:grpSpPr>
      <p:sp>
        <p:nvSpPr>
          <p:cNvPr id="85" name="Google Shape;85;p40"/>
          <p:cNvSpPr/>
          <p:nvPr/>
        </p:nvSpPr>
        <p:spPr>
          <a:xfrm rot="10800000" flipH="1">
            <a:off x="0" y="5735636"/>
            <a:ext cx="12192000" cy="1122363"/>
          </a:xfrm>
          <a:prstGeom prst="rect">
            <a:avLst/>
          </a:prstGeom>
          <a:solidFill>
            <a:srgbClr val="FFFFFF"/>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6" name="Google Shape;86;p40"/>
          <p:cNvSpPr txBox="1">
            <a:spLocks noGrp="1"/>
          </p:cNvSpPr>
          <p:nvPr>
            <p:ph type="ctrTitle"/>
          </p:nvPr>
        </p:nvSpPr>
        <p:spPr>
          <a:xfrm>
            <a:off x="325391" y="1908431"/>
            <a:ext cx="7830960" cy="1813217"/>
          </a:xfrm>
          <a:prstGeom prst="rect">
            <a:avLst/>
          </a:prstGeom>
          <a:noFill/>
          <a:ln>
            <a:noFill/>
          </a:ln>
        </p:spPr>
        <p:txBody>
          <a:bodyPr spcFirstLastPara="1" wrap="square" lIns="91425" tIns="45700" rIns="91425" bIns="45700" anchor="t" anchorCtr="0">
            <a:normAutofit/>
          </a:bodyPr>
          <a:lstStyle>
            <a:lvl1pPr lvl="0" algn="l">
              <a:lnSpc>
                <a:spcPct val="90000"/>
              </a:lnSpc>
              <a:spcBef>
                <a:spcPts val="0"/>
              </a:spcBef>
              <a:spcAft>
                <a:spcPts val="0"/>
              </a:spcAft>
              <a:buClr>
                <a:schemeClr val="lt1"/>
              </a:buClr>
              <a:buSzPts val="6000"/>
              <a:buFont typeface="PT Serif"/>
              <a:buNone/>
              <a:defRPr sz="6000">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87" name="Google Shape;87;p40"/>
          <p:cNvPicPr preferRelativeResize="0"/>
          <p:nvPr/>
        </p:nvPicPr>
        <p:blipFill rotWithShape="1">
          <a:blip r:embed="rId3">
            <a:alphaModFix/>
          </a:blip>
          <a:srcRect/>
          <a:stretch/>
        </p:blipFill>
        <p:spPr>
          <a:xfrm>
            <a:off x="432486" y="6122767"/>
            <a:ext cx="1873603" cy="415350"/>
          </a:xfrm>
          <a:prstGeom prst="rect">
            <a:avLst/>
          </a:prstGeom>
          <a:noFill/>
          <a:ln>
            <a:noFill/>
          </a:ln>
        </p:spPr>
      </p:pic>
      <p:pic>
        <p:nvPicPr>
          <p:cNvPr id="88" name="Google Shape;88;p40"/>
          <p:cNvPicPr preferRelativeResize="0"/>
          <p:nvPr/>
        </p:nvPicPr>
        <p:blipFill rotWithShape="1">
          <a:blip r:embed="rId4">
            <a:alphaModFix/>
          </a:blip>
          <a:srcRect/>
          <a:stretch/>
        </p:blipFill>
        <p:spPr>
          <a:xfrm>
            <a:off x="10520173" y="6114529"/>
            <a:ext cx="1400131" cy="420040"/>
          </a:xfrm>
          <a:prstGeom prst="rect">
            <a:avLst/>
          </a:prstGeom>
          <a:noFill/>
          <a:ln>
            <a:noFill/>
          </a:ln>
        </p:spPr>
      </p:pic>
      <p:sp>
        <p:nvSpPr>
          <p:cNvPr id="89" name="Google Shape;89;p40"/>
          <p:cNvSpPr txBox="1">
            <a:spLocks noGrp="1"/>
          </p:cNvSpPr>
          <p:nvPr>
            <p:ph type="body" idx="1"/>
          </p:nvPr>
        </p:nvSpPr>
        <p:spPr>
          <a:xfrm>
            <a:off x="341868" y="1493948"/>
            <a:ext cx="7814483" cy="366651"/>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lt1"/>
              </a:buClr>
              <a:buSzPts val="1600"/>
              <a:buNone/>
              <a:defRPr sz="1600" b="0" i="0">
                <a:solidFill>
                  <a:schemeClr val="lt1"/>
                </a:solidFill>
                <a:latin typeface="Source Sans Pro"/>
                <a:ea typeface="Source Sans Pro"/>
                <a:cs typeface="Source Sans Pro"/>
                <a:sym typeface="Source Sans Pro"/>
              </a:defRPr>
            </a:lvl1pPr>
            <a:lvl2pPr marL="914400" lvl="1" indent="-228600" algn="l">
              <a:lnSpc>
                <a:spcPct val="90000"/>
              </a:lnSpc>
              <a:spcBef>
                <a:spcPts val="500"/>
              </a:spcBef>
              <a:spcAft>
                <a:spcPts val="0"/>
              </a:spcAft>
              <a:buClr>
                <a:schemeClr val="lt1"/>
              </a:buClr>
              <a:buSzPts val="1800"/>
              <a:buNone/>
              <a:defRPr>
                <a:solidFill>
                  <a:schemeClr val="lt1"/>
                </a:solidFill>
              </a:defRPr>
            </a:lvl2pPr>
            <a:lvl3pPr marL="1371600" lvl="2" indent="-330200" algn="l">
              <a:lnSpc>
                <a:spcPct val="90000"/>
              </a:lnSpc>
              <a:spcBef>
                <a:spcPts val="500"/>
              </a:spcBef>
              <a:spcAft>
                <a:spcPts val="0"/>
              </a:spcAft>
              <a:buClr>
                <a:schemeClr val="lt1"/>
              </a:buClr>
              <a:buSzPts val="1600"/>
              <a:buChar char="•"/>
              <a:defRPr>
                <a:solidFill>
                  <a:schemeClr val="lt1"/>
                </a:solidFill>
              </a:defRPr>
            </a:lvl3pPr>
            <a:lvl4pPr marL="1828800" lvl="3" indent="-317500" algn="l">
              <a:lnSpc>
                <a:spcPct val="90000"/>
              </a:lnSpc>
              <a:spcBef>
                <a:spcPts val="500"/>
              </a:spcBef>
              <a:spcAft>
                <a:spcPts val="0"/>
              </a:spcAft>
              <a:buClr>
                <a:schemeClr val="lt1"/>
              </a:buClr>
              <a:buSzPts val="1400"/>
              <a:buChar char="•"/>
              <a:defRPr>
                <a:solidFill>
                  <a:schemeClr val="lt1"/>
                </a:solidFill>
              </a:defRPr>
            </a:lvl4pPr>
            <a:lvl5pPr marL="2286000" lvl="4" indent="-317500" algn="l">
              <a:lnSpc>
                <a:spcPct val="90000"/>
              </a:lnSpc>
              <a:spcBef>
                <a:spcPts val="500"/>
              </a:spcBef>
              <a:spcAft>
                <a:spcPts val="0"/>
              </a:spcAft>
              <a:buClr>
                <a:schemeClr val="lt1"/>
              </a:buClr>
              <a:buSzPts val="1400"/>
              <a:buChar char="•"/>
              <a:defRPr>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0" name="Google Shape;90;p40"/>
          <p:cNvSpPr txBox="1">
            <a:spLocks noGrp="1"/>
          </p:cNvSpPr>
          <p:nvPr>
            <p:ph type="subTitle" idx="2"/>
          </p:nvPr>
        </p:nvSpPr>
        <p:spPr>
          <a:xfrm>
            <a:off x="341868" y="3993405"/>
            <a:ext cx="5208032" cy="365125"/>
          </a:xfrm>
          <a:prstGeom prst="rect">
            <a:avLst/>
          </a:prstGeom>
          <a:noFill/>
          <a:ln>
            <a:noFill/>
          </a:ln>
        </p:spPr>
        <p:txBody>
          <a:bodyPr spcFirstLastPara="1" wrap="square" lIns="91425" tIns="45700" rIns="91425" bIns="45700" anchor="t" anchorCtr="0">
            <a:normAutofit/>
          </a:bodyPr>
          <a:lstStyle>
            <a:lvl1pPr lvl="0" algn="l">
              <a:lnSpc>
                <a:spcPct val="90000"/>
              </a:lnSpc>
              <a:spcBef>
                <a:spcPts val="1000"/>
              </a:spcBef>
              <a:spcAft>
                <a:spcPts val="0"/>
              </a:spcAft>
              <a:buClr>
                <a:schemeClr val="lt1"/>
              </a:buClr>
              <a:buSzPts val="2000"/>
              <a:buNone/>
              <a:defRPr sz="2000">
                <a:solidFill>
                  <a:schemeClr val="lt1"/>
                </a:solidFill>
              </a:defRPr>
            </a:lvl1pPr>
            <a:lvl2pPr lvl="1" algn="ctr">
              <a:lnSpc>
                <a:spcPct val="90000"/>
              </a:lnSpc>
              <a:spcBef>
                <a:spcPts val="500"/>
              </a:spcBef>
              <a:spcAft>
                <a:spcPts val="0"/>
              </a:spcAft>
              <a:buClr>
                <a:schemeClr val="dk2"/>
              </a:buClr>
              <a:buSzPts val="2000"/>
              <a:buNone/>
              <a:defRPr sz="2000"/>
            </a:lvl2pPr>
            <a:lvl3pPr lvl="2" algn="ctr">
              <a:lnSpc>
                <a:spcPct val="90000"/>
              </a:lnSpc>
              <a:spcBef>
                <a:spcPts val="500"/>
              </a:spcBef>
              <a:spcAft>
                <a:spcPts val="0"/>
              </a:spcAft>
              <a:buClr>
                <a:schemeClr val="dk2"/>
              </a:buClr>
              <a:buSzPts val="1800"/>
              <a:buNone/>
              <a:defRPr sz="1800"/>
            </a:lvl3pPr>
            <a:lvl4pPr lvl="3" algn="ctr">
              <a:lnSpc>
                <a:spcPct val="90000"/>
              </a:lnSpc>
              <a:spcBef>
                <a:spcPts val="500"/>
              </a:spcBef>
              <a:spcAft>
                <a:spcPts val="0"/>
              </a:spcAft>
              <a:buClr>
                <a:schemeClr val="dk2"/>
              </a:buClr>
              <a:buSzPts val="1600"/>
              <a:buNone/>
              <a:defRPr sz="1600"/>
            </a:lvl4pPr>
            <a:lvl5pPr lvl="4" algn="ctr">
              <a:lnSpc>
                <a:spcPct val="90000"/>
              </a:lnSpc>
              <a:spcBef>
                <a:spcPts val="500"/>
              </a:spcBef>
              <a:spcAft>
                <a:spcPts val="0"/>
              </a:spcAft>
              <a:buClr>
                <a:schemeClr val="dk2"/>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91" name="Google Shape;91;p40"/>
          <p:cNvSpPr txBox="1">
            <a:spLocks noGrp="1"/>
          </p:cNvSpPr>
          <p:nvPr>
            <p:ph type="dt" idx="10"/>
          </p:nvPr>
        </p:nvSpPr>
        <p:spPr>
          <a:xfrm>
            <a:off x="341868" y="4368504"/>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solidFill>
                  <a:srgbClr val="D7D9D7"/>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2_Title Slide">
  <p:cSld name="2_Title Slide">
    <p:spTree>
      <p:nvGrpSpPr>
        <p:cNvPr id="1" name="Shape 92"/>
        <p:cNvGrpSpPr/>
        <p:nvPr/>
      </p:nvGrpSpPr>
      <p:grpSpPr>
        <a:xfrm>
          <a:off x="0" y="0"/>
          <a:ext cx="0" cy="0"/>
          <a:chOff x="0" y="0"/>
          <a:chExt cx="0" cy="0"/>
        </a:xfrm>
      </p:grpSpPr>
      <p:pic>
        <p:nvPicPr>
          <p:cNvPr id="93" name="Google Shape;93;p41"/>
          <p:cNvPicPr preferRelativeResize="0"/>
          <p:nvPr/>
        </p:nvPicPr>
        <p:blipFill rotWithShape="1">
          <a:blip r:embed="rId2">
            <a:alphaModFix/>
          </a:blip>
          <a:srcRect l="-1" r="14401" b="14400"/>
          <a:stretch/>
        </p:blipFill>
        <p:spPr>
          <a:xfrm>
            <a:off x="0" y="0"/>
            <a:ext cx="12192000" cy="6858000"/>
          </a:xfrm>
          <a:prstGeom prst="rect">
            <a:avLst/>
          </a:prstGeom>
          <a:noFill/>
          <a:ln>
            <a:noFill/>
          </a:ln>
        </p:spPr>
      </p:pic>
      <p:sp>
        <p:nvSpPr>
          <p:cNvPr id="94" name="Google Shape;94;p41"/>
          <p:cNvSpPr/>
          <p:nvPr/>
        </p:nvSpPr>
        <p:spPr>
          <a:xfrm>
            <a:off x="0" y="0"/>
            <a:ext cx="12192000" cy="6858000"/>
          </a:xfrm>
          <a:prstGeom prst="rect">
            <a:avLst/>
          </a:prstGeom>
          <a:solidFill>
            <a:srgbClr val="A9D4FE">
              <a:alpha val="73333"/>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5" name="Google Shape;95;p41"/>
          <p:cNvSpPr txBox="1">
            <a:spLocks noGrp="1"/>
          </p:cNvSpPr>
          <p:nvPr>
            <p:ph type="ctrTitle"/>
          </p:nvPr>
        </p:nvSpPr>
        <p:spPr>
          <a:xfrm>
            <a:off x="341868" y="1683430"/>
            <a:ext cx="7261656" cy="1632577"/>
          </a:xfrm>
          <a:prstGeom prst="rect">
            <a:avLst/>
          </a:prstGeom>
          <a:noFill/>
          <a:ln>
            <a:noFill/>
          </a:ln>
        </p:spPr>
        <p:txBody>
          <a:bodyPr spcFirstLastPara="1" wrap="square" lIns="91425" tIns="45700" rIns="91425" bIns="45700" anchor="t" anchorCtr="0">
            <a:noAutofit/>
          </a:bodyPr>
          <a:lstStyle>
            <a:lvl1pPr lvl="0" algn="l">
              <a:lnSpc>
                <a:spcPct val="90000"/>
              </a:lnSpc>
              <a:spcBef>
                <a:spcPts val="0"/>
              </a:spcBef>
              <a:spcAft>
                <a:spcPts val="0"/>
              </a:spcAft>
              <a:buClr>
                <a:schemeClr val="dk2"/>
              </a:buClr>
              <a:buSzPts val="6600"/>
              <a:buFont typeface="PT Serif"/>
              <a:buNone/>
              <a:defRPr sz="6600">
                <a:solidFill>
                  <a:schemeClr val="dk2"/>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6" name="Google Shape;96;p41"/>
          <p:cNvSpPr txBox="1">
            <a:spLocks noGrp="1"/>
          </p:cNvSpPr>
          <p:nvPr>
            <p:ph type="body" idx="1"/>
          </p:nvPr>
        </p:nvSpPr>
        <p:spPr>
          <a:xfrm>
            <a:off x="341868" y="1269031"/>
            <a:ext cx="4246607" cy="366651"/>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dk2"/>
              </a:buClr>
              <a:buSzPts val="1600"/>
              <a:buNone/>
              <a:defRPr sz="1600" b="0" i="0">
                <a:solidFill>
                  <a:schemeClr val="dk2"/>
                </a:solidFill>
                <a:latin typeface="Source Sans Pro"/>
                <a:ea typeface="Source Sans Pro"/>
                <a:cs typeface="Source Sans Pro"/>
                <a:sym typeface="Source Sans Pro"/>
              </a:defRPr>
            </a:lvl1pPr>
            <a:lvl2pPr marL="914400" lvl="1" indent="-228600" algn="l">
              <a:lnSpc>
                <a:spcPct val="90000"/>
              </a:lnSpc>
              <a:spcBef>
                <a:spcPts val="500"/>
              </a:spcBef>
              <a:spcAft>
                <a:spcPts val="0"/>
              </a:spcAft>
              <a:buClr>
                <a:schemeClr val="lt1"/>
              </a:buClr>
              <a:buSzPts val="1800"/>
              <a:buNone/>
              <a:defRPr>
                <a:solidFill>
                  <a:schemeClr val="lt1"/>
                </a:solidFill>
              </a:defRPr>
            </a:lvl2pPr>
            <a:lvl3pPr marL="1371600" lvl="2" indent="-330200" algn="l">
              <a:lnSpc>
                <a:spcPct val="90000"/>
              </a:lnSpc>
              <a:spcBef>
                <a:spcPts val="500"/>
              </a:spcBef>
              <a:spcAft>
                <a:spcPts val="0"/>
              </a:spcAft>
              <a:buClr>
                <a:schemeClr val="lt1"/>
              </a:buClr>
              <a:buSzPts val="1600"/>
              <a:buChar char="•"/>
              <a:defRPr>
                <a:solidFill>
                  <a:schemeClr val="lt1"/>
                </a:solidFill>
              </a:defRPr>
            </a:lvl3pPr>
            <a:lvl4pPr marL="1828800" lvl="3" indent="-317500" algn="l">
              <a:lnSpc>
                <a:spcPct val="90000"/>
              </a:lnSpc>
              <a:spcBef>
                <a:spcPts val="500"/>
              </a:spcBef>
              <a:spcAft>
                <a:spcPts val="0"/>
              </a:spcAft>
              <a:buClr>
                <a:schemeClr val="lt1"/>
              </a:buClr>
              <a:buSzPts val="1400"/>
              <a:buChar char="•"/>
              <a:defRPr>
                <a:solidFill>
                  <a:schemeClr val="lt1"/>
                </a:solidFill>
              </a:defRPr>
            </a:lvl4pPr>
            <a:lvl5pPr marL="2286000" lvl="4" indent="-317500" algn="l">
              <a:lnSpc>
                <a:spcPct val="90000"/>
              </a:lnSpc>
              <a:spcBef>
                <a:spcPts val="500"/>
              </a:spcBef>
              <a:spcAft>
                <a:spcPts val="0"/>
              </a:spcAft>
              <a:buClr>
                <a:schemeClr val="lt1"/>
              </a:buClr>
              <a:buSzPts val="1400"/>
              <a:buChar char="•"/>
              <a:defRPr>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97" name="Google Shape;97;p41"/>
          <p:cNvPicPr preferRelativeResize="0"/>
          <p:nvPr/>
        </p:nvPicPr>
        <p:blipFill rotWithShape="1">
          <a:blip r:embed="rId3">
            <a:alphaModFix/>
          </a:blip>
          <a:srcRect/>
          <a:stretch/>
        </p:blipFill>
        <p:spPr>
          <a:xfrm>
            <a:off x="432486" y="5931243"/>
            <a:ext cx="2737549" cy="606874"/>
          </a:xfrm>
          <a:prstGeom prst="rect">
            <a:avLst/>
          </a:prstGeom>
          <a:noFill/>
          <a:ln>
            <a:noFill/>
          </a:ln>
        </p:spPr>
      </p:pic>
      <p:pic>
        <p:nvPicPr>
          <p:cNvPr id="98" name="Google Shape;98;p41"/>
          <p:cNvPicPr preferRelativeResize="0"/>
          <p:nvPr/>
        </p:nvPicPr>
        <p:blipFill rotWithShape="1">
          <a:blip r:embed="rId4">
            <a:alphaModFix/>
          </a:blip>
          <a:srcRect/>
          <a:stretch/>
        </p:blipFill>
        <p:spPr>
          <a:xfrm>
            <a:off x="10313774" y="6051214"/>
            <a:ext cx="1623008" cy="486903"/>
          </a:xfrm>
          <a:prstGeom prst="rect">
            <a:avLst/>
          </a:prstGeom>
          <a:noFill/>
          <a:ln>
            <a:noFill/>
          </a:ln>
        </p:spPr>
      </p:pic>
      <p:cxnSp>
        <p:nvCxnSpPr>
          <p:cNvPr id="99" name="Google Shape;99;p41"/>
          <p:cNvCxnSpPr/>
          <p:nvPr/>
        </p:nvCxnSpPr>
        <p:spPr>
          <a:xfrm>
            <a:off x="419100" y="5548640"/>
            <a:ext cx="11353800" cy="0"/>
          </a:xfrm>
          <a:prstGeom prst="straightConnector1">
            <a:avLst/>
          </a:prstGeom>
          <a:noFill/>
          <a:ln w="19050" cap="flat" cmpd="sng">
            <a:solidFill>
              <a:schemeClr val="dk1"/>
            </a:solidFill>
            <a:prstDash val="solid"/>
            <a:miter lim="800000"/>
            <a:headEnd type="none" w="sm" len="sm"/>
            <a:tailEnd type="none" w="sm" len="sm"/>
          </a:ln>
        </p:spPr>
      </p:cxnSp>
      <p:sp>
        <p:nvSpPr>
          <p:cNvPr id="100" name="Google Shape;100;p41"/>
          <p:cNvSpPr txBox="1">
            <a:spLocks noGrp="1"/>
          </p:cNvSpPr>
          <p:nvPr>
            <p:ph type="subTitle" idx="2"/>
          </p:nvPr>
        </p:nvSpPr>
        <p:spPr>
          <a:xfrm>
            <a:off x="341868" y="4099381"/>
            <a:ext cx="4852432" cy="365125"/>
          </a:xfrm>
          <a:prstGeom prst="rect">
            <a:avLst/>
          </a:prstGeom>
          <a:noFill/>
          <a:ln>
            <a:noFill/>
          </a:ln>
        </p:spPr>
        <p:txBody>
          <a:bodyPr spcFirstLastPara="1" wrap="square" lIns="91425" tIns="45700" rIns="91425" bIns="45700" anchor="t" anchorCtr="0">
            <a:normAutofit/>
          </a:bodyPr>
          <a:lstStyle>
            <a:lvl1pPr lvl="0" algn="l">
              <a:lnSpc>
                <a:spcPct val="90000"/>
              </a:lnSpc>
              <a:spcBef>
                <a:spcPts val="1000"/>
              </a:spcBef>
              <a:spcAft>
                <a:spcPts val="0"/>
              </a:spcAft>
              <a:buClr>
                <a:schemeClr val="dk2"/>
              </a:buClr>
              <a:buSzPts val="2000"/>
              <a:buNone/>
              <a:defRPr sz="2000">
                <a:solidFill>
                  <a:schemeClr val="dk2"/>
                </a:solidFill>
              </a:defRPr>
            </a:lvl1pPr>
            <a:lvl2pPr lvl="1" algn="ctr">
              <a:lnSpc>
                <a:spcPct val="90000"/>
              </a:lnSpc>
              <a:spcBef>
                <a:spcPts val="500"/>
              </a:spcBef>
              <a:spcAft>
                <a:spcPts val="0"/>
              </a:spcAft>
              <a:buClr>
                <a:schemeClr val="dk2"/>
              </a:buClr>
              <a:buSzPts val="2000"/>
              <a:buNone/>
              <a:defRPr sz="2000"/>
            </a:lvl2pPr>
            <a:lvl3pPr lvl="2" algn="ctr">
              <a:lnSpc>
                <a:spcPct val="90000"/>
              </a:lnSpc>
              <a:spcBef>
                <a:spcPts val="500"/>
              </a:spcBef>
              <a:spcAft>
                <a:spcPts val="0"/>
              </a:spcAft>
              <a:buClr>
                <a:schemeClr val="dk2"/>
              </a:buClr>
              <a:buSzPts val="1800"/>
              <a:buNone/>
              <a:defRPr sz="1800"/>
            </a:lvl3pPr>
            <a:lvl4pPr lvl="3" algn="ctr">
              <a:lnSpc>
                <a:spcPct val="90000"/>
              </a:lnSpc>
              <a:spcBef>
                <a:spcPts val="500"/>
              </a:spcBef>
              <a:spcAft>
                <a:spcPts val="0"/>
              </a:spcAft>
              <a:buClr>
                <a:schemeClr val="dk2"/>
              </a:buClr>
              <a:buSzPts val="1600"/>
              <a:buNone/>
              <a:defRPr sz="1600"/>
            </a:lvl4pPr>
            <a:lvl5pPr lvl="4" algn="ctr">
              <a:lnSpc>
                <a:spcPct val="90000"/>
              </a:lnSpc>
              <a:spcBef>
                <a:spcPts val="500"/>
              </a:spcBef>
              <a:spcAft>
                <a:spcPts val="0"/>
              </a:spcAft>
              <a:buClr>
                <a:schemeClr val="dk2"/>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01" name="Google Shape;101;p41"/>
          <p:cNvSpPr txBox="1">
            <a:spLocks noGrp="1"/>
          </p:cNvSpPr>
          <p:nvPr>
            <p:ph type="dt" idx="10"/>
          </p:nvPr>
        </p:nvSpPr>
        <p:spPr>
          <a:xfrm>
            <a:off x="341868" y="447448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solidFill>
                  <a:schemeClr val="dk2"/>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1_Title Slide">
  <p:cSld name="1_Title Slide">
    <p:spTree>
      <p:nvGrpSpPr>
        <p:cNvPr id="1" name="Shape 102"/>
        <p:cNvGrpSpPr/>
        <p:nvPr/>
      </p:nvGrpSpPr>
      <p:grpSpPr>
        <a:xfrm>
          <a:off x="0" y="0"/>
          <a:ext cx="0" cy="0"/>
          <a:chOff x="0" y="0"/>
          <a:chExt cx="0" cy="0"/>
        </a:xfrm>
      </p:grpSpPr>
      <p:grpSp>
        <p:nvGrpSpPr>
          <p:cNvPr id="103" name="Google Shape;103;p42"/>
          <p:cNvGrpSpPr/>
          <p:nvPr/>
        </p:nvGrpSpPr>
        <p:grpSpPr>
          <a:xfrm>
            <a:off x="0" y="0"/>
            <a:ext cx="12192001" cy="6858000"/>
            <a:chOff x="0" y="0"/>
            <a:chExt cx="12192001" cy="6858000"/>
          </a:xfrm>
        </p:grpSpPr>
        <p:pic>
          <p:nvPicPr>
            <p:cNvPr id="104" name="Google Shape;104;p42" descr="Background pattern&#10;&#10;Description automatically generated"/>
            <p:cNvPicPr preferRelativeResize="0"/>
            <p:nvPr/>
          </p:nvPicPr>
          <p:blipFill rotWithShape="1">
            <a:blip r:embed="rId2">
              <a:alphaModFix/>
            </a:blip>
            <a:srcRect t="515" r="4392" b="63627"/>
            <a:stretch/>
          </p:blipFill>
          <p:spPr>
            <a:xfrm>
              <a:off x="1" y="0"/>
              <a:ext cx="12192000" cy="6858000"/>
            </a:xfrm>
            <a:prstGeom prst="rect">
              <a:avLst/>
            </a:prstGeom>
            <a:noFill/>
            <a:ln>
              <a:noFill/>
            </a:ln>
          </p:spPr>
        </p:pic>
        <p:sp>
          <p:nvSpPr>
            <p:cNvPr id="105" name="Google Shape;105;p42"/>
            <p:cNvSpPr/>
            <p:nvPr/>
          </p:nvSpPr>
          <p:spPr>
            <a:xfrm>
              <a:off x="0" y="0"/>
              <a:ext cx="12192000" cy="6858000"/>
            </a:xfrm>
            <a:prstGeom prst="rect">
              <a:avLst/>
            </a:prstGeom>
            <a:solidFill>
              <a:srgbClr val="A9D4FE">
                <a:alpha val="55686"/>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pic>
        <p:nvPicPr>
          <p:cNvPr id="106" name="Google Shape;106;p42"/>
          <p:cNvPicPr preferRelativeResize="0"/>
          <p:nvPr/>
        </p:nvPicPr>
        <p:blipFill rotWithShape="1">
          <a:blip r:embed="rId3">
            <a:alphaModFix/>
          </a:blip>
          <a:srcRect/>
          <a:stretch/>
        </p:blipFill>
        <p:spPr>
          <a:xfrm>
            <a:off x="432486" y="5931243"/>
            <a:ext cx="2737549" cy="606874"/>
          </a:xfrm>
          <a:prstGeom prst="rect">
            <a:avLst/>
          </a:prstGeom>
          <a:noFill/>
          <a:ln>
            <a:noFill/>
          </a:ln>
        </p:spPr>
      </p:pic>
      <p:sp>
        <p:nvSpPr>
          <p:cNvPr id="107" name="Google Shape;107;p42"/>
          <p:cNvSpPr txBox="1">
            <a:spLocks noGrp="1"/>
          </p:cNvSpPr>
          <p:nvPr>
            <p:ph type="ctrTitle"/>
          </p:nvPr>
        </p:nvSpPr>
        <p:spPr>
          <a:xfrm>
            <a:off x="341868" y="1683430"/>
            <a:ext cx="7261656" cy="1632577"/>
          </a:xfrm>
          <a:prstGeom prst="rect">
            <a:avLst/>
          </a:prstGeom>
          <a:noFill/>
          <a:ln>
            <a:noFill/>
          </a:ln>
        </p:spPr>
        <p:txBody>
          <a:bodyPr spcFirstLastPara="1" wrap="square" lIns="91425" tIns="45700" rIns="91425" bIns="45700" anchor="t" anchorCtr="0">
            <a:noAutofit/>
          </a:bodyPr>
          <a:lstStyle>
            <a:lvl1pPr lvl="0" algn="l">
              <a:lnSpc>
                <a:spcPct val="90000"/>
              </a:lnSpc>
              <a:spcBef>
                <a:spcPts val="0"/>
              </a:spcBef>
              <a:spcAft>
                <a:spcPts val="0"/>
              </a:spcAft>
              <a:buClr>
                <a:schemeClr val="dk2"/>
              </a:buClr>
              <a:buSzPts val="6600"/>
              <a:buFont typeface="PT Serif"/>
              <a:buNone/>
              <a:defRPr sz="6600">
                <a:solidFill>
                  <a:schemeClr val="dk2"/>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8" name="Google Shape;108;p42"/>
          <p:cNvSpPr txBox="1">
            <a:spLocks noGrp="1"/>
          </p:cNvSpPr>
          <p:nvPr>
            <p:ph type="body" idx="1"/>
          </p:nvPr>
        </p:nvSpPr>
        <p:spPr>
          <a:xfrm>
            <a:off x="341868" y="1269031"/>
            <a:ext cx="4246607" cy="366651"/>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dk2"/>
              </a:buClr>
              <a:buSzPts val="1600"/>
              <a:buNone/>
              <a:defRPr sz="1600" b="0" i="0">
                <a:solidFill>
                  <a:schemeClr val="dk2"/>
                </a:solidFill>
                <a:latin typeface="Source Sans Pro"/>
                <a:ea typeface="Source Sans Pro"/>
                <a:cs typeface="Source Sans Pro"/>
                <a:sym typeface="Source Sans Pro"/>
              </a:defRPr>
            </a:lvl1pPr>
            <a:lvl2pPr marL="914400" lvl="1" indent="-228600" algn="l">
              <a:lnSpc>
                <a:spcPct val="90000"/>
              </a:lnSpc>
              <a:spcBef>
                <a:spcPts val="500"/>
              </a:spcBef>
              <a:spcAft>
                <a:spcPts val="0"/>
              </a:spcAft>
              <a:buClr>
                <a:schemeClr val="lt1"/>
              </a:buClr>
              <a:buSzPts val="1800"/>
              <a:buNone/>
              <a:defRPr>
                <a:solidFill>
                  <a:schemeClr val="lt1"/>
                </a:solidFill>
              </a:defRPr>
            </a:lvl2pPr>
            <a:lvl3pPr marL="1371600" lvl="2" indent="-330200" algn="l">
              <a:lnSpc>
                <a:spcPct val="90000"/>
              </a:lnSpc>
              <a:spcBef>
                <a:spcPts val="500"/>
              </a:spcBef>
              <a:spcAft>
                <a:spcPts val="0"/>
              </a:spcAft>
              <a:buClr>
                <a:schemeClr val="lt1"/>
              </a:buClr>
              <a:buSzPts val="1600"/>
              <a:buChar char="•"/>
              <a:defRPr>
                <a:solidFill>
                  <a:schemeClr val="lt1"/>
                </a:solidFill>
              </a:defRPr>
            </a:lvl3pPr>
            <a:lvl4pPr marL="1828800" lvl="3" indent="-317500" algn="l">
              <a:lnSpc>
                <a:spcPct val="90000"/>
              </a:lnSpc>
              <a:spcBef>
                <a:spcPts val="500"/>
              </a:spcBef>
              <a:spcAft>
                <a:spcPts val="0"/>
              </a:spcAft>
              <a:buClr>
                <a:schemeClr val="lt1"/>
              </a:buClr>
              <a:buSzPts val="1400"/>
              <a:buChar char="•"/>
              <a:defRPr>
                <a:solidFill>
                  <a:schemeClr val="lt1"/>
                </a:solidFill>
              </a:defRPr>
            </a:lvl4pPr>
            <a:lvl5pPr marL="2286000" lvl="4" indent="-317500" algn="l">
              <a:lnSpc>
                <a:spcPct val="90000"/>
              </a:lnSpc>
              <a:spcBef>
                <a:spcPts val="500"/>
              </a:spcBef>
              <a:spcAft>
                <a:spcPts val="0"/>
              </a:spcAft>
              <a:buClr>
                <a:schemeClr val="lt1"/>
              </a:buClr>
              <a:buSzPts val="1400"/>
              <a:buChar char="•"/>
              <a:defRPr>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09" name="Google Shape;109;p42"/>
          <p:cNvPicPr preferRelativeResize="0"/>
          <p:nvPr/>
        </p:nvPicPr>
        <p:blipFill rotWithShape="1">
          <a:blip r:embed="rId4">
            <a:alphaModFix/>
          </a:blip>
          <a:srcRect/>
          <a:stretch/>
        </p:blipFill>
        <p:spPr>
          <a:xfrm>
            <a:off x="10313774" y="6051214"/>
            <a:ext cx="1623008" cy="486903"/>
          </a:xfrm>
          <a:prstGeom prst="rect">
            <a:avLst/>
          </a:prstGeom>
          <a:noFill/>
          <a:ln>
            <a:noFill/>
          </a:ln>
        </p:spPr>
      </p:pic>
      <p:sp>
        <p:nvSpPr>
          <p:cNvPr id="110" name="Google Shape;110;p42"/>
          <p:cNvSpPr txBox="1">
            <a:spLocks noGrp="1"/>
          </p:cNvSpPr>
          <p:nvPr>
            <p:ph type="subTitle" idx="2"/>
          </p:nvPr>
        </p:nvSpPr>
        <p:spPr>
          <a:xfrm>
            <a:off x="341868" y="4099381"/>
            <a:ext cx="4852432" cy="365125"/>
          </a:xfrm>
          <a:prstGeom prst="rect">
            <a:avLst/>
          </a:prstGeom>
          <a:noFill/>
          <a:ln>
            <a:noFill/>
          </a:ln>
        </p:spPr>
        <p:txBody>
          <a:bodyPr spcFirstLastPara="1" wrap="square" lIns="91425" tIns="45700" rIns="91425" bIns="45700" anchor="t" anchorCtr="0">
            <a:normAutofit/>
          </a:bodyPr>
          <a:lstStyle>
            <a:lvl1pPr lvl="0" algn="l">
              <a:lnSpc>
                <a:spcPct val="90000"/>
              </a:lnSpc>
              <a:spcBef>
                <a:spcPts val="1000"/>
              </a:spcBef>
              <a:spcAft>
                <a:spcPts val="0"/>
              </a:spcAft>
              <a:buClr>
                <a:schemeClr val="dk2"/>
              </a:buClr>
              <a:buSzPts val="2000"/>
              <a:buNone/>
              <a:defRPr sz="2000">
                <a:solidFill>
                  <a:schemeClr val="dk2"/>
                </a:solidFill>
              </a:defRPr>
            </a:lvl1pPr>
            <a:lvl2pPr lvl="1" algn="ctr">
              <a:lnSpc>
                <a:spcPct val="90000"/>
              </a:lnSpc>
              <a:spcBef>
                <a:spcPts val="500"/>
              </a:spcBef>
              <a:spcAft>
                <a:spcPts val="0"/>
              </a:spcAft>
              <a:buClr>
                <a:schemeClr val="dk2"/>
              </a:buClr>
              <a:buSzPts val="2000"/>
              <a:buNone/>
              <a:defRPr sz="2000"/>
            </a:lvl2pPr>
            <a:lvl3pPr lvl="2" algn="ctr">
              <a:lnSpc>
                <a:spcPct val="90000"/>
              </a:lnSpc>
              <a:spcBef>
                <a:spcPts val="500"/>
              </a:spcBef>
              <a:spcAft>
                <a:spcPts val="0"/>
              </a:spcAft>
              <a:buClr>
                <a:schemeClr val="dk2"/>
              </a:buClr>
              <a:buSzPts val="1800"/>
              <a:buNone/>
              <a:defRPr sz="1800"/>
            </a:lvl3pPr>
            <a:lvl4pPr lvl="3" algn="ctr">
              <a:lnSpc>
                <a:spcPct val="90000"/>
              </a:lnSpc>
              <a:spcBef>
                <a:spcPts val="500"/>
              </a:spcBef>
              <a:spcAft>
                <a:spcPts val="0"/>
              </a:spcAft>
              <a:buClr>
                <a:schemeClr val="dk2"/>
              </a:buClr>
              <a:buSzPts val="1600"/>
              <a:buNone/>
              <a:defRPr sz="1600"/>
            </a:lvl4pPr>
            <a:lvl5pPr lvl="4" algn="ctr">
              <a:lnSpc>
                <a:spcPct val="90000"/>
              </a:lnSpc>
              <a:spcBef>
                <a:spcPts val="500"/>
              </a:spcBef>
              <a:spcAft>
                <a:spcPts val="0"/>
              </a:spcAft>
              <a:buClr>
                <a:schemeClr val="dk2"/>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11" name="Google Shape;111;p42"/>
          <p:cNvSpPr txBox="1">
            <a:spLocks noGrp="1"/>
          </p:cNvSpPr>
          <p:nvPr>
            <p:ph type="dt" idx="10"/>
          </p:nvPr>
        </p:nvSpPr>
        <p:spPr>
          <a:xfrm>
            <a:off x="341868" y="447448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solidFill>
                  <a:schemeClr val="dk2"/>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cxnSp>
        <p:nvCxnSpPr>
          <p:cNvPr id="112" name="Google Shape;112;p42"/>
          <p:cNvCxnSpPr/>
          <p:nvPr/>
        </p:nvCxnSpPr>
        <p:spPr>
          <a:xfrm>
            <a:off x="419100" y="5548640"/>
            <a:ext cx="11353800" cy="0"/>
          </a:xfrm>
          <a:prstGeom prst="straightConnector1">
            <a:avLst/>
          </a:prstGeom>
          <a:noFill/>
          <a:ln w="19050" cap="flat" cmpd="sng">
            <a:solidFill>
              <a:schemeClr val="dk1"/>
            </a:solidFill>
            <a:prstDash val="solid"/>
            <a:miter lim="800000"/>
            <a:headEnd type="none" w="sm" len="sm"/>
            <a:tailEnd type="none" w="sm" len="sm"/>
          </a:ln>
        </p:spPr>
      </p:cxnSp>
    </p:spTree>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9_Title Slide">
  <p:cSld name="9_Title Slide">
    <p:bg>
      <p:bgPr>
        <a:solidFill>
          <a:srgbClr val="C6F6FF"/>
        </a:solidFill>
        <a:effectLst/>
      </p:bgPr>
    </p:bg>
    <p:spTree>
      <p:nvGrpSpPr>
        <p:cNvPr id="1" name="Shape 113"/>
        <p:cNvGrpSpPr/>
        <p:nvPr/>
      </p:nvGrpSpPr>
      <p:grpSpPr>
        <a:xfrm>
          <a:off x="0" y="0"/>
          <a:ext cx="0" cy="0"/>
          <a:chOff x="0" y="0"/>
          <a:chExt cx="0" cy="0"/>
        </a:xfrm>
      </p:grpSpPr>
      <p:sp>
        <p:nvSpPr>
          <p:cNvPr id="114" name="Google Shape;114;p43"/>
          <p:cNvSpPr txBox="1">
            <a:spLocks noGrp="1"/>
          </p:cNvSpPr>
          <p:nvPr>
            <p:ph type="ctrTitle"/>
          </p:nvPr>
        </p:nvSpPr>
        <p:spPr>
          <a:xfrm>
            <a:off x="341868" y="2612711"/>
            <a:ext cx="9411732" cy="1632577"/>
          </a:xfrm>
          <a:prstGeom prst="rect">
            <a:avLst/>
          </a:prstGeom>
          <a:noFill/>
          <a:ln>
            <a:noFill/>
          </a:ln>
        </p:spPr>
        <p:txBody>
          <a:bodyPr spcFirstLastPara="1" wrap="square" lIns="91425" tIns="45700" rIns="91425" bIns="45700" anchor="t" anchorCtr="0">
            <a:noAutofit/>
          </a:bodyPr>
          <a:lstStyle>
            <a:lvl1pPr lvl="0" algn="l">
              <a:lnSpc>
                <a:spcPct val="90000"/>
              </a:lnSpc>
              <a:spcBef>
                <a:spcPts val="0"/>
              </a:spcBef>
              <a:spcAft>
                <a:spcPts val="0"/>
              </a:spcAft>
              <a:buClr>
                <a:schemeClr val="dk2"/>
              </a:buClr>
              <a:buSzPts val="6600"/>
              <a:buFont typeface="PT Serif"/>
              <a:buNone/>
              <a:defRPr sz="6600">
                <a:solidFill>
                  <a:schemeClr val="dk2"/>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5" name="Google Shape;115;p43"/>
          <p:cNvSpPr txBox="1">
            <a:spLocks noGrp="1"/>
          </p:cNvSpPr>
          <p:nvPr>
            <p:ph type="body" idx="1"/>
          </p:nvPr>
        </p:nvSpPr>
        <p:spPr>
          <a:xfrm>
            <a:off x="341868" y="2198312"/>
            <a:ext cx="4246607" cy="366651"/>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dk2"/>
              </a:buClr>
              <a:buSzPts val="1600"/>
              <a:buNone/>
              <a:defRPr sz="1600" b="0" i="0">
                <a:solidFill>
                  <a:schemeClr val="dk2"/>
                </a:solidFill>
                <a:latin typeface="Source Sans Pro"/>
                <a:ea typeface="Source Sans Pro"/>
                <a:cs typeface="Source Sans Pro"/>
                <a:sym typeface="Source Sans Pro"/>
              </a:defRPr>
            </a:lvl1pPr>
            <a:lvl2pPr marL="914400" lvl="1" indent="-228600" algn="l">
              <a:lnSpc>
                <a:spcPct val="90000"/>
              </a:lnSpc>
              <a:spcBef>
                <a:spcPts val="500"/>
              </a:spcBef>
              <a:spcAft>
                <a:spcPts val="0"/>
              </a:spcAft>
              <a:buClr>
                <a:schemeClr val="lt1"/>
              </a:buClr>
              <a:buSzPts val="1800"/>
              <a:buNone/>
              <a:defRPr>
                <a:solidFill>
                  <a:schemeClr val="lt1"/>
                </a:solidFill>
              </a:defRPr>
            </a:lvl2pPr>
            <a:lvl3pPr marL="1371600" lvl="2" indent="-330200" algn="l">
              <a:lnSpc>
                <a:spcPct val="90000"/>
              </a:lnSpc>
              <a:spcBef>
                <a:spcPts val="500"/>
              </a:spcBef>
              <a:spcAft>
                <a:spcPts val="0"/>
              </a:spcAft>
              <a:buClr>
                <a:schemeClr val="lt1"/>
              </a:buClr>
              <a:buSzPts val="1600"/>
              <a:buChar char="•"/>
              <a:defRPr>
                <a:solidFill>
                  <a:schemeClr val="lt1"/>
                </a:solidFill>
              </a:defRPr>
            </a:lvl3pPr>
            <a:lvl4pPr marL="1828800" lvl="3" indent="-317500" algn="l">
              <a:lnSpc>
                <a:spcPct val="90000"/>
              </a:lnSpc>
              <a:spcBef>
                <a:spcPts val="500"/>
              </a:spcBef>
              <a:spcAft>
                <a:spcPts val="0"/>
              </a:spcAft>
              <a:buClr>
                <a:schemeClr val="lt1"/>
              </a:buClr>
              <a:buSzPts val="1400"/>
              <a:buChar char="•"/>
              <a:defRPr>
                <a:solidFill>
                  <a:schemeClr val="lt1"/>
                </a:solidFill>
              </a:defRPr>
            </a:lvl4pPr>
            <a:lvl5pPr marL="2286000" lvl="4" indent="-317500" algn="l">
              <a:lnSpc>
                <a:spcPct val="90000"/>
              </a:lnSpc>
              <a:spcBef>
                <a:spcPts val="500"/>
              </a:spcBef>
              <a:spcAft>
                <a:spcPts val="0"/>
              </a:spcAft>
              <a:buClr>
                <a:schemeClr val="lt1"/>
              </a:buClr>
              <a:buSzPts val="1400"/>
              <a:buChar char="•"/>
              <a:defRPr>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6" name="Google Shape;116;p43"/>
          <p:cNvSpPr txBox="1">
            <a:spLocks noGrp="1"/>
          </p:cNvSpPr>
          <p:nvPr>
            <p:ph type="ftr" idx="11"/>
          </p:nvPr>
        </p:nvSpPr>
        <p:spPr>
          <a:xfrm>
            <a:off x="7372695" y="6356350"/>
            <a:ext cx="4114800" cy="365125"/>
          </a:xfrm>
          <a:prstGeom prst="rect">
            <a:avLst/>
          </a:prstGeom>
          <a:noFill/>
          <a:ln>
            <a:noFill/>
          </a:ln>
        </p:spPr>
        <p:txBody>
          <a:bodyPr spcFirstLastPara="1" wrap="square" lIns="91425" tIns="45700" rIns="91425" bIns="45700" anchor="ctr" anchorCtr="0">
            <a:noAutofit/>
          </a:bodyPr>
          <a:lstStyle>
            <a:lvl1pPr lvl="0" algn="r">
              <a:spcBef>
                <a:spcPts val="0"/>
              </a:spcBef>
              <a:spcAft>
                <a:spcPts val="0"/>
              </a:spcAft>
              <a:buSzPts val="1400"/>
              <a:buNone/>
              <a:defRPr sz="1200" b="0" i="0">
                <a:solidFill>
                  <a:srgbClr val="8A8A8A"/>
                </a:solidFill>
                <a:latin typeface="Source Sans Pro"/>
                <a:ea typeface="Source Sans Pro"/>
                <a:cs typeface="Source Sans Pro"/>
                <a:sym typeface="Source Sans Pro"/>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17" name="Google Shape;117;p43"/>
          <p:cNvSpPr txBox="1">
            <a:spLocks noGrp="1"/>
          </p:cNvSpPr>
          <p:nvPr>
            <p:ph type="sldNum" idx="12"/>
          </p:nvPr>
        </p:nvSpPr>
        <p:spPr>
          <a:xfrm>
            <a:off x="11474969" y="6356350"/>
            <a:ext cx="406052"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b="0" i="0">
                <a:solidFill>
                  <a:srgbClr val="8A8A8A"/>
                </a:solidFill>
                <a:latin typeface="Source Sans Pro"/>
                <a:ea typeface="Source Sans Pro"/>
                <a:cs typeface="Source Sans Pro"/>
                <a:sym typeface="Source Sans Pro"/>
              </a:defRPr>
            </a:lvl1pPr>
            <a:lvl2pPr marL="0" lvl="1" indent="0" algn="r">
              <a:spcBef>
                <a:spcPts val="0"/>
              </a:spcBef>
              <a:buNone/>
              <a:defRPr sz="1200" b="0" i="0">
                <a:solidFill>
                  <a:srgbClr val="8A8A8A"/>
                </a:solidFill>
                <a:latin typeface="Source Sans Pro"/>
                <a:ea typeface="Source Sans Pro"/>
                <a:cs typeface="Source Sans Pro"/>
                <a:sym typeface="Source Sans Pro"/>
              </a:defRPr>
            </a:lvl2pPr>
            <a:lvl3pPr marL="0" lvl="2" indent="0" algn="r">
              <a:spcBef>
                <a:spcPts val="0"/>
              </a:spcBef>
              <a:buNone/>
              <a:defRPr sz="1200" b="0" i="0">
                <a:solidFill>
                  <a:srgbClr val="8A8A8A"/>
                </a:solidFill>
                <a:latin typeface="Source Sans Pro"/>
                <a:ea typeface="Source Sans Pro"/>
                <a:cs typeface="Source Sans Pro"/>
                <a:sym typeface="Source Sans Pro"/>
              </a:defRPr>
            </a:lvl3pPr>
            <a:lvl4pPr marL="0" lvl="3" indent="0" algn="r">
              <a:spcBef>
                <a:spcPts val="0"/>
              </a:spcBef>
              <a:buNone/>
              <a:defRPr sz="1200" b="0" i="0">
                <a:solidFill>
                  <a:srgbClr val="8A8A8A"/>
                </a:solidFill>
                <a:latin typeface="Source Sans Pro"/>
                <a:ea typeface="Source Sans Pro"/>
                <a:cs typeface="Source Sans Pro"/>
                <a:sym typeface="Source Sans Pro"/>
              </a:defRPr>
            </a:lvl4pPr>
            <a:lvl5pPr marL="0" lvl="4" indent="0" algn="r">
              <a:spcBef>
                <a:spcPts val="0"/>
              </a:spcBef>
              <a:buNone/>
              <a:defRPr sz="1200" b="0" i="0">
                <a:solidFill>
                  <a:srgbClr val="8A8A8A"/>
                </a:solidFill>
                <a:latin typeface="Source Sans Pro"/>
                <a:ea typeface="Source Sans Pro"/>
                <a:cs typeface="Source Sans Pro"/>
                <a:sym typeface="Source Sans Pro"/>
              </a:defRPr>
            </a:lvl5pPr>
            <a:lvl6pPr marL="0" lvl="5" indent="0" algn="r">
              <a:spcBef>
                <a:spcPts val="0"/>
              </a:spcBef>
              <a:buNone/>
              <a:defRPr sz="1200" b="0" i="0">
                <a:solidFill>
                  <a:srgbClr val="8A8A8A"/>
                </a:solidFill>
                <a:latin typeface="Source Sans Pro"/>
                <a:ea typeface="Source Sans Pro"/>
                <a:cs typeface="Source Sans Pro"/>
                <a:sym typeface="Source Sans Pro"/>
              </a:defRPr>
            </a:lvl6pPr>
            <a:lvl7pPr marL="0" lvl="6" indent="0" algn="r">
              <a:spcBef>
                <a:spcPts val="0"/>
              </a:spcBef>
              <a:buNone/>
              <a:defRPr sz="1200" b="0" i="0">
                <a:solidFill>
                  <a:srgbClr val="8A8A8A"/>
                </a:solidFill>
                <a:latin typeface="Source Sans Pro"/>
                <a:ea typeface="Source Sans Pro"/>
                <a:cs typeface="Source Sans Pro"/>
                <a:sym typeface="Source Sans Pro"/>
              </a:defRPr>
            </a:lvl7pPr>
            <a:lvl8pPr marL="0" lvl="7" indent="0" algn="r">
              <a:spcBef>
                <a:spcPts val="0"/>
              </a:spcBef>
              <a:buNone/>
              <a:defRPr sz="1200" b="0" i="0">
                <a:solidFill>
                  <a:srgbClr val="8A8A8A"/>
                </a:solidFill>
                <a:latin typeface="Source Sans Pro"/>
                <a:ea typeface="Source Sans Pro"/>
                <a:cs typeface="Source Sans Pro"/>
                <a:sym typeface="Source Sans Pro"/>
              </a:defRPr>
            </a:lvl8pPr>
            <a:lvl9pPr marL="0" lvl="8" indent="0" algn="r">
              <a:spcBef>
                <a:spcPts val="0"/>
              </a:spcBef>
              <a:buNone/>
              <a:defRPr sz="1200" b="0" i="0">
                <a:solidFill>
                  <a:srgbClr val="8A8A8A"/>
                </a:solidFill>
                <a:latin typeface="Source Sans Pro"/>
                <a:ea typeface="Source Sans Pro"/>
                <a:cs typeface="Source Sans Pro"/>
                <a:sym typeface="Source Sans Pro"/>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5_Title Slide">
  <p:cSld name="5_Title Slide">
    <p:bg>
      <p:bgPr>
        <a:solidFill>
          <a:srgbClr val="014479"/>
        </a:solidFill>
        <a:effectLst/>
      </p:bgPr>
    </p:bg>
    <p:spTree>
      <p:nvGrpSpPr>
        <p:cNvPr id="1" name="Shape 118"/>
        <p:cNvGrpSpPr/>
        <p:nvPr/>
      </p:nvGrpSpPr>
      <p:grpSpPr>
        <a:xfrm>
          <a:off x="0" y="0"/>
          <a:ext cx="0" cy="0"/>
          <a:chOff x="0" y="0"/>
          <a:chExt cx="0" cy="0"/>
        </a:xfrm>
      </p:grpSpPr>
      <p:sp>
        <p:nvSpPr>
          <p:cNvPr id="119" name="Google Shape;119;p44"/>
          <p:cNvSpPr txBox="1">
            <a:spLocks noGrp="1"/>
          </p:cNvSpPr>
          <p:nvPr>
            <p:ph type="ctrTitle"/>
          </p:nvPr>
        </p:nvSpPr>
        <p:spPr>
          <a:xfrm>
            <a:off x="341868" y="2612711"/>
            <a:ext cx="7261656" cy="1632577"/>
          </a:xfrm>
          <a:prstGeom prst="rect">
            <a:avLst/>
          </a:prstGeom>
          <a:noFill/>
          <a:ln>
            <a:noFill/>
          </a:ln>
        </p:spPr>
        <p:txBody>
          <a:bodyPr spcFirstLastPara="1" wrap="square" lIns="91425" tIns="45700" rIns="91425" bIns="45700" anchor="t" anchorCtr="0">
            <a:noAutofit/>
          </a:bodyPr>
          <a:lstStyle>
            <a:lvl1pPr lvl="0" algn="l">
              <a:lnSpc>
                <a:spcPct val="90000"/>
              </a:lnSpc>
              <a:spcBef>
                <a:spcPts val="0"/>
              </a:spcBef>
              <a:spcAft>
                <a:spcPts val="0"/>
              </a:spcAft>
              <a:buClr>
                <a:schemeClr val="lt1"/>
              </a:buClr>
              <a:buSzPts val="6600"/>
              <a:buFont typeface="PT Serif"/>
              <a:buNone/>
              <a:defRPr sz="6600">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0" name="Google Shape;120;p44"/>
          <p:cNvSpPr txBox="1">
            <a:spLocks noGrp="1"/>
          </p:cNvSpPr>
          <p:nvPr>
            <p:ph type="body" idx="1"/>
          </p:nvPr>
        </p:nvSpPr>
        <p:spPr>
          <a:xfrm>
            <a:off x="341868" y="2198312"/>
            <a:ext cx="4246607" cy="366651"/>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lt1"/>
              </a:buClr>
              <a:buSzPts val="1600"/>
              <a:buNone/>
              <a:defRPr sz="1600" b="0" i="0">
                <a:solidFill>
                  <a:schemeClr val="lt1"/>
                </a:solidFill>
                <a:latin typeface="Source Sans Pro"/>
                <a:ea typeface="Source Sans Pro"/>
                <a:cs typeface="Source Sans Pro"/>
                <a:sym typeface="Source Sans Pro"/>
              </a:defRPr>
            </a:lvl1pPr>
            <a:lvl2pPr marL="914400" lvl="1" indent="-228600" algn="l">
              <a:lnSpc>
                <a:spcPct val="90000"/>
              </a:lnSpc>
              <a:spcBef>
                <a:spcPts val="500"/>
              </a:spcBef>
              <a:spcAft>
                <a:spcPts val="0"/>
              </a:spcAft>
              <a:buClr>
                <a:schemeClr val="lt1"/>
              </a:buClr>
              <a:buSzPts val="1800"/>
              <a:buNone/>
              <a:defRPr>
                <a:solidFill>
                  <a:schemeClr val="lt1"/>
                </a:solidFill>
              </a:defRPr>
            </a:lvl2pPr>
            <a:lvl3pPr marL="1371600" lvl="2" indent="-330200" algn="l">
              <a:lnSpc>
                <a:spcPct val="90000"/>
              </a:lnSpc>
              <a:spcBef>
                <a:spcPts val="500"/>
              </a:spcBef>
              <a:spcAft>
                <a:spcPts val="0"/>
              </a:spcAft>
              <a:buClr>
                <a:schemeClr val="lt1"/>
              </a:buClr>
              <a:buSzPts val="1600"/>
              <a:buChar char="•"/>
              <a:defRPr>
                <a:solidFill>
                  <a:schemeClr val="lt1"/>
                </a:solidFill>
              </a:defRPr>
            </a:lvl3pPr>
            <a:lvl4pPr marL="1828800" lvl="3" indent="-317500" algn="l">
              <a:lnSpc>
                <a:spcPct val="90000"/>
              </a:lnSpc>
              <a:spcBef>
                <a:spcPts val="500"/>
              </a:spcBef>
              <a:spcAft>
                <a:spcPts val="0"/>
              </a:spcAft>
              <a:buClr>
                <a:schemeClr val="lt1"/>
              </a:buClr>
              <a:buSzPts val="1400"/>
              <a:buChar char="•"/>
              <a:defRPr>
                <a:solidFill>
                  <a:schemeClr val="lt1"/>
                </a:solidFill>
              </a:defRPr>
            </a:lvl4pPr>
            <a:lvl5pPr marL="2286000" lvl="4" indent="-317500" algn="l">
              <a:lnSpc>
                <a:spcPct val="90000"/>
              </a:lnSpc>
              <a:spcBef>
                <a:spcPts val="500"/>
              </a:spcBef>
              <a:spcAft>
                <a:spcPts val="0"/>
              </a:spcAft>
              <a:buClr>
                <a:schemeClr val="lt1"/>
              </a:buClr>
              <a:buSzPts val="1400"/>
              <a:buChar char="•"/>
              <a:defRPr>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1" name="Google Shape;121;p44"/>
          <p:cNvSpPr txBox="1">
            <a:spLocks noGrp="1"/>
          </p:cNvSpPr>
          <p:nvPr>
            <p:ph type="ftr" idx="11"/>
          </p:nvPr>
        </p:nvSpPr>
        <p:spPr>
          <a:xfrm>
            <a:off x="7372695" y="6356350"/>
            <a:ext cx="4114800" cy="365125"/>
          </a:xfrm>
          <a:prstGeom prst="rect">
            <a:avLst/>
          </a:prstGeom>
          <a:noFill/>
          <a:ln>
            <a:noFill/>
          </a:ln>
        </p:spPr>
        <p:txBody>
          <a:bodyPr spcFirstLastPara="1" wrap="square" lIns="91425" tIns="45700" rIns="91425" bIns="45700" anchor="ctr" anchorCtr="0">
            <a:noAutofit/>
          </a:bodyPr>
          <a:lstStyle>
            <a:lvl1pPr lvl="0" algn="r">
              <a:spcBef>
                <a:spcPts val="0"/>
              </a:spcBef>
              <a:spcAft>
                <a:spcPts val="0"/>
              </a:spcAft>
              <a:buSzPts val="1400"/>
              <a:buNone/>
              <a:defRPr sz="1200" b="0" i="0">
                <a:solidFill>
                  <a:srgbClr val="E8E8E8"/>
                </a:solidFill>
                <a:latin typeface="Source Sans Pro"/>
                <a:ea typeface="Source Sans Pro"/>
                <a:cs typeface="Source Sans Pro"/>
                <a:sym typeface="Source Sans Pro"/>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22" name="Google Shape;122;p44"/>
          <p:cNvSpPr txBox="1">
            <a:spLocks noGrp="1"/>
          </p:cNvSpPr>
          <p:nvPr>
            <p:ph type="sldNum" idx="12"/>
          </p:nvPr>
        </p:nvSpPr>
        <p:spPr>
          <a:xfrm>
            <a:off x="11474969" y="6356350"/>
            <a:ext cx="406052"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b="0" i="0">
                <a:solidFill>
                  <a:srgbClr val="E8E8E8"/>
                </a:solidFill>
                <a:latin typeface="Source Sans Pro"/>
                <a:ea typeface="Source Sans Pro"/>
                <a:cs typeface="Source Sans Pro"/>
                <a:sym typeface="Source Sans Pro"/>
              </a:defRPr>
            </a:lvl1pPr>
            <a:lvl2pPr marL="0" lvl="1" indent="0" algn="r">
              <a:spcBef>
                <a:spcPts val="0"/>
              </a:spcBef>
              <a:buNone/>
              <a:defRPr sz="1200" b="0" i="0">
                <a:solidFill>
                  <a:srgbClr val="E8E8E8"/>
                </a:solidFill>
                <a:latin typeface="Source Sans Pro"/>
                <a:ea typeface="Source Sans Pro"/>
                <a:cs typeface="Source Sans Pro"/>
                <a:sym typeface="Source Sans Pro"/>
              </a:defRPr>
            </a:lvl2pPr>
            <a:lvl3pPr marL="0" lvl="2" indent="0" algn="r">
              <a:spcBef>
                <a:spcPts val="0"/>
              </a:spcBef>
              <a:buNone/>
              <a:defRPr sz="1200" b="0" i="0">
                <a:solidFill>
                  <a:srgbClr val="E8E8E8"/>
                </a:solidFill>
                <a:latin typeface="Source Sans Pro"/>
                <a:ea typeface="Source Sans Pro"/>
                <a:cs typeface="Source Sans Pro"/>
                <a:sym typeface="Source Sans Pro"/>
              </a:defRPr>
            </a:lvl3pPr>
            <a:lvl4pPr marL="0" lvl="3" indent="0" algn="r">
              <a:spcBef>
                <a:spcPts val="0"/>
              </a:spcBef>
              <a:buNone/>
              <a:defRPr sz="1200" b="0" i="0">
                <a:solidFill>
                  <a:srgbClr val="E8E8E8"/>
                </a:solidFill>
                <a:latin typeface="Source Sans Pro"/>
                <a:ea typeface="Source Sans Pro"/>
                <a:cs typeface="Source Sans Pro"/>
                <a:sym typeface="Source Sans Pro"/>
              </a:defRPr>
            </a:lvl4pPr>
            <a:lvl5pPr marL="0" lvl="4" indent="0" algn="r">
              <a:spcBef>
                <a:spcPts val="0"/>
              </a:spcBef>
              <a:buNone/>
              <a:defRPr sz="1200" b="0" i="0">
                <a:solidFill>
                  <a:srgbClr val="E8E8E8"/>
                </a:solidFill>
                <a:latin typeface="Source Sans Pro"/>
                <a:ea typeface="Source Sans Pro"/>
                <a:cs typeface="Source Sans Pro"/>
                <a:sym typeface="Source Sans Pro"/>
              </a:defRPr>
            </a:lvl5pPr>
            <a:lvl6pPr marL="0" lvl="5" indent="0" algn="r">
              <a:spcBef>
                <a:spcPts val="0"/>
              </a:spcBef>
              <a:buNone/>
              <a:defRPr sz="1200" b="0" i="0">
                <a:solidFill>
                  <a:srgbClr val="E8E8E8"/>
                </a:solidFill>
                <a:latin typeface="Source Sans Pro"/>
                <a:ea typeface="Source Sans Pro"/>
                <a:cs typeface="Source Sans Pro"/>
                <a:sym typeface="Source Sans Pro"/>
              </a:defRPr>
            </a:lvl6pPr>
            <a:lvl7pPr marL="0" lvl="6" indent="0" algn="r">
              <a:spcBef>
                <a:spcPts val="0"/>
              </a:spcBef>
              <a:buNone/>
              <a:defRPr sz="1200" b="0" i="0">
                <a:solidFill>
                  <a:srgbClr val="E8E8E8"/>
                </a:solidFill>
                <a:latin typeface="Source Sans Pro"/>
                <a:ea typeface="Source Sans Pro"/>
                <a:cs typeface="Source Sans Pro"/>
                <a:sym typeface="Source Sans Pro"/>
              </a:defRPr>
            </a:lvl7pPr>
            <a:lvl8pPr marL="0" lvl="7" indent="0" algn="r">
              <a:spcBef>
                <a:spcPts val="0"/>
              </a:spcBef>
              <a:buNone/>
              <a:defRPr sz="1200" b="0" i="0">
                <a:solidFill>
                  <a:srgbClr val="E8E8E8"/>
                </a:solidFill>
                <a:latin typeface="Source Sans Pro"/>
                <a:ea typeface="Source Sans Pro"/>
                <a:cs typeface="Source Sans Pro"/>
                <a:sym typeface="Source Sans Pro"/>
              </a:defRPr>
            </a:lvl8pPr>
            <a:lvl9pPr marL="0" lvl="8" indent="0" algn="r">
              <a:spcBef>
                <a:spcPts val="0"/>
              </a:spcBef>
              <a:buNone/>
              <a:defRPr sz="1200" b="0" i="0">
                <a:solidFill>
                  <a:srgbClr val="E8E8E8"/>
                </a:solidFill>
                <a:latin typeface="Source Sans Pro"/>
                <a:ea typeface="Source Sans Pro"/>
                <a:cs typeface="Source Sans Pro"/>
                <a:sym typeface="Source Sans Pro"/>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12_Title Slide">
  <p:cSld name="12_Title Slide">
    <p:bg>
      <p:bgPr>
        <a:solidFill>
          <a:srgbClr val="BFE4FF"/>
        </a:solidFill>
        <a:effectLst/>
      </p:bgPr>
    </p:bg>
    <p:spTree>
      <p:nvGrpSpPr>
        <p:cNvPr id="1" name="Shape 128"/>
        <p:cNvGrpSpPr/>
        <p:nvPr/>
      </p:nvGrpSpPr>
      <p:grpSpPr>
        <a:xfrm>
          <a:off x="0" y="0"/>
          <a:ext cx="0" cy="0"/>
          <a:chOff x="0" y="0"/>
          <a:chExt cx="0" cy="0"/>
        </a:xfrm>
      </p:grpSpPr>
      <p:sp>
        <p:nvSpPr>
          <p:cNvPr id="129" name="Google Shape;129;p46"/>
          <p:cNvSpPr txBox="1">
            <a:spLocks noGrp="1"/>
          </p:cNvSpPr>
          <p:nvPr>
            <p:ph type="ctrTitle"/>
          </p:nvPr>
        </p:nvSpPr>
        <p:spPr>
          <a:xfrm>
            <a:off x="2465171" y="2767691"/>
            <a:ext cx="7261656" cy="1632577"/>
          </a:xfrm>
          <a:prstGeom prst="rect">
            <a:avLst/>
          </a:prstGeom>
          <a:noFill/>
          <a:ln>
            <a:noFill/>
          </a:ln>
        </p:spPr>
        <p:txBody>
          <a:bodyPr spcFirstLastPara="1" wrap="square" lIns="91425" tIns="45700" rIns="91425" bIns="45700" anchor="t" anchorCtr="0">
            <a:noAutofit/>
          </a:bodyPr>
          <a:lstStyle>
            <a:lvl1pPr lvl="0" algn="ctr">
              <a:lnSpc>
                <a:spcPct val="90000"/>
              </a:lnSpc>
              <a:spcBef>
                <a:spcPts val="0"/>
              </a:spcBef>
              <a:spcAft>
                <a:spcPts val="0"/>
              </a:spcAft>
              <a:buClr>
                <a:schemeClr val="dk2"/>
              </a:buClr>
              <a:buSzPts val="6600"/>
              <a:buFont typeface="PT Serif"/>
              <a:buNone/>
              <a:defRPr sz="6600">
                <a:solidFill>
                  <a:schemeClr val="dk2"/>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0" name="Google Shape;130;p46"/>
          <p:cNvSpPr txBox="1">
            <a:spLocks noGrp="1"/>
          </p:cNvSpPr>
          <p:nvPr>
            <p:ph type="body" idx="1"/>
          </p:nvPr>
        </p:nvSpPr>
        <p:spPr>
          <a:xfrm>
            <a:off x="3972696" y="2353292"/>
            <a:ext cx="4246607" cy="366651"/>
          </a:xfrm>
          <a:prstGeom prst="rect">
            <a:avLst/>
          </a:prstGeom>
          <a:noFill/>
          <a:ln>
            <a:noFill/>
          </a:ln>
        </p:spPr>
        <p:txBody>
          <a:bodyPr spcFirstLastPara="1" wrap="square" lIns="91425" tIns="45700" rIns="91425" bIns="45700" anchor="t" anchorCtr="0">
            <a:normAutofit/>
          </a:bodyPr>
          <a:lstStyle>
            <a:lvl1pPr marL="457200" lvl="0" indent="-228600" algn="ctr">
              <a:lnSpc>
                <a:spcPct val="90000"/>
              </a:lnSpc>
              <a:spcBef>
                <a:spcPts val="1000"/>
              </a:spcBef>
              <a:spcAft>
                <a:spcPts val="0"/>
              </a:spcAft>
              <a:buClr>
                <a:schemeClr val="dk2"/>
              </a:buClr>
              <a:buSzPts val="1600"/>
              <a:buNone/>
              <a:defRPr sz="1600" b="0" i="0">
                <a:solidFill>
                  <a:schemeClr val="dk2"/>
                </a:solidFill>
                <a:latin typeface="Source Sans Pro"/>
                <a:ea typeface="Source Sans Pro"/>
                <a:cs typeface="Source Sans Pro"/>
                <a:sym typeface="Source Sans Pro"/>
              </a:defRPr>
            </a:lvl1pPr>
            <a:lvl2pPr marL="914400" lvl="1" indent="-228600" algn="l">
              <a:lnSpc>
                <a:spcPct val="90000"/>
              </a:lnSpc>
              <a:spcBef>
                <a:spcPts val="500"/>
              </a:spcBef>
              <a:spcAft>
                <a:spcPts val="0"/>
              </a:spcAft>
              <a:buClr>
                <a:schemeClr val="lt1"/>
              </a:buClr>
              <a:buSzPts val="1800"/>
              <a:buNone/>
              <a:defRPr>
                <a:solidFill>
                  <a:schemeClr val="lt1"/>
                </a:solidFill>
              </a:defRPr>
            </a:lvl2pPr>
            <a:lvl3pPr marL="1371600" lvl="2" indent="-330200" algn="l">
              <a:lnSpc>
                <a:spcPct val="90000"/>
              </a:lnSpc>
              <a:spcBef>
                <a:spcPts val="500"/>
              </a:spcBef>
              <a:spcAft>
                <a:spcPts val="0"/>
              </a:spcAft>
              <a:buClr>
                <a:schemeClr val="lt1"/>
              </a:buClr>
              <a:buSzPts val="1600"/>
              <a:buChar char="•"/>
              <a:defRPr>
                <a:solidFill>
                  <a:schemeClr val="lt1"/>
                </a:solidFill>
              </a:defRPr>
            </a:lvl3pPr>
            <a:lvl4pPr marL="1828800" lvl="3" indent="-317500" algn="l">
              <a:lnSpc>
                <a:spcPct val="90000"/>
              </a:lnSpc>
              <a:spcBef>
                <a:spcPts val="500"/>
              </a:spcBef>
              <a:spcAft>
                <a:spcPts val="0"/>
              </a:spcAft>
              <a:buClr>
                <a:schemeClr val="lt1"/>
              </a:buClr>
              <a:buSzPts val="1400"/>
              <a:buChar char="•"/>
              <a:defRPr>
                <a:solidFill>
                  <a:schemeClr val="lt1"/>
                </a:solidFill>
              </a:defRPr>
            </a:lvl4pPr>
            <a:lvl5pPr marL="2286000" lvl="4" indent="-317500" algn="l">
              <a:lnSpc>
                <a:spcPct val="90000"/>
              </a:lnSpc>
              <a:spcBef>
                <a:spcPts val="500"/>
              </a:spcBef>
              <a:spcAft>
                <a:spcPts val="0"/>
              </a:spcAft>
              <a:buClr>
                <a:schemeClr val="lt1"/>
              </a:buClr>
              <a:buSzPts val="1400"/>
              <a:buChar char="•"/>
              <a:defRPr>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1" name="Google Shape;131;p46"/>
          <p:cNvSpPr txBox="1">
            <a:spLocks noGrp="1"/>
          </p:cNvSpPr>
          <p:nvPr>
            <p:ph type="ftr" idx="11"/>
          </p:nvPr>
        </p:nvSpPr>
        <p:spPr>
          <a:xfrm>
            <a:off x="7372695" y="6356350"/>
            <a:ext cx="4114800" cy="365125"/>
          </a:xfrm>
          <a:prstGeom prst="rect">
            <a:avLst/>
          </a:prstGeom>
          <a:noFill/>
          <a:ln>
            <a:noFill/>
          </a:ln>
        </p:spPr>
        <p:txBody>
          <a:bodyPr spcFirstLastPara="1" wrap="square" lIns="91425" tIns="45700" rIns="91425" bIns="45700" anchor="ctr" anchorCtr="0">
            <a:noAutofit/>
          </a:bodyPr>
          <a:lstStyle>
            <a:lvl1pPr lvl="0" algn="r">
              <a:spcBef>
                <a:spcPts val="0"/>
              </a:spcBef>
              <a:spcAft>
                <a:spcPts val="0"/>
              </a:spcAft>
              <a:buSzPts val="1400"/>
              <a:buNone/>
              <a:defRPr sz="1200" b="0" i="0">
                <a:solidFill>
                  <a:srgbClr val="8A8A8A"/>
                </a:solidFill>
                <a:latin typeface="Source Sans Pro"/>
                <a:ea typeface="Source Sans Pro"/>
                <a:cs typeface="Source Sans Pro"/>
                <a:sym typeface="Source Sans Pro"/>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32" name="Google Shape;132;p46"/>
          <p:cNvSpPr txBox="1">
            <a:spLocks noGrp="1"/>
          </p:cNvSpPr>
          <p:nvPr>
            <p:ph type="sldNum" idx="12"/>
          </p:nvPr>
        </p:nvSpPr>
        <p:spPr>
          <a:xfrm>
            <a:off x="11474969" y="6356350"/>
            <a:ext cx="406052"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b="0" i="0">
                <a:solidFill>
                  <a:srgbClr val="8A8A8A"/>
                </a:solidFill>
                <a:latin typeface="Source Sans Pro"/>
                <a:ea typeface="Source Sans Pro"/>
                <a:cs typeface="Source Sans Pro"/>
                <a:sym typeface="Source Sans Pro"/>
              </a:defRPr>
            </a:lvl1pPr>
            <a:lvl2pPr marL="0" lvl="1" indent="0" algn="r">
              <a:spcBef>
                <a:spcPts val="0"/>
              </a:spcBef>
              <a:buNone/>
              <a:defRPr sz="1200" b="0" i="0">
                <a:solidFill>
                  <a:srgbClr val="8A8A8A"/>
                </a:solidFill>
                <a:latin typeface="Source Sans Pro"/>
                <a:ea typeface="Source Sans Pro"/>
                <a:cs typeface="Source Sans Pro"/>
                <a:sym typeface="Source Sans Pro"/>
              </a:defRPr>
            </a:lvl2pPr>
            <a:lvl3pPr marL="0" lvl="2" indent="0" algn="r">
              <a:spcBef>
                <a:spcPts val="0"/>
              </a:spcBef>
              <a:buNone/>
              <a:defRPr sz="1200" b="0" i="0">
                <a:solidFill>
                  <a:srgbClr val="8A8A8A"/>
                </a:solidFill>
                <a:latin typeface="Source Sans Pro"/>
                <a:ea typeface="Source Sans Pro"/>
                <a:cs typeface="Source Sans Pro"/>
                <a:sym typeface="Source Sans Pro"/>
              </a:defRPr>
            </a:lvl3pPr>
            <a:lvl4pPr marL="0" lvl="3" indent="0" algn="r">
              <a:spcBef>
                <a:spcPts val="0"/>
              </a:spcBef>
              <a:buNone/>
              <a:defRPr sz="1200" b="0" i="0">
                <a:solidFill>
                  <a:srgbClr val="8A8A8A"/>
                </a:solidFill>
                <a:latin typeface="Source Sans Pro"/>
                <a:ea typeface="Source Sans Pro"/>
                <a:cs typeface="Source Sans Pro"/>
                <a:sym typeface="Source Sans Pro"/>
              </a:defRPr>
            </a:lvl4pPr>
            <a:lvl5pPr marL="0" lvl="4" indent="0" algn="r">
              <a:spcBef>
                <a:spcPts val="0"/>
              </a:spcBef>
              <a:buNone/>
              <a:defRPr sz="1200" b="0" i="0">
                <a:solidFill>
                  <a:srgbClr val="8A8A8A"/>
                </a:solidFill>
                <a:latin typeface="Source Sans Pro"/>
                <a:ea typeface="Source Sans Pro"/>
                <a:cs typeface="Source Sans Pro"/>
                <a:sym typeface="Source Sans Pro"/>
              </a:defRPr>
            </a:lvl5pPr>
            <a:lvl6pPr marL="0" lvl="5" indent="0" algn="r">
              <a:spcBef>
                <a:spcPts val="0"/>
              </a:spcBef>
              <a:buNone/>
              <a:defRPr sz="1200" b="0" i="0">
                <a:solidFill>
                  <a:srgbClr val="8A8A8A"/>
                </a:solidFill>
                <a:latin typeface="Source Sans Pro"/>
                <a:ea typeface="Source Sans Pro"/>
                <a:cs typeface="Source Sans Pro"/>
                <a:sym typeface="Source Sans Pro"/>
              </a:defRPr>
            </a:lvl6pPr>
            <a:lvl7pPr marL="0" lvl="6" indent="0" algn="r">
              <a:spcBef>
                <a:spcPts val="0"/>
              </a:spcBef>
              <a:buNone/>
              <a:defRPr sz="1200" b="0" i="0">
                <a:solidFill>
                  <a:srgbClr val="8A8A8A"/>
                </a:solidFill>
                <a:latin typeface="Source Sans Pro"/>
                <a:ea typeface="Source Sans Pro"/>
                <a:cs typeface="Source Sans Pro"/>
                <a:sym typeface="Source Sans Pro"/>
              </a:defRPr>
            </a:lvl7pPr>
            <a:lvl8pPr marL="0" lvl="7" indent="0" algn="r">
              <a:spcBef>
                <a:spcPts val="0"/>
              </a:spcBef>
              <a:buNone/>
              <a:defRPr sz="1200" b="0" i="0">
                <a:solidFill>
                  <a:srgbClr val="8A8A8A"/>
                </a:solidFill>
                <a:latin typeface="Source Sans Pro"/>
                <a:ea typeface="Source Sans Pro"/>
                <a:cs typeface="Source Sans Pro"/>
                <a:sym typeface="Source Sans Pro"/>
              </a:defRPr>
            </a:lvl8pPr>
            <a:lvl9pPr marL="0" lvl="8" indent="0" algn="r">
              <a:spcBef>
                <a:spcPts val="0"/>
              </a:spcBef>
              <a:buNone/>
              <a:defRPr sz="1200" b="0" i="0">
                <a:solidFill>
                  <a:srgbClr val="8A8A8A"/>
                </a:solidFill>
                <a:latin typeface="Source Sans Pro"/>
                <a:ea typeface="Source Sans Pro"/>
                <a:cs typeface="Source Sans Pro"/>
                <a:sym typeface="Source Sans Pro"/>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Two Content">
  <p:cSld name="Two Content">
    <p:spTree>
      <p:nvGrpSpPr>
        <p:cNvPr id="1" name="Shape 133"/>
        <p:cNvGrpSpPr/>
        <p:nvPr/>
      </p:nvGrpSpPr>
      <p:grpSpPr>
        <a:xfrm>
          <a:off x="0" y="0"/>
          <a:ext cx="0" cy="0"/>
          <a:chOff x="0" y="0"/>
          <a:chExt cx="0" cy="0"/>
        </a:xfrm>
      </p:grpSpPr>
      <p:sp>
        <p:nvSpPr>
          <p:cNvPr id="134" name="Google Shape;134;p47"/>
          <p:cNvSpPr txBox="1">
            <a:spLocks noGrp="1"/>
          </p:cNvSpPr>
          <p:nvPr>
            <p:ph type="title"/>
          </p:nvPr>
        </p:nvSpPr>
        <p:spPr>
          <a:xfrm>
            <a:off x="305378" y="373491"/>
            <a:ext cx="5382228" cy="1348217"/>
          </a:xfrm>
          <a:prstGeom prst="rect">
            <a:avLst/>
          </a:prstGeom>
          <a:noFill/>
          <a:ln>
            <a:noFill/>
          </a:ln>
        </p:spPr>
        <p:txBody>
          <a:bodyPr spcFirstLastPara="1" wrap="square" lIns="91425" tIns="45700" rIns="91425" bIns="45700" anchor="t" anchorCtr="0">
            <a:normAutofit/>
          </a:bodyPr>
          <a:lstStyle>
            <a:lvl1pPr lvl="0" algn="l">
              <a:lnSpc>
                <a:spcPct val="90000"/>
              </a:lnSpc>
              <a:spcBef>
                <a:spcPts val="0"/>
              </a:spcBef>
              <a:spcAft>
                <a:spcPts val="0"/>
              </a:spcAft>
              <a:buClr>
                <a:schemeClr val="dk1"/>
              </a:buClr>
              <a:buSzPts val="3600"/>
              <a:buFont typeface="PT Serif"/>
              <a:buNone/>
              <a:defRPr>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5" name="Google Shape;135;p47"/>
          <p:cNvSpPr txBox="1">
            <a:spLocks noGrp="1"/>
          </p:cNvSpPr>
          <p:nvPr>
            <p:ph type="body" idx="1"/>
          </p:nvPr>
        </p:nvSpPr>
        <p:spPr>
          <a:xfrm>
            <a:off x="320246" y="1721708"/>
            <a:ext cx="5382228" cy="4351338"/>
          </a:xfrm>
          <a:prstGeom prst="rect">
            <a:avLst/>
          </a:prstGeom>
          <a:noFill/>
          <a:ln>
            <a:noFill/>
          </a:ln>
        </p:spPr>
        <p:txBody>
          <a:bodyPr spcFirstLastPara="1" wrap="square" lIns="91425" tIns="45700" rIns="91425" bIns="45700" anchor="t" anchorCtr="0">
            <a:normAutofit/>
          </a:bodyPr>
          <a:lstStyle>
            <a:lvl1pPr marL="457200" lvl="0" indent="-317500" algn="l">
              <a:lnSpc>
                <a:spcPct val="90000"/>
              </a:lnSpc>
              <a:spcBef>
                <a:spcPts val="1000"/>
              </a:spcBef>
              <a:spcAft>
                <a:spcPts val="0"/>
              </a:spcAft>
              <a:buClr>
                <a:schemeClr val="accent2"/>
              </a:buClr>
              <a:buSzPts val="1400"/>
              <a:buFont typeface="Noto Sans Symbols"/>
              <a:buChar char="▪"/>
              <a:defRPr/>
            </a:lvl1pPr>
            <a:lvl2pPr marL="914400" lvl="1" indent="-308610" algn="l">
              <a:lnSpc>
                <a:spcPct val="90000"/>
              </a:lnSpc>
              <a:spcBef>
                <a:spcPts val="500"/>
              </a:spcBef>
              <a:spcAft>
                <a:spcPts val="0"/>
              </a:spcAft>
              <a:buClr>
                <a:schemeClr val="accent2"/>
              </a:buClr>
              <a:buSzPts val="1260"/>
              <a:buFont typeface="Noto Sans Symbols"/>
              <a:buChar char="▪"/>
              <a:defRPr/>
            </a:lvl2pPr>
            <a:lvl3pPr marL="1371600" lvl="2" indent="-299719" algn="l">
              <a:lnSpc>
                <a:spcPct val="90000"/>
              </a:lnSpc>
              <a:spcBef>
                <a:spcPts val="500"/>
              </a:spcBef>
              <a:spcAft>
                <a:spcPts val="0"/>
              </a:spcAft>
              <a:buClr>
                <a:schemeClr val="accent2"/>
              </a:buClr>
              <a:buSzPts val="1120"/>
              <a:buFont typeface="Noto Sans Symbols"/>
              <a:buChar char="▪"/>
              <a:defRPr/>
            </a:lvl3pPr>
            <a:lvl4pPr marL="1828800" lvl="3" indent="-290830" algn="l">
              <a:lnSpc>
                <a:spcPct val="90000"/>
              </a:lnSpc>
              <a:spcBef>
                <a:spcPts val="500"/>
              </a:spcBef>
              <a:spcAft>
                <a:spcPts val="0"/>
              </a:spcAft>
              <a:buClr>
                <a:schemeClr val="accent2"/>
              </a:buClr>
              <a:buSzPts val="980"/>
              <a:buFont typeface="Noto Sans Symbols"/>
              <a:buChar char="▪"/>
              <a:defRPr/>
            </a:lvl4pPr>
            <a:lvl5pPr marL="2286000" lvl="4" indent="-290829" algn="l">
              <a:lnSpc>
                <a:spcPct val="90000"/>
              </a:lnSpc>
              <a:spcBef>
                <a:spcPts val="500"/>
              </a:spcBef>
              <a:spcAft>
                <a:spcPts val="0"/>
              </a:spcAft>
              <a:buClr>
                <a:schemeClr val="accent2"/>
              </a:buClr>
              <a:buSzPts val="980"/>
              <a:buFont typeface="Noto Sans Symbols"/>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6" name="Google Shape;136;p47"/>
          <p:cNvSpPr txBox="1">
            <a:spLocks noGrp="1"/>
          </p:cNvSpPr>
          <p:nvPr>
            <p:ph type="ftr" idx="11"/>
          </p:nvPr>
        </p:nvSpPr>
        <p:spPr>
          <a:xfrm>
            <a:off x="7372695" y="6356350"/>
            <a:ext cx="4114800" cy="365125"/>
          </a:xfrm>
          <a:prstGeom prst="rect">
            <a:avLst/>
          </a:prstGeom>
          <a:noFill/>
          <a:ln>
            <a:noFill/>
          </a:ln>
        </p:spPr>
        <p:txBody>
          <a:bodyPr spcFirstLastPara="1" wrap="square" lIns="91425" tIns="45700" rIns="91425" bIns="45700" anchor="ctr" anchorCtr="0">
            <a:noAutofit/>
          </a:bodyPr>
          <a:lstStyle>
            <a:lvl1pPr lvl="0" algn="r">
              <a:spcBef>
                <a:spcPts val="0"/>
              </a:spcBef>
              <a:spcAft>
                <a:spcPts val="0"/>
              </a:spcAft>
              <a:buSzPts val="1400"/>
              <a:buNone/>
              <a:defRPr sz="1200" b="0" i="0">
                <a:solidFill>
                  <a:srgbClr val="8A8A8A"/>
                </a:solidFill>
                <a:latin typeface="Source Sans Pro"/>
                <a:ea typeface="Source Sans Pro"/>
                <a:cs typeface="Source Sans Pro"/>
                <a:sym typeface="Source Sans Pro"/>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37" name="Google Shape;137;p47"/>
          <p:cNvSpPr txBox="1">
            <a:spLocks noGrp="1"/>
          </p:cNvSpPr>
          <p:nvPr>
            <p:ph type="sldNum" idx="12"/>
          </p:nvPr>
        </p:nvSpPr>
        <p:spPr>
          <a:xfrm>
            <a:off x="11474969" y="6356350"/>
            <a:ext cx="406052"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b="0" i="0">
                <a:solidFill>
                  <a:srgbClr val="8A8A8A"/>
                </a:solidFill>
                <a:latin typeface="Source Sans Pro"/>
                <a:ea typeface="Source Sans Pro"/>
                <a:cs typeface="Source Sans Pro"/>
                <a:sym typeface="Source Sans Pro"/>
              </a:defRPr>
            </a:lvl1pPr>
            <a:lvl2pPr marL="0" lvl="1" indent="0" algn="r">
              <a:spcBef>
                <a:spcPts val="0"/>
              </a:spcBef>
              <a:buNone/>
              <a:defRPr sz="1200" b="0" i="0">
                <a:solidFill>
                  <a:srgbClr val="8A8A8A"/>
                </a:solidFill>
                <a:latin typeface="Source Sans Pro"/>
                <a:ea typeface="Source Sans Pro"/>
                <a:cs typeface="Source Sans Pro"/>
                <a:sym typeface="Source Sans Pro"/>
              </a:defRPr>
            </a:lvl2pPr>
            <a:lvl3pPr marL="0" lvl="2" indent="0" algn="r">
              <a:spcBef>
                <a:spcPts val="0"/>
              </a:spcBef>
              <a:buNone/>
              <a:defRPr sz="1200" b="0" i="0">
                <a:solidFill>
                  <a:srgbClr val="8A8A8A"/>
                </a:solidFill>
                <a:latin typeface="Source Sans Pro"/>
                <a:ea typeface="Source Sans Pro"/>
                <a:cs typeface="Source Sans Pro"/>
                <a:sym typeface="Source Sans Pro"/>
              </a:defRPr>
            </a:lvl3pPr>
            <a:lvl4pPr marL="0" lvl="3" indent="0" algn="r">
              <a:spcBef>
                <a:spcPts val="0"/>
              </a:spcBef>
              <a:buNone/>
              <a:defRPr sz="1200" b="0" i="0">
                <a:solidFill>
                  <a:srgbClr val="8A8A8A"/>
                </a:solidFill>
                <a:latin typeface="Source Sans Pro"/>
                <a:ea typeface="Source Sans Pro"/>
                <a:cs typeface="Source Sans Pro"/>
                <a:sym typeface="Source Sans Pro"/>
              </a:defRPr>
            </a:lvl4pPr>
            <a:lvl5pPr marL="0" lvl="4" indent="0" algn="r">
              <a:spcBef>
                <a:spcPts val="0"/>
              </a:spcBef>
              <a:buNone/>
              <a:defRPr sz="1200" b="0" i="0">
                <a:solidFill>
                  <a:srgbClr val="8A8A8A"/>
                </a:solidFill>
                <a:latin typeface="Source Sans Pro"/>
                <a:ea typeface="Source Sans Pro"/>
                <a:cs typeface="Source Sans Pro"/>
                <a:sym typeface="Source Sans Pro"/>
              </a:defRPr>
            </a:lvl5pPr>
            <a:lvl6pPr marL="0" lvl="5" indent="0" algn="r">
              <a:spcBef>
                <a:spcPts val="0"/>
              </a:spcBef>
              <a:buNone/>
              <a:defRPr sz="1200" b="0" i="0">
                <a:solidFill>
                  <a:srgbClr val="8A8A8A"/>
                </a:solidFill>
                <a:latin typeface="Source Sans Pro"/>
                <a:ea typeface="Source Sans Pro"/>
                <a:cs typeface="Source Sans Pro"/>
                <a:sym typeface="Source Sans Pro"/>
              </a:defRPr>
            </a:lvl6pPr>
            <a:lvl7pPr marL="0" lvl="6" indent="0" algn="r">
              <a:spcBef>
                <a:spcPts val="0"/>
              </a:spcBef>
              <a:buNone/>
              <a:defRPr sz="1200" b="0" i="0">
                <a:solidFill>
                  <a:srgbClr val="8A8A8A"/>
                </a:solidFill>
                <a:latin typeface="Source Sans Pro"/>
                <a:ea typeface="Source Sans Pro"/>
                <a:cs typeface="Source Sans Pro"/>
                <a:sym typeface="Source Sans Pro"/>
              </a:defRPr>
            </a:lvl7pPr>
            <a:lvl8pPr marL="0" lvl="7" indent="0" algn="r">
              <a:spcBef>
                <a:spcPts val="0"/>
              </a:spcBef>
              <a:buNone/>
              <a:defRPr sz="1200" b="0" i="0">
                <a:solidFill>
                  <a:srgbClr val="8A8A8A"/>
                </a:solidFill>
                <a:latin typeface="Source Sans Pro"/>
                <a:ea typeface="Source Sans Pro"/>
                <a:cs typeface="Source Sans Pro"/>
                <a:sym typeface="Source Sans Pro"/>
              </a:defRPr>
            </a:lvl8pPr>
            <a:lvl9pPr marL="0" lvl="8" indent="0" algn="r">
              <a:spcBef>
                <a:spcPts val="0"/>
              </a:spcBef>
              <a:buNone/>
              <a:defRPr sz="1200" b="0" i="0">
                <a:solidFill>
                  <a:srgbClr val="8A8A8A"/>
                </a:solidFill>
                <a:latin typeface="Source Sans Pro"/>
                <a:ea typeface="Source Sans Pro"/>
                <a:cs typeface="Source Sans Pro"/>
                <a:sym typeface="Source Sans Pro"/>
              </a:defRPr>
            </a:lvl9pPr>
          </a:lstStyle>
          <a:p>
            <a:pPr marL="0" lvl="0" indent="0" algn="r" rtl="0">
              <a:spcBef>
                <a:spcPts val="0"/>
              </a:spcBef>
              <a:spcAft>
                <a:spcPts val="0"/>
              </a:spcAft>
              <a:buNone/>
            </a:pPr>
            <a:fld id="{00000000-1234-1234-1234-123412341234}" type="slidenum">
              <a:rPr lang="en-US"/>
              <a:t>‹#›</a:t>
            </a:fld>
            <a:endParaRPr/>
          </a:p>
        </p:txBody>
      </p:sp>
      <p:sp>
        <p:nvSpPr>
          <p:cNvPr id="138" name="Google Shape;138;p47"/>
          <p:cNvSpPr>
            <a:spLocks noGrp="1"/>
          </p:cNvSpPr>
          <p:nvPr>
            <p:ph type="pic" idx="2"/>
          </p:nvPr>
        </p:nvSpPr>
        <p:spPr>
          <a:xfrm>
            <a:off x="6096000" y="0"/>
            <a:ext cx="6096000" cy="6858000"/>
          </a:xfrm>
          <a:prstGeom prst="rect">
            <a:avLst/>
          </a:prstGeom>
          <a:noFill/>
          <a:ln>
            <a:noFill/>
          </a:ln>
        </p:spPr>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matchingName="4_Two Content">
  <p:cSld name="4_Two Content">
    <p:spTree>
      <p:nvGrpSpPr>
        <p:cNvPr id="1" name="Shape 139"/>
        <p:cNvGrpSpPr/>
        <p:nvPr/>
      </p:nvGrpSpPr>
      <p:grpSpPr>
        <a:xfrm>
          <a:off x="0" y="0"/>
          <a:ext cx="0" cy="0"/>
          <a:chOff x="0" y="0"/>
          <a:chExt cx="0" cy="0"/>
        </a:xfrm>
      </p:grpSpPr>
      <p:sp>
        <p:nvSpPr>
          <p:cNvPr id="140" name="Google Shape;140;p48"/>
          <p:cNvSpPr txBox="1">
            <a:spLocks noGrp="1"/>
          </p:cNvSpPr>
          <p:nvPr>
            <p:ph type="body" idx="1"/>
          </p:nvPr>
        </p:nvSpPr>
        <p:spPr>
          <a:xfrm>
            <a:off x="320246" y="1721708"/>
            <a:ext cx="5382228" cy="4351338"/>
          </a:xfrm>
          <a:prstGeom prst="rect">
            <a:avLst/>
          </a:prstGeom>
          <a:noFill/>
          <a:ln>
            <a:noFill/>
          </a:ln>
        </p:spPr>
        <p:txBody>
          <a:bodyPr spcFirstLastPara="1" wrap="square" lIns="91425" tIns="45700" rIns="91425" bIns="45700" anchor="t" anchorCtr="0">
            <a:normAutofit/>
          </a:bodyPr>
          <a:lstStyle>
            <a:lvl1pPr marL="457200" lvl="0" indent="-317500" algn="l">
              <a:lnSpc>
                <a:spcPct val="90000"/>
              </a:lnSpc>
              <a:spcBef>
                <a:spcPts val="1000"/>
              </a:spcBef>
              <a:spcAft>
                <a:spcPts val="0"/>
              </a:spcAft>
              <a:buClr>
                <a:schemeClr val="accent2"/>
              </a:buClr>
              <a:buSzPts val="1400"/>
              <a:buFont typeface="Noto Sans Symbols"/>
              <a:buChar char="▪"/>
              <a:defRPr/>
            </a:lvl1pPr>
            <a:lvl2pPr marL="914400" lvl="1" indent="-308610" algn="l">
              <a:lnSpc>
                <a:spcPct val="90000"/>
              </a:lnSpc>
              <a:spcBef>
                <a:spcPts val="500"/>
              </a:spcBef>
              <a:spcAft>
                <a:spcPts val="0"/>
              </a:spcAft>
              <a:buClr>
                <a:schemeClr val="accent2"/>
              </a:buClr>
              <a:buSzPts val="1260"/>
              <a:buFont typeface="Noto Sans Symbols"/>
              <a:buChar char="▪"/>
              <a:defRPr/>
            </a:lvl2pPr>
            <a:lvl3pPr marL="1371600" lvl="2" indent="-299719" algn="l">
              <a:lnSpc>
                <a:spcPct val="90000"/>
              </a:lnSpc>
              <a:spcBef>
                <a:spcPts val="500"/>
              </a:spcBef>
              <a:spcAft>
                <a:spcPts val="0"/>
              </a:spcAft>
              <a:buClr>
                <a:schemeClr val="accent2"/>
              </a:buClr>
              <a:buSzPts val="1120"/>
              <a:buFont typeface="Noto Sans Symbols"/>
              <a:buChar char="▪"/>
              <a:defRPr/>
            </a:lvl3pPr>
            <a:lvl4pPr marL="1828800" lvl="3" indent="-290830" algn="l">
              <a:lnSpc>
                <a:spcPct val="90000"/>
              </a:lnSpc>
              <a:spcBef>
                <a:spcPts val="500"/>
              </a:spcBef>
              <a:spcAft>
                <a:spcPts val="0"/>
              </a:spcAft>
              <a:buClr>
                <a:schemeClr val="accent2"/>
              </a:buClr>
              <a:buSzPts val="980"/>
              <a:buFont typeface="Noto Sans Symbols"/>
              <a:buChar char="▪"/>
              <a:defRPr/>
            </a:lvl4pPr>
            <a:lvl5pPr marL="2286000" lvl="4" indent="-290829" algn="l">
              <a:lnSpc>
                <a:spcPct val="90000"/>
              </a:lnSpc>
              <a:spcBef>
                <a:spcPts val="500"/>
              </a:spcBef>
              <a:spcAft>
                <a:spcPts val="0"/>
              </a:spcAft>
              <a:buClr>
                <a:schemeClr val="accent2"/>
              </a:buClr>
              <a:buSzPts val="980"/>
              <a:buFont typeface="Noto Sans Symbols"/>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1" name="Google Shape;141;p48"/>
          <p:cNvSpPr txBox="1">
            <a:spLocks noGrp="1"/>
          </p:cNvSpPr>
          <p:nvPr>
            <p:ph type="ftr" idx="11"/>
          </p:nvPr>
        </p:nvSpPr>
        <p:spPr>
          <a:xfrm>
            <a:off x="7372695" y="6356350"/>
            <a:ext cx="4114800" cy="365125"/>
          </a:xfrm>
          <a:prstGeom prst="rect">
            <a:avLst/>
          </a:prstGeom>
          <a:noFill/>
          <a:ln>
            <a:noFill/>
          </a:ln>
        </p:spPr>
        <p:txBody>
          <a:bodyPr spcFirstLastPara="1" wrap="square" lIns="91425" tIns="45700" rIns="91425" bIns="45700" anchor="ctr" anchorCtr="0">
            <a:noAutofit/>
          </a:bodyPr>
          <a:lstStyle>
            <a:lvl1pPr lvl="0" algn="r">
              <a:spcBef>
                <a:spcPts val="0"/>
              </a:spcBef>
              <a:spcAft>
                <a:spcPts val="0"/>
              </a:spcAft>
              <a:buSzPts val="1400"/>
              <a:buNone/>
              <a:defRPr sz="1200" b="0" i="0">
                <a:solidFill>
                  <a:srgbClr val="8A8A8A"/>
                </a:solidFill>
                <a:latin typeface="Source Sans Pro"/>
                <a:ea typeface="Source Sans Pro"/>
                <a:cs typeface="Source Sans Pro"/>
                <a:sym typeface="Source Sans Pro"/>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42" name="Google Shape;142;p48"/>
          <p:cNvSpPr txBox="1">
            <a:spLocks noGrp="1"/>
          </p:cNvSpPr>
          <p:nvPr>
            <p:ph type="sldNum" idx="12"/>
          </p:nvPr>
        </p:nvSpPr>
        <p:spPr>
          <a:xfrm>
            <a:off x="11474969" y="6356350"/>
            <a:ext cx="406052"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b="0" i="0">
                <a:solidFill>
                  <a:srgbClr val="8A8A8A"/>
                </a:solidFill>
                <a:latin typeface="Source Sans Pro"/>
                <a:ea typeface="Source Sans Pro"/>
                <a:cs typeface="Source Sans Pro"/>
                <a:sym typeface="Source Sans Pro"/>
              </a:defRPr>
            </a:lvl1pPr>
            <a:lvl2pPr marL="0" lvl="1" indent="0" algn="r">
              <a:spcBef>
                <a:spcPts val="0"/>
              </a:spcBef>
              <a:buNone/>
              <a:defRPr sz="1200" b="0" i="0">
                <a:solidFill>
                  <a:srgbClr val="8A8A8A"/>
                </a:solidFill>
                <a:latin typeface="Source Sans Pro"/>
                <a:ea typeface="Source Sans Pro"/>
                <a:cs typeface="Source Sans Pro"/>
                <a:sym typeface="Source Sans Pro"/>
              </a:defRPr>
            </a:lvl2pPr>
            <a:lvl3pPr marL="0" lvl="2" indent="0" algn="r">
              <a:spcBef>
                <a:spcPts val="0"/>
              </a:spcBef>
              <a:buNone/>
              <a:defRPr sz="1200" b="0" i="0">
                <a:solidFill>
                  <a:srgbClr val="8A8A8A"/>
                </a:solidFill>
                <a:latin typeface="Source Sans Pro"/>
                <a:ea typeface="Source Sans Pro"/>
                <a:cs typeface="Source Sans Pro"/>
                <a:sym typeface="Source Sans Pro"/>
              </a:defRPr>
            </a:lvl3pPr>
            <a:lvl4pPr marL="0" lvl="3" indent="0" algn="r">
              <a:spcBef>
                <a:spcPts val="0"/>
              </a:spcBef>
              <a:buNone/>
              <a:defRPr sz="1200" b="0" i="0">
                <a:solidFill>
                  <a:srgbClr val="8A8A8A"/>
                </a:solidFill>
                <a:latin typeface="Source Sans Pro"/>
                <a:ea typeface="Source Sans Pro"/>
                <a:cs typeface="Source Sans Pro"/>
                <a:sym typeface="Source Sans Pro"/>
              </a:defRPr>
            </a:lvl4pPr>
            <a:lvl5pPr marL="0" lvl="4" indent="0" algn="r">
              <a:spcBef>
                <a:spcPts val="0"/>
              </a:spcBef>
              <a:buNone/>
              <a:defRPr sz="1200" b="0" i="0">
                <a:solidFill>
                  <a:srgbClr val="8A8A8A"/>
                </a:solidFill>
                <a:latin typeface="Source Sans Pro"/>
                <a:ea typeface="Source Sans Pro"/>
                <a:cs typeface="Source Sans Pro"/>
                <a:sym typeface="Source Sans Pro"/>
              </a:defRPr>
            </a:lvl5pPr>
            <a:lvl6pPr marL="0" lvl="5" indent="0" algn="r">
              <a:spcBef>
                <a:spcPts val="0"/>
              </a:spcBef>
              <a:buNone/>
              <a:defRPr sz="1200" b="0" i="0">
                <a:solidFill>
                  <a:srgbClr val="8A8A8A"/>
                </a:solidFill>
                <a:latin typeface="Source Sans Pro"/>
                <a:ea typeface="Source Sans Pro"/>
                <a:cs typeface="Source Sans Pro"/>
                <a:sym typeface="Source Sans Pro"/>
              </a:defRPr>
            </a:lvl6pPr>
            <a:lvl7pPr marL="0" lvl="6" indent="0" algn="r">
              <a:spcBef>
                <a:spcPts val="0"/>
              </a:spcBef>
              <a:buNone/>
              <a:defRPr sz="1200" b="0" i="0">
                <a:solidFill>
                  <a:srgbClr val="8A8A8A"/>
                </a:solidFill>
                <a:latin typeface="Source Sans Pro"/>
                <a:ea typeface="Source Sans Pro"/>
                <a:cs typeface="Source Sans Pro"/>
                <a:sym typeface="Source Sans Pro"/>
              </a:defRPr>
            </a:lvl7pPr>
            <a:lvl8pPr marL="0" lvl="7" indent="0" algn="r">
              <a:spcBef>
                <a:spcPts val="0"/>
              </a:spcBef>
              <a:buNone/>
              <a:defRPr sz="1200" b="0" i="0">
                <a:solidFill>
                  <a:srgbClr val="8A8A8A"/>
                </a:solidFill>
                <a:latin typeface="Source Sans Pro"/>
                <a:ea typeface="Source Sans Pro"/>
                <a:cs typeface="Source Sans Pro"/>
                <a:sym typeface="Source Sans Pro"/>
              </a:defRPr>
            </a:lvl8pPr>
            <a:lvl9pPr marL="0" lvl="8" indent="0" algn="r">
              <a:spcBef>
                <a:spcPts val="0"/>
              </a:spcBef>
              <a:buNone/>
              <a:defRPr sz="1200" b="0" i="0">
                <a:solidFill>
                  <a:srgbClr val="8A8A8A"/>
                </a:solidFill>
                <a:latin typeface="Source Sans Pro"/>
                <a:ea typeface="Source Sans Pro"/>
                <a:cs typeface="Source Sans Pro"/>
                <a:sym typeface="Source Sans Pro"/>
              </a:defRPr>
            </a:lvl9pPr>
          </a:lstStyle>
          <a:p>
            <a:pPr marL="0" lvl="0" indent="0" algn="r" rtl="0">
              <a:spcBef>
                <a:spcPts val="0"/>
              </a:spcBef>
              <a:spcAft>
                <a:spcPts val="0"/>
              </a:spcAft>
              <a:buNone/>
            </a:pPr>
            <a:fld id="{00000000-1234-1234-1234-123412341234}" type="slidenum">
              <a:rPr lang="en-US"/>
              <a:t>‹#›</a:t>
            </a:fld>
            <a:endParaRPr/>
          </a:p>
        </p:txBody>
      </p:sp>
      <p:sp>
        <p:nvSpPr>
          <p:cNvPr id="143" name="Google Shape;143;p48"/>
          <p:cNvSpPr>
            <a:spLocks noGrp="1"/>
          </p:cNvSpPr>
          <p:nvPr>
            <p:ph type="pic" idx="2"/>
          </p:nvPr>
        </p:nvSpPr>
        <p:spPr>
          <a:xfrm>
            <a:off x="6096000" y="0"/>
            <a:ext cx="6096000" cy="6858000"/>
          </a:xfrm>
          <a:prstGeom prst="rect">
            <a:avLst/>
          </a:prstGeom>
          <a:noFill/>
          <a:ln>
            <a:noFill/>
          </a:ln>
        </p:spPr>
      </p:sp>
      <p:sp>
        <p:nvSpPr>
          <p:cNvPr id="144" name="Google Shape;144;p48"/>
          <p:cNvSpPr txBox="1">
            <a:spLocks noGrp="1"/>
          </p:cNvSpPr>
          <p:nvPr>
            <p:ph type="title"/>
          </p:nvPr>
        </p:nvSpPr>
        <p:spPr>
          <a:xfrm>
            <a:off x="312812" y="831349"/>
            <a:ext cx="11353800" cy="746983"/>
          </a:xfrm>
          <a:prstGeom prst="rect">
            <a:avLst/>
          </a:prstGeom>
          <a:noFill/>
          <a:ln>
            <a:noFill/>
          </a:ln>
        </p:spPr>
        <p:txBody>
          <a:bodyPr spcFirstLastPara="1" wrap="square" lIns="91425" tIns="45700" rIns="91425" bIns="45700" anchor="t" anchorCtr="0">
            <a:normAutofit/>
          </a:bodyPr>
          <a:lstStyle>
            <a:lvl1pPr lvl="0" algn="l">
              <a:lnSpc>
                <a:spcPct val="90000"/>
              </a:lnSpc>
              <a:spcBef>
                <a:spcPts val="0"/>
              </a:spcBef>
              <a:spcAft>
                <a:spcPts val="0"/>
              </a:spcAft>
              <a:buClr>
                <a:schemeClr val="dk1"/>
              </a:buClr>
              <a:buSzPts val="3600"/>
              <a:buFont typeface="PT Serif"/>
              <a:buNone/>
              <a:defRPr>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5" name="Google Shape;145;p48"/>
          <p:cNvSpPr txBox="1">
            <a:spLocks noGrp="1"/>
          </p:cNvSpPr>
          <p:nvPr>
            <p:ph type="body" idx="3"/>
          </p:nvPr>
        </p:nvSpPr>
        <p:spPr>
          <a:xfrm>
            <a:off x="327680" y="486053"/>
            <a:ext cx="4246607" cy="366651"/>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dk1"/>
              </a:buClr>
              <a:buSzPts val="1400"/>
              <a:buNone/>
              <a:defRPr sz="1400" b="0" i="0">
                <a:solidFill>
                  <a:schemeClr val="dk1"/>
                </a:solidFill>
                <a:latin typeface="Source Sans Pro"/>
                <a:ea typeface="Source Sans Pro"/>
                <a:cs typeface="Source Sans Pro"/>
                <a:sym typeface="Source Sans Pro"/>
              </a:defRPr>
            </a:lvl1pPr>
            <a:lvl2pPr marL="914400" lvl="1" indent="-228600" algn="l">
              <a:lnSpc>
                <a:spcPct val="90000"/>
              </a:lnSpc>
              <a:spcBef>
                <a:spcPts val="500"/>
              </a:spcBef>
              <a:spcAft>
                <a:spcPts val="0"/>
              </a:spcAft>
              <a:buClr>
                <a:schemeClr val="lt1"/>
              </a:buClr>
              <a:buSzPts val="1800"/>
              <a:buNone/>
              <a:defRPr>
                <a:solidFill>
                  <a:schemeClr val="lt1"/>
                </a:solidFill>
              </a:defRPr>
            </a:lvl2pPr>
            <a:lvl3pPr marL="1371600" lvl="2" indent="-330200" algn="l">
              <a:lnSpc>
                <a:spcPct val="90000"/>
              </a:lnSpc>
              <a:spcBef>
                <a:spcPts val="500"/>
              </a:spcBef>
              <a:spcAft>
                <a:spcPts val="0"/>
              </a:spcAft>
              <a:buClr>
                <a:schemeClr val="lt1"/>
              </a:buClr>
              <a:buSzPts val="1600"/>
              <a:buChar char="•"/>
              <a:defRPr>
                <a:solidFill>
                  <a:schemeClr val="lt1"/>
                </a:solidFill>
              </a:defRPr>
            </a:lvl3pPr>
            <a:lvl4pPr marL="1828800" lvl="3" indent="-317500" algn="l">
              <a:lnSpc>
                <a:spcPct val="90000"/>
              </a:lnSpc>
              <a:spcBef>
                <a:spcPts val="500"/>
              </a:spcBef>
              <a:spcAft>
                <a:spcPts val="0"/>
              </a:spcAft>
              <a:buClr>
                <a:schemeClr val="lt1"/>
              </a:buClr>
              <a:buSzPts val="1400"/>
              <a:buChar char="•"/>
              <a:defRPr>
                <a:solidFill>
                  <a:schemeClr val="lt1"/>
                </a:solidFill>
              </a:defRPr>
            </a:lvl4pPr>
            <a:lvl5pPr marL="2286000" lvl="4" indent="-317500" algn="l">
              <a:lnSpc>
                <a:spcPct val="90000"/>
              </a:lnSpc>
              <a:spcBef>
                <a:spcPts val="500"/>
              </a:spcBef>
              <a:spcAft>
                <a:spcPts val="0"/>
              </a:spcAft>
              <a:buClr>
                <a:schemeClr val="lt1"/>
              </a:buClr>
              <a:buSzPts val="1400"/>
              <a:buChar char="•"/>
              <a:defRPr>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matchingName="1_Two Content">
  <p:cSld name="1_Two Content">
    <p:spTree>
      <p:nvGrpSpPr>
        <p:cNvPr id="1" name="Shape 146"/>
        <p:cNvGrpSpPr/>
        <p:nvPr/>
      </p:nvGrpSpPr>
      <p:grpSpPr>
        <a:xfrm>
          <a:off x="0" y="0"/>
          <a:ext cx="0" cy="0"/>
          <a:chOff x="0" y="0"/>
          <a:chExt cx="0" cy="0"/>
        </a:xfrm>
      </p:grpSpPr>
      <p:sp>
        <p:nvSpPr>
          <p:cNvPr id="147" name="Google Shape;147;p49"/>
          <p:cNvSpPr txBox="1">
            <a:spLocks noGrp="1"/>
          </p:cNvSpPr>
          <p:nvPr>
            <p:ph type="title"/>
          </p:nvPr>
        </p:nvSpPr>
        <p:spPr>
          <a:xfrm>
            <a:off x="305378" y="373491"/>
            <a:ext cx="6311212" cy="1348217"/>
          </a:xfrm>
          <a:prstGeom prst="rect">
            <a:avLst/>
          </a:prstGeom>
          <a:noFill/>
          <a:ln>
            <a:noFill/>
          </a:ln>
        </p:spPr>
        <p:txBody>
          <a:bodyPr spcFirstLastPara="1" wrap="square" lIns="91425" tIns="45700" rIns="91425" bIns="45700" anchor="t" anchorCtr="0">
            <a:normAutofit/>
          </a:bodyPr>
          <a:lstStyle>
            <a:lvl1pPr lvl="0" algn="l">
              <a:lnSpc>
                <a:spcPct val="90000"/>
              </a:lnSpc>
              <a:spcBef>
                <a:spcPts val="0"/>
              </a:spcBef>
              <a:spcAft>
                <a:spcPts val="0"/>
              </a:spcAft>
              <a:buClr>
                <a:schemeClr val="dk1"/>
              </a:buClr>
              <a:buSzPts val="3600"/>
              <a:buFont typeface="PT Serif"/>
              <a:buNone/>
              <a:defRPr>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8" name="Google Shape;148;p49"/>
          <p:cNvSpPr txBox="1">
            <a:spLocks noGrp="1"/>
          </p:cNvSpPr>
          <p:nvPr>
            <p:ph type="body" idx="1"/>
          </p:nvPr>
        </p:nvSpPr>
        <p:spPr>
          <a:xfrm>
            <a:off x="320245" y="1721708"/>
            <a:ext cx="6311213" cy="4351338"/>
          </a:xfrm>
          <a:prstGeom prst="rect">
            <a:avLst/>
          </a:prstGeom>
          <a:noFill/>
          <a:ln>
            <a:noFill/>
          </a:ln>
        </p:spPr>
        <p:txBody>
          <a:bodyPr spcFirstLastPara="1" wrap="square" lIns="91425" tIns="45700" rIns="91425" bIns="45700" anchor="t" anchorCtr="0">
            <a:normAutofit/>
          </a:bodyPr>
          <a:lstStyle>
            <a:lvl1pPr marL="457200" lvl="0" indent="-317500" algn="l">
              <a:lnSpc>
                <a:spcPct val="90000"/>
              </a:lnSpc>
              <a:spcBef>
                <a:spcPts val="1000"/>
              </a:spcBef>
              <a:spcAft>
                <a:spcPts val="0"/>
              </a:spcAft>
              <a:buClr>
                <a:schemeClr val="accent2"/>
              </a:buClr>
              <a:buSzPts val="1400"/>
              <a:buFont typeface="Noto Sans Symbols"/>
              <a:buChar char="▪"/>
              <a:defRPr sz="2000"/>
            </a:lvl1pPr>
            <a:lvl2pPr marL="914400" lvl="1" indent="-308610" algn="l">
              <a:lnSpc>
                <a:spcPct val="90000"/>
              </a:lnSpc>
              <a:spcBef>
                <a:spcPts val="500"/>
              </a:spcBef>
              <a:spcAft>
                <a:spcPts val="0"/>
              </a:spcAft>
              <a:buClr>
                <a:schemeClr val="accent2"/>
              </a:buClr>
              <a:buSzPts val="1260"/>
              <a:buFont typeface="Noto Sans Symbols"/>
              <a:buChar char="▪"/>
              <a:defRPr sz="1800"/>
            </a:lvl2pPr>
            <a:lvl3pPr marL="1371600" lvl="2" indent="-299719" algn="l">
              <a:lnSpc>
                <a:spcPct val="90000"/>
              </a:lnSpc>
              <a:spcBef>
                <a:spcPts val="500"/>
              </a:spcBef>
              <a:spcAft>
                <a:spcPts val="0"/>
              </a:spcAft>
              <a:buClr>
                <a:schemeClr val="accent2"/>
              </a:buClr>
              <a:buSzPts val="1120"/>
              <a:buFont typeface="Noto Sans Symbols"/>
              <a:buChar char="▪"/>
              <a:defRPr sz="1600"/>
            </a:lvl3pPr>
            <a:lvl4pPr marL="1828800" lvl="3" indent="-290830" algn="l">
              <a:lnSpc>
                <a:spcPct val="90000"/>
              </a:lnSpc>
              <a:spcBef>
                <a:spcPts val="500"/>
              </a:spcBef>
              <a:spcAft>
                <a:spcPts val="0"/>
              </a:spcAft>
              <a:buClr>
                <a:schemeClr val="accent2"/>
              </a:buClr>
              <a:buSzPts val="980"/>
              <a:buFont typeface="Noto Sans Symbols"/>
              <a:buChar char="▪"/>
              <a:defRPr sz="1400"/>
            </a:lvl4pPr>
            <a:lvl5pPr marL="2286000" lvl="4" indent="-290829" algn="l">
              <a:lnSpc>
                <a:spcPct val="90000"/>
              </a:lnSpc>
              <a:spcBef>
                <a:spcPts val="500"/>
              </a:spcBef>
              <a:spcAft>
                <a:spcPts val="0"/>
              </a:spcAft>
              <a:buClr>
                <a:schemeClr val="accent2"/>
              </a:buClr>
              <a:buSzPts val="980"/>
              <a:buFont typeface="Noto Sans Symbols"/>
              <a:buChar char="▪"/>
              <a:defRPr sz="14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9" name="Google Shape;149;p49"/>
          <p:cNvSpPr txBox="1">
            <a:spLocks noGrp="1"/>
          </p:cNvSpPr>
          <p:nvPr>
            <p:ph type="ftr" idx="11"/>
          </p:nvPr>
        </p:nvSpPr>
        <p:spPr>
          <a:xfrm>
            <a:off x="7372695" y="6356350"/>
            <a:ext cx="4114800" cy="365125"/>
          </a:xfrm>
          <a:prstGeom prst="rect">
            <a:avLst/>
          </a:prstGeom>
          <a:noFill/>
          <a:ln>
            <a:noFill/>
          </a:ln>
        </p:spPr>
        <p:txBody>
          <a:bodyPr spcFirstLastPara="1" wrap="square" lIns="91425" tIns="45700" rIns="91425" bIns="45700" anchor="ctr" anchorCtr="0">
            <a:noAutofit/>
          </a:bodyPr>
          <a:lstStyle>
            <a:lvl1pPr lvl="0" algn="r">
              <a:spcBef>
                <a:spcPts val="0"/>
              </a:spcBef>
              <a:spcAft>
                <a:spcPts val="0"/>
              </a:spcAft>
              <a:buSzPts val="1400"/>
              <a:buNone/>
              <a:defRPr sz="1200" b="0" i="0">
                <a:solidFill>
                  <a:srgbClr val="8A8A8A"/>
                </a:solidFill>
                <a:latin typeface="Source Sans Pro"/>
                <a:ea typeface="Source Sans Pro"/>
                <a:cs typeface="Source Sans Pro"/>
                <a:sym typeface="Source Sans Pro"/>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50" name="Google Shape;150;p49"/>
          <p:cNvSpPr txBox="1">
            <a:spLocks noGrp="1"/>
          </p:cNvSpPr>
          <p:nvPr>
            <p:ph type="sldNum" idx="12"/>
          </p:nvPr>
        </p:nvSpPr>
        <p:spPr>
          <a:xfrm>
            <a:off x="11474969" y="6356350"/>
            <a:ext cx="406052"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b="0" i="0">
                <a:solidFill>
                  <a:srgbClr val="8A8A8A"/>
                </a:solidFill>
                <a:latin typeface="Source Sans Pro"/>
                <a:ea typeface="Source Sans Pro"/>
                <a:cs typeface="Source Sans Pro"/>
                <a:sym typeface="Source Sans Pro"/>
              </a:defRPr>
            </a:lvl1pPr>
            <a:lvl2pPr marL="0" lvl="1" indent="0" algn="r">
              <a:spcBef>
                <a:spcPts val="0"/>
              </a:spcBef>
              <a:buNone/>
              <a:defRPr sz="1200" b="0" i="0">
                <a:solidFill>
                  <a:srgbClr val="8A8A8A"/>
                </a:solidFill>
                <a:latin typeface="Source Sans Pro"/>
                <a:ea typeface="Source Sans Pro"/>
                <a:cs typeface="Source Sans Pro"/>
                <a:sym typeface="Source Sans Pro"/>
              </a:defRPr>
            </a:lvl2pPr>
            <a:lvl3pPr marL="0" lvl="2" indent="0" algn="r">
              <a:spcBef>
                <a:spcPts val="0"/>
              </a:spcBef>
              <a:buNone/>
              <a:defRPr sz="1200" b="0" i="0">
                <a:solidFill>
                  <a:srgbClr val="8A8A8A"/>
                </a:solidFill>
                <a:latin typeface="Source Sans Pro"/>
                <a:ea typeface="Source Sans Pro"/>
                <a:cs typeface="Source Sans Pro"/>
                <a:sym typeface="Source Sans Pro"/>
              </a:defRPr>
            </a:lvl3pPr>
            <a:lvl4pPr marL="0" lvl="3" indent="0" algn="r">
              <a:spcBef>
                <a:spcPts val="0"/>
              </a:spcBef>
              <a:buNone/>
              <a:defRPr sz="1200" b="0" i="0">
                <a:solidFill>
                  <a:srgbClr val="8A8A8A"/>
                </a:solidFill>
                <a:latin typeface="Source Sans Pro"/>
                <a:ea typeface="Source Sans Pro"/>
                <a:cs typeface="Source Sans Pro"/>
                <a:sym typeface="Source Sans Pro"/>
              </a:defRPr>
            </a:lvl4pPr>
            <a:lvl5pPr marL="0" lvl="4" indent="0" algn="r">
              <a:spcBef>
                <a:spcPts val="0"/>
              </a:spcBef>
              <a:buNone/>
              <a:defRPr sz="1200" b="0" i="0">
                <a:solidFill>
                  <a:srgbClr val="8A8A8A"/>
                </a:solidFill>
                <a:latin typeface="Source Sans Pro"/>
                <a:ea typeface="Source Sans Pro"/>
                <a:cs typeface="Source Sans Pro"/>
                <a:sym typeface="Source Sans Pro"/>
              </a:defRPr>
            </a:lvl5pPr>
            <a:lvl6pPr marL="0" lvl="5" indent="0" algn="r">
              <a:spcBef>
                <a:spcPts val="0"/>
              </a:spcBef>
              <a:buNone/>
              <a:defRPr sz="1200" b="0" i="0">
                <a:solidFill>
                  <a:srgbClr val="8A8A8A"/>
                </a:solidFill>
                <a:latin typeface="Source Sans Pro"/>
                <a:ea typeface="Source Sans Pro"/>
                <a:cs typeface="Source Sans Pro"/>
                <a:sym typeface="Source Sans Pro"/>
              </a:defRPr>
            </a:lvl6pPr>
            <a:lvl7pPr marL="0" lvl="6" indent="0" algn="r">
              <a:spcBef>
                <a:spcPts val="0"/>
              </a:spcBef>
              <a:buNone/>
              <a:defRPr sz="1200" b="0" i="0">
                <a:solidFill>
                  <a:srgbClr val="8A8A8A"/>
                </a:solidFill>
                <a:latin typeface="Source Sans Pro"/>
                <a:ea typeface="Source Sans Pro"/>
                <a:cs typeface="Source Sans Pro"/>
                <a:sym typeface="Source Sans Pro"/>
              </a:defRPr>
            </a:lvl7pPr>
            <a:lvl8pPr marL="0" lvl="7" indent="0" algn="r">
              <a:spcBef>
                <a:spcPts val="0"/>
              </a:spcBef>
              <a:buNone/>
              <a:defRPr sz="1200" b="0" i="0">
                <a:solidFill>
                  <a:srgbClr val="8A8A8A"/>
                </a:solidFill>
                <a:latin typeface="Source Sans Pro"/>
                <a:ea typeface="Source Sans Pro"/>
                <a:cs typeface="Source Sans Pro"/>
                <a:sym typeface="Source Sans Pro"/>
              </a:defRPr>
            </a:lvl8pPr>
            <a:lvl9pPr marL="0" lvl="8" indent="0" algn="r">
              <a:spcBef>
                <a:spcPts val="0"/>
              </a:spcBef>
              <a:buNone/>
              <a:defRPr sz="1200" b="0" i="0">
                <a:solidFill>
                  <a:srgbClr val="8A8A8A"/>
                </a:solidFill>
                <a:latin typeface="Source Sans Pro"/>
                <a:ea typeface="Source Sans Pro"/>
                <a:cs typeface="Source Sans Pro"/>
                <a:sym typeface="Source Sans Pro"/>
              </a:defRPr>
            </a:lvl9pPr>
          </a:lstStyle>
          <a:p>
            <a:pPr marL="0" lvl="0" indent="0" algn="r" rtl="0">
              <a:spcBef>
                <a:spcPts val="0"/>
              </a:spcBef>
              <a:spcAft>
                <a:spcPts val="0"/>
              </a:spcAft>
              <a:buNone/>
            </a:pPr>
            <a:fld id="{00000000-1234-1234-1234-123412341234}" type="slidenum">
              <a:rPr lang="en-US"/>
              <a:t>‹#›</a:t>
            </a:fld>
            <a:endParaRPr/>
          </a:p>
        </p:txBody>
      </p:sp>
      <p:sp>
        <p:nvSpPr>
          <p:cNvPr id="151" name="Google Shape;151;p49"/>
          <p:cNvSpPr>
            <a:spLocks noGrp="1"/>
          </p:cNvSpPr>
          <p:nvPr>
            <p:ph type="pic" idx="2"/>
          </p:nvPr>
        </p:nvSpPr>
        <p:spPr>
          <a:xfrm>
            <a:off x="7372696" y="0"/>
            <a:ext cx="4819304" cy="6858000"/>
          </a:xfrm>
          <a:prstGeom prst="rect">
            <a:avLst/>
          </a:prstGeom>
          <a:noFill/>
          <a:ln>
            <a:noFill/>
          </a:ln>
        </p:spPr>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Agenda">
  <p:cSld name="Agenda">
    <p:spTree>
      <p:nvGrpSpPr>
        <p:cNvPr id="1" name="Shape 24"/>
        <p:cNvGrpSpPr/>
        <p:nvPr/>
      </p:nvGrpSpPr>
      <p:grpSpPr>
        <a:xfrm>
          <a:off x="0" y="0"/>
          <a:ext cx="0" cy="0"/>
          <a:chOff x="0" y="0"/>
          <a:chExt cx="0" cy="0"/>
        </a:xfrm>
      </p:grpSpPr>
      <p:sp>
        <p:nvSpPr>
          <p:cNvPr id="25" name="Google Shape;25;p31"/>
          <p:cNvSpPr txBox="1">
            <a:spLocks noGrp="1"/>
          </p:cNvSpPr>
          <p:nvPr>
            <p:ph type="title"/>
          </p:nvPr>
        </p:nvSpPr>
        <p:spPr>
          <a:xfrm>
            <a:off x="312812" y="373491"/>
            <a:ext cx="11353800" cy="746983"/>
          </a:xfrm>
          <a:prstGeom prst="rect">
            <a:avLst/>
          </a:prstGeom>
          <a:noFill/>
          <a:ln>
            <a:noFill/>
          </a:ln>
        </p:spPr>
        <p:txBody>
          <a:bodyPr spcFirstLastPara="1" wrap="square" lIns="91425" tIns="45700" rIns="91425" bIns="45700" anchor="t" anchorCtr="0">
            <a:normAutofit/>
          </a:bodyPr>
          <a:lstStyle>
            <a:lvl1pPr lvl="0" algn="l">
              <a:lnSpc>
                <a:spcPct val="90000"/>
              </a:lnSpc>
              <a:spcBef>
                <a:spcPts val="0"/>
              </a:spcBef>
              <a:spcAft>
                <a:spcPts val="0"/>
              </a:spcAft>
              <a:buClr>
                <a:schemeClr val="dk1"/>
              </a:buClr>
              <a:buSzPts val="3600"/>
              <a:buFont typeface="PT Serif"/>
              <a:buNone/>
              <a:defRPr>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6" name="Google Shape;26;p31"/>
          <p:cNvSpPr txBox="1">
            <a:spLocks noGrp="1"/>
          </p:cNvSpPr>
          <p:nvPr>
            <p:ph type="ftr" idx="11"/>
          </p:nvPr>
        </p:nvSpPr>
        <p:spPr>
          <a:xfrm>
            <a:off x="7372695" y="6356350"/>
            <a:ext cx="4114800" cy="365125"/>
          </a:xfrm>
          <a:prstGeom prst="rect">
            <a:avLst/>
          </a:prstGeom>
          <a:noFill/>
          <a:ln>
            <a:noFill/>
          </a:ln>
        </p:spPr>
        <p:txBody>
          <a:bodyPr spcFirstLastPara="1" wrap="square" lIns="91425" tIns="45700" rIns="91425" bIns="45700" anchor="ctr" anchorCtr="0">
            <a:noAutofit/>
          </a:bodyPr>
          <a:lstStyle>
            <a:lvl1pPr lvl="0" algn="r">
              <a:spcBef>
                <a:spcPts val="0"/>
              </a:spcBef>
              <a:spcAft>
                <a:spcPts val="0"/>
              </a:spcAft>
              <a:buSzPts val="1400"/>
              <a:buNone/>
              <a:defRPr sz="1200" b="0" i="0">
                <a:solidFill>
                  <a:srgbClr val="8A8A8A"/>
                </a:solidFill>
                <a:latin typeface="Source Sans Pro"/>
                <a:ea typeface="Source Sans Pro"/>
                <a:cs typeface="Source Sans Pro"/>
                <a:sym typeface="Source Sans Pro"/>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7" name="Google Shape;27;p31"/>
          <p:cNvSpPr txBox="1">
            <a:spLocks noGrp="1"/>
          </p:cNvSpPr>
          <p:nvPr>
            <p:ph type="sldNum" idx="12"/>
          </p:nvPr>
        </p:nvSpPr>
        <p:spPr>
          <a:xfrm>
            <a:off x="11474969" y="6356350"/>
            <a:ext cx="406052"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b="0" i="0" u="none" strike="noStrike" cap="none">
                <a:solidFill>
                  <a:srgbClr val="8A8A8A"/>
                </a:solidFill>
                <a:latin typeface="Source Sans Pro"/>
                <a:ea typeface="Source Sans Pro"/>
                <a:cs typeface="Source Sans Pro"/>
                <a:sym typeface="Source Sans Pro"/>
              </a:defRPr>
            </a:lvl1pPr>
            <a:lvl2pPr marL="0" lvl="1" indent="0" algn="r">
              <a:spcBef>
                <a:spcPts val="0"/>
              </a:spcBef>
              <a:buNone/>
              <a:defRPr sz="1200" b="0" i="0" u="none" strike="noStrike" cap="none">
                <a:solidFill>
                  <a:srgbClr val="8A8A8A"/>
                </a:solidFill>
                <a:latin typeface="Source Sans Pro"/>
                <a:ea typeface="Source Sans Pro"/>
                <a:cs typeface="Source Sans Pro"/>
                <a:sym typeface="Source Sans Pro"/>
              </a:defRPr>
            </a:lvl2pPr>
            <a:lvl3pPr marL="0" lvl="2" indent="0" algn="r">
              <a:spcBef>
                <a:spcPts val="0"/>
              </a:spcBef>
              <a:buNone/>
              <a:defRPr sz="1200" b="0" i="0" u="none" strike="noStrike" cap="none">
                <a:solidFill>
                  <a:srgbClr val="8A8A8A"/>
                </a:solidFill>
                <a:latin typeface="Source Sans Pro"/>
                <a:ea typeface="Source Sans Pro"/>
                <a:cs typeface="Source Sans Pro"/>
                <a:sym typeface="Source Sans Pro"/>
              </a:defRPr>
            </a:lvl3pPr>
            <a:lvl4pPr marL="0" lvl="3" indent="0" algn="r">
              <a:spcBef>
                <a:spcPts val="0"/>
              </a:spcBef>
              <a:buNone/>
              <a:defRPr sz="1200" b="0" i="0" u="none" strike="noStrike" cap="none">
                <a:solidFill>
                  <a:srgbClr val="8A8A8A"/>
                </a:solidFill>
                <a:latin typeface="Source Sans Pro"/>
                <a:ea typeface="Source Sans Pro"/>
                <a:cs typeface="Source Sans Pro"/>
                <a:sym typeface="Source Sans Pro"/>
              </a:defRPr>
            </a:lvl4pPr>
            <a:lvl5pPr marL="0" lvl="4" indent="0" algn="r">
              <a:spcBef>
                <a:spcPts val="0"/>
              </a:spcBef>
              <a:buNone/>
              <a:defRPr sz="1200" b="0" i="0" u="none" strike="noStrike" cap="none">
                <a:solidFill>
                  <a:srgbClr val="8A8A8A"/>
                </a:solidFill>
                <a:latin typeface="Source Sans Pro"/>
                <a:ea typeface="Source Sans Pro"/>
                <a:cs typeface="Source Sans Pro"/>
                <a:sym typeface="Source Sans Pro"/>
              </a:defRPr>
            </a:lvl5pPr>
            <a:lvl6pPr marL="0" lvl="5" indent="0" algn="r">
              <a:spcBef>
                <a:spcPts val="0"/>
              </a:spcBef>
              <a:buNone/>
              <a:defRPr sz="1200" b="0" i="0" u="none" strike="noStrike" cap="none">
                <a:solidFill>
                  <a:srgbClr val="8A8A8A"/>
                </a:solidFill>
                <a:latin typeface="Source Sans Pro"/>
                <a:ea typeface="Source Sans Pro"/>
                <a:cs typeface="Source Sans Pro"/>
                <a:sym typeface="Source Sans Pro"/>
              </a:defRPr>
            </a:lvl6pPr>
            <a:lvl7pPr marL="0" lvl="6" indent="0" algn="r">
              <a:spcBef>
                <a:spcPts val="0"/>
              </a:spcBef>
              <a:buNone/>
              <a:defRPr sz="1200" b="0" i="0" u="none" strike="noStrike" cap="none">
                <a:solidFill>
                  <a:srgbClr val="8A8A8A"/>
                </a:solidFill>
                <a:latin typeface="Source Sans Pro"/>
                <a:ea typeface="Source Sans Pro"/>
                <a:cs typeface="Source Sans Pro"/>
                <a:sym typeface="Source Sans Pro"/>
              </a:defRPr>
            </a:lvl7pPr>
            <a:lvl8pPr marL="0" lvl="7" indent="0" algn="r">
              <a:spcBef>
                <a:spcPts val="0"/>
              </a:spcBef>
              <a:buNone/>
              <a:defRPr sz="1200" b="0" i="0" u="none" strike="noStrike" cap="none">
                <a:solidFill>
                  <a:srgbClr val="8A8A8A"/>
                </a:solidFill>
                <a:latin typeface="Source Sans Pro"/>
                <a:ea typeface="Source Sans Pro"/>
                <a:cs typeface="Source Sans Pro"/>
                <a:sym typeface="Source Sans Pro"/>
              </a:defRPr>
            </a:lvl8pPr>
            <a:lvl9pPr marL="0" lvl="8" indent="0" algn="r">
              <a:spcBef>
                <a:spcPts val="0"/>
              </a:spcBef>
              <a:buNone/>
              <a:defRPr sz="1200" b="0" i="0" u="none" strike="noStrike" cap="none">
                <a:solidFill>
                  <a:srgbClr val="8A8A8A"/>
                </a:solidFill>
                <a:latin typeface="Source Sans Pro"/>
                <a:ea typeface="Source Sans Pro"/>
                <a:cs typeface="Source Sans Pro"/>
                <a:sym typeface="Source Sans Pro"/>
              </a:defRPr>
            </a:lvl9pPr>
          </a:lstStyle>
          <a:p>
            <a:pPr marL="0" lvl="0" indent="0" algn="r" rtl="0">
              <a:spcBef>
                <a:spcPts val="0"/>
              </a:spcBef>
              <a:spcAft>
                <a:spcPts val="0"/>
              </a:spcAft>
              <a:buNone/>
            </a:pPr>
            <a:fld id="{00000000-1234-1234-1234-123412341234}" type="slidenum">
              <a:rPr lang="en-US"/>
              <a:t>‹#›</a:t>
            </a:fld>
            <a:endParaRPr/>
          </a:p>
        </p:txBody>
      </p:sp>
      <p:sp>
        <p:nvSpPr>
          <p:cNvPr id="28" name="Google Shape;28;p31"/>
          <p:cNvSpPr txBox="1">
            <a:spLocks noGrp="1"/>
          </p:cNvSpPr>
          <p:nvPr>
            <p:ph type="body" idx="1"/>
          </p:nvPr>
        </p:nvSpPr>
        <p:spPr>
          <a:xfrm>
            <a:off x="419100" y="1364578"/>
            <a:ext cx="262825" cy="712787"/>
          </a:xfrm>
          <a:prstGeom prst="rect">
            <a:avLst/>
          </a:prstGeom>
          <a:noFill/>
          <a:ln>
            <a:noFill/>
          </a:ln>
        </p:spPr>
        <p:txBody>
          <a:bodyPr spcFirstLastPara="1" wrap="square" lIns="0" tIns="45700" rIns="0" bIns="45700" anchor="t" anchorCtr="0">
            <a:normAutofit/>
          </a:bodyPr>
          <a:lstStyle>
            <a:lvl1pPr marL="457200" lvl="0" indent="-228600" algn="l">
              <a:lnSpc>
                <a:spcPct val="90000"/>
              </a:lnSpc>
              <a:spcBef>
                <a:spcPts val="1000"/>
              </a:spcBef>
              <a:spcAft>
                <a:spcPts val="0"/>
              </a:spcAft>
              <a:buClr>
                <a:schemeClr val="accent2"/>
              </a:buClr>
              <a:buSzPts val="1200"/>
              <a:buNone/>
              <a:defRPr sz="1200" b="1" i="0">
                <a:solidFill>
                  <a:schemeClr val="accent2"/>
                </a:solidFill>
                <a:latin typeface="Source Sans Pro Semibold"/>
                <a:ea typeface="Source Sans Pro Semibold"/>
                <a:cs typeface="Source Sans Pro Semibold"/>
                <a:sym typeface="Source Sans Pro SemiBold"/>
              </a:defRPr>
            </a:lvl1pPr>
            <a:lvl2pPr marL="914400" lvl="1" indent="-342900" algn="l">
              <a:lnSpc>
                <a:spcPct val="90000"/>
              </a:lnSpc>
              <a:spcBef>
                <a:spcPts val="500"/>
              </a:spcBef>
              <a:spcAft>
                <a:spcPts val="0"/>
              </a:spcAft>
              <a:buClr>
                <a:schemeClr val="dk2"/>
              </a:buClr>
              <a:buSzPts val="1800"/>
              <a:buChar char="•"/>
              <a:defRPr/>
            </a:lvl2pPr>
            <a:lvl3pPr marL="1371600" lvl="2" indent="-342900" algn="l">
              <a:lnSpc>
                <a:spcPct val="90000"/>
              </a:lnSpc>
              <a:spcBef>
                <a:spcPts val="500"/>
              </a:spcBef>
              <a:spcAft>
                <a:spcPts val="0"/>
              </a:spcAft>
              <a:buClr>
                <a:schemeClr val="dk2"/>
              </a:buClr>
              <a:buSzPts val="1800"/>
              <a:buChar char="•"/>
              <a:defRPr/>
            </a:lvl3pPr>
            <a:lvl4pPr marL="1828800" lvl="3" indent="-342900" algn="l">
              <a:lnSpc>
                <a:spcPct val="90000"/>
              </a:lnSpc>
              <a:spcBef>
                <a:spcPts val="500"/>
              </a:spcBef>
              <a:spcAft>
                <a:spcPts val="0"/>
              </a:spcAft>
              <a:buClr>
                <a:schemeClr val="dk2"/>
              </a:buClr>
              <a:buSzPts val="1800"/>
              <a:buChar char="•"/>
              <a:defRPr/>
            </a:lvl4pPr>
            <a:lvl5pPr marL="2286000" lvl="4" indent="-342900" algn="l">
              <a:lnSpc>
                <a:spcPct val="90000"/>
              </a:lnSpc>
              <a:spcBef>
                <a:spcPts val="500"/>
              </a:spcBef>
              <a:spcAft>
                <a:spcPts val="0"/>
              </a:spcAft>
              <a:buClr>
                <a:schemeClr val="dk2"/>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9" name="Google Shape;29;p31"/>
          <p:cNvSpPr txBox="1">
            <a:spLocks noGrp="1"/>
          </p:cNvSpPr>
          <p:nvPr>
            <p:ph type="body" idx="2"/>
          </p:nvPr>
        </p:nvSpPr>
        <p:spPr>
          <a:xfrm>
            <a:off x="852488" y="1364578"/>
            <a:ext cx="3278187" cy="474663"/>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dk2"/>
              </a:buClr>
              <a:buSzPts val="2000"/>
              <a:buNone/>
              <a:defRPr sz="2000"/>
            </a:lvl1pPr>
            <a:lvl2pPr marL="914400" lvl="1" indent="-342900" algn="l">
              <a:lnSpc>
                <a:spcPct val="90000"/>
              </a:lnSpc>
              <a:spcBef>
                <a:spcPts val="500"/>
              </a:spcBef>
              <a:spcAft>
                <a:spcPts val="0"/>
              </a:spcAft>
              <a:buClr>
                <a:schemeClr val="dk2"/>
              </a:buClr>
              <a:buSzPts val="1800"/>
              <a:buChar char="•"/>
              <a:defRPr/>
            </a:lvl2pPr>
            <a:lvl3pPr marL="1371600" lvl="2" indent="-342900" algn="l">
              <a:lnSpc>
                <a:spcPct val="90000"/>
              </a:lnSpc>
              <a:spcBef>
                <a:spcPts val="500"/>
              </a:spcBef>
              <a:spcAft>
                <a:spcPts val="0"/>
              </a:spcAft>
              <a:buClr>
                <a:schemeClr val="dk2"/>
              </a:buClr>
              <a:buSzPts val="1800"/>
              <a:buChar char="•"/>
              <a:defRPr/>
            </a:lvl3pPr>
            <a:lvl4pPr marL="1828800" lvl="3" indent="-342900" algn="l">
              <a:lnSpc>
                <a:spcPct val="90000"/>
              </a:lnSpc>
              <a:spcBef>
                <a:spcPts val="500"/>
              </a:spcBef>
              <a:spcAft>
                <a:spcPts val="0"/>
              </a:spcAft>
              <a:buClr>
                <a:schemeClr val="dk2"/>
              </a:buClr>
              <a:buSzPts val="1800"/>
              <a:buChar char="•"/>
              <a:defRPr/>
            </a:lvl4pPr>
            <a:lvl5pPr marL="2286000" lvl="4" indent="-342900" algn="l">
              <a:lnSpc>
                <a:spcPct val="90000"/>
              </a:lnSpc>
              <a:spcBef>
                <a:spcPts val="500"/>
              </a:spcBef>
              <a:spcAft>
                <a:spcPts val="0"/>
              </a:spcAft>
              <a:buClr>
                <a:schemeClr val="dk2"/>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matchingName="Title Only" type="titleOnly">
  <p:cSld name="TITLE_ONLY">
    <p:spTree>
      <p:nvGrpSpPr>
        <p:cNvPr id="1" name="Shape 152"/>
        <p:cNvGrpSpPr/>
        <p:nvPr/>
      </p:nvGrpSpPr>
      <p:grpSpPr>
        <a:xfrm>
          <a:off x="0" y="0"/>
          <a:ext cx="0" cy="0"/>
          <a:chOff x="0" y="0"/>
          <a:chExt cx="0" cy="0"/>
        </a:xfrm>
      </p:grpSpPr>
      <p:sp>
        <p:nvSpPr>
          <p:cNvPr id="153" name="Google Shape;153;p50"/>
          <p:cNvSpPr txBox="1">
            <a:spLocks noGrp="1"/>
          </p:cNvSpPr>
          <p:nvPr>
            <p:ph type="title"/>
          </p:nvPr>
        </p:nvSpPr>
        <p:spPr>
          <a:xfrm>
            <a:off x="302632" y="372559"/>
            <a:ext cx="10515600" cy="1325563"/>
          </a:xfrm>
          <a:prstGeom prst="rect">
            <a:avLst/>
          </a:prstGeom>
          <a:noFill/>
          <a:ln>
            <a:noFill/>
          </a:ln>
        </p:spPr>
        <p:txBody>
          <a:bodyPr spcFirstLastPara="1" wrap="square" lIns="91425" tIns="45700" rIns="91425" bIns="45700" anchor="t" anchorCtr="0">
            <a:normAutofit/>
          </a:bodyPr>
          <a:lstStyle>
            <a:lvl1pPr lvl="0" algn="l">
              <a:lnSpc>
                <a:spcPct val="90000"/>
              </a:lnSpc>
              <a:spcBef>
                <a:spcPts val="0"/>
              </a:spcBef>
              <a:spcAft>
                <a:spcPts val="0"/>
              </a:spcAft>
              <a:buClr>
                <a:schemeClr val="dk1"/>
              </a:buClr>
              <a:buSzPts val="3600"/>
              <a:buFont typeface="PT Serif"/>
              <a:buNone/>
              <a:defRPr>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54" name="Google Shape;154;p50"/>
          <p:cNvSpPr txBox="1">
            <a:spLocks noGrp="1"/>
          </p:cNvSpPr>
          <p:nvPr>
            <p:ph type="dt" idx="10"/>
          </p:nvPr>
        </p:nvSpPr>
        <p:spPr>
          <a:xfrm>
            <a:off x="325244" y="63563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55" name="Google Shape;155;p50"/>
          <p:cNvSpPr txBox="1">
            <a:spLocks noGrp="1"/>
          </p:cNvSpPr>
          <p:nvPr>
            <p:ph type="ftr" idx="11"/>
          </p:nvPr>
        </p:nvSpPr>
        <p:spPr>
          <a:xfrm>
            <a:off x="7380732" y="6356350"/>
            <a:ext cx="4114800" cy="365125"/>
          </a:xfrm>
          <a:prstGeom prst="rect">
            <a:avLst/>
          </a:prstGeom>
          <a:noFill/>
          <a:ln>
            <a:noFill/>
          </a:ln>
        </p:spPr>
        <p:txBody>
          <a:bodyPr spcFirstLastPara="1" wrap="square" lIns="91425" tIns="45700" rIns="91425" bIns="45700" anchor="ctr" anchorCtr="0">
            <a:noAutofit/>
          </a:bodyPr>
          <a:lstStyle>
            <a:lvl1pPr lvl="0" algn="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56" name="Google Shape;156;p50"/>
          <p:cNvSpPr txBox="1">
            <a:spLocks noGrp="1"/>
          </p:cNvSpPr>
          <p:nvPr>
            <p:ph type="sldNum" idx="12"/>
          </p:nvPr>
        </p:nvSpPr>
        <p:spPr>
          <a:xfrm>
            <a:off x="11483006" y="6356350"/>
            <a:ext cx="406052"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157"/>
        <p:cNvGrpSpPr/>
        <p:nvPr/>
      </p:nvGrpSpPr>
      <p:grpSpPr>
        <a:xfrm>
          <a:off x="0" y="0"/>
          <a:ext cx="0" cy="0"/>
          <a:chOff x="0" y="0"/>
          <a:chExt cx="0" cy="0"/>
        </a:xfrm>
      </p:grpSpPr>
      <p:sp>
        <p:nvSpPr>
          <p:cNvPr id="158" name="Google Shape;158;p51"/>
          <p:cNvSpPr txBox="1">
            <a:spLocks noGrp="1"/>
          </p:cNvSpPr>
          <p:nvPr>
            <p:ph type="dt" idx="10"/>
          </p:nvPr>
        </p:nvSpPr>
        <p:spPr>
          <a:xfrm>
            <a:off x="325244" y="63563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59" name="Google Shape;159;p51"/>
          <p:cNvSpPr txBox="1">
            <a:spLocks noGrp="1"/>
          </p:cNvSpPr>
          <p:nvPr>
            <p:ph type="ftr" idx="11"/>
          </p:nvPr>
        </p:nvSpPr>
        <p:spPr>
          <a:xfrm>
            <a:off x="7380732" y="6356350"/>
            <a:ext cx="4114800" cy="365125"/>
          </a:xfrm>
          <a:prstGeom prst="rect">
            <a:avLst/>
          </a:prstGeom>
          <a:noFill/>
          <a:ln>
            <a:noFill/>
          </a:ln>
        </p:spPr>
        <p:txBody>
          <a:bodyPr spcFirstLastPara="1" wrap="square" lIns="91425" tIns="45700" rIns="91425" bIns="45700" anchor="ctr" anchorCtr="0">
            <a:noAutofit/>
          </a:bodyPr>
          <a:lstStyle>
            <a:lvl1pPr lvl="0" algn="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60" name="Google Shape;160;p51"/>
          <p:cNvSpPr txBox="1">
            <a:spLocks noGrp="1"/>
          </p:cNvSpPr>
          <p:nvPr>
            <p:ph type="sldNum" idx="12"/>
          </p:nvPr>
        </p:nvSpPr>
        <p:spPr>
          <a:xfrm>
            <a:off x="11483006" y="6356350"/>
            <a:ext cx="406052"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matchingName="3_Two Content">
  <p:cSld name="3_Two Content">
    <p:spTree>
      <p:nvGrpSpPr>
        <p:cNvPr id="1" name="Shape 161"/>
        <p:cNvGrpSpPr/>
        <p:nvPr/>
      </p:nvGrpSpPr>
      <p:grpSpPr>
        <a:xfrm>
          <a:off x="0" y="0"/>
          <a:ext cx="0" cy="0"/>
          <a:chOff x="0" y="0"/>
          <a:chExt cx="0" cy="0"/>
        </a:xfrm>
      </p:grpSpPr>
      <p:sp>
        <p:nvSpPr>
          <p:cNvPr id="162" name="Google Shape;162;p52"/>
          <p:cNvSpPr/>
          <p:nvPr/>
        </p:nvSpPr>
        <p:spPr>
          <a:xfrm>
            <a:off x="6096000" y="0"/>
            <a:ext cx="6104239" cy="6858000"/>
          </a:xfrm>
          <a:prstGeom prst="rect">
            <a:avLst/>
          </a:prstGeom>
          <a:solidFill>
            <a:srgbClr val="BFE4FF"/>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63" name="Google Shape;163;p52"/>
          <p:cNvSpPr txBox="1">
            <a:spLocks noGrp="1"/>
          </p:cNvSpPr>
          <p:nvPr>
            <p:ph type="title"/>
          </p:nvPr>
        </p:nvSpPr>
        <p:spPr>
          <a:xfrm>
            <a:off x="320246" y="2270681"/>
            <a:ext cx="5273246" cy="1348217"/>
          </a:xfrm>
          <a:prstGeom prst="rect">
            <a:avLst/>
          </a:prstGeom>
          <a:noFill/>
          <a:ln>
            <a:noFill/>
          </a:ln>
        </p:spPr>
        <p:txBody>
          <a:bodyPr spcFirstLastPara="1" wrap="square" lIns="91425" tIns="45700" rIns="91425" bIns="45700" anchor="t" anchorCtr="0">
            <a:normAutofit/>
          </a:bodyPr>
          <a:lstStyle>
            <a:lvl1pPr lvl="0" algn="l">
              <a:lnSpc>
                <a:spcPct val="90000"/>
              </a:lnSpc>
              <a:spcBef>
                <a:spcPts val="0"/>
              </a:spcBef>
              <a:spcAft>
                <a:spcPts val="0"/>
              </a:spcAft>
              <a:buClr>
                <a:srgbClr val="014479"/>
              </a:buClr>
              <a:buSzPts val="3600"/>
              <a:buFont typeface="PT Serif"/>
              <a:buNone/>
              <a:defRPr>
                <a:solidFill>
                  <a:srgbClr val="014479"/>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4" name="Google Shape;164;p52"/>
          <p:cNvSpPr txBox="1">
            <a:spLocks noGrp="1"/>
          </p:cNvSpPr>
          <p:nvPr>
            <p:ph type="ftr" idx="11"/>
          </p:nvPr>
        </p:nvSpPr>
        <p:spPr>
          <a:xfrm>
            <a:off x="7372695" y="6356350"/>
            <a:ext cx="4114800" cy="365125"/>
          </a:xfrm>
          <a:prstGeom prst="rect">
            <a:avLst/>
          </a:prstGeom>
          <a:noFill/>
          <a:ln>
            <a:noFill/>
          </a:ln>
        </p:spPr>
        <p:txBody>
          <a:bodyPr spcFirstLastPara="1" wrap="square" lIns="91425" tIns="45700" rIns="91425" bIns="45700" anchor="ctr" anchorCtr="0">
            <a:noAutofit/>
          </a:bodyPr>
          <a:lstStyle>
            <a:lvl1pPr lvl="0" algn="r">
              <a:spcBef>
                <a:spcPts val="0"/>
              </a:spcBef>
              <a:spcAft>
                <a:spcPts val="0"/>
              </a:spcAft>
              <a:buSzPts val="1400"/>
              <a:buNone/>
              <a:defRPr sz="1200" b="0" i="0">
                <a:solidFill>
                  <a:srgbClr val="8A8A8A"/>
                </a:solidFill>
                <a:latin typeface="Source Sans Pro"/>
                <a:ea typeface="Source Sans Pro"/>
                <a:cs typeface="Source Sans Pro"/>
                <a:sym typeface="Source Sans Pro"/>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65" name="Google Shape;165;p52"/>
          <p:cNvSpPr txBox="1">
            <a:spLocks noGrp="1"/>
          </p:cNvSpPr>
          <p:nvPr>
            <p:ph type="sldNum" idx="12"/>
          </p:nvPr>
        </p:nvSpPr>
        <p:spPr>
          <a:xfrm>
            <a:off x="11474969" y="6356350"/>
            <a:ext cx="406052"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b="0" i="0">
                <a:solidFill>
                  <a:srgbClr val="8A8A8A"/>
                </a:solidFill>
                <a:latin typeface="Source Sans Pro"/>
                <a:ea typeface="Source Sans Pro"/>
                <a:cs typeface="Source Sans Pro"/>
                <a:sym typeface="Source Sans Pro"/>
              </a:defRPr>
            </a:lvl1pPr>
            <a:lvl2pPr marL="0" lvl="1" indent="0" algn="r">
              <a:spcBef>
                <a:spcPts val="0"/>
              </a:spcBef>
              <a:buNone/>
              <a:defRPr sz="1200" b="0" i="0">
                <a:solidFill>
                  <a:srgbClr val="8A8A8A"/>
                </a:solidFill>
                <a:latin typeface="Source Sans Pro"/>
                <a:ea typeface="Source Sans Pro"/>
                <a:cs typeface="Source Sans Pro"/>
                <a:sym typeface="Source Sans Pro"/>
              </a:defRPr>
            </a:lvl2pPr>
            <a:lvl3pPr marL="0" lvl="2" indent="0" algn="r">
              <a:spcBef>
                <a:spcPts val="0"/>
              </a:spcBef>
              <a:buNone/>
              <a:defRPr sz="1200" b="0" i="0">
                <a:solidFill>
                  <a:srgbClr val="8A8A8A"/>
                </a:solidFill>
                <a:latin typeface="Source Sans Pro"/>
                <a:ea typeface="Source Sans Pro"/>
                <a:cs typeface="Source Sans Pro"/>
                <a:sym typeface="Source Sans Pro"/>
              </a:defRPr>
            </a:lvl3pPr>
            <a:lvl4pPr marL="0" lvl="3" indent="0" algn="r">
              <a:spcBef>
                <a:spcPts val="0"/>
              </a:spcBef>
              <a:buNone/>
              <a:defRPr sz="1200" b="0" i="0">
                <a:solidFill>
                  <a:srgbClr val="8A8A8A"/>
                </a:solidFill>
                <a:latin typeface="Source Sans Pro"/>
                <a:ea typeface="Source Sans Pro"/>
                <a:cs typeface="Source Sans Pro"/>
                <a:sym typeface="Source Sans Pro"/>
              </a:defRPr>
            </a:lvl4pPr>
            <a:lvl5pPr marL="0" lvl="4" indent="0" algn="r">
              <a:spcBef>
                <a:spcPts val="0"/>
              </a:spcBef>
              <a:buNone/>
              <a:defRPr sz="1200" b="0" i="0">
                <a:solidFill>
                  <a:srgbClr val="8A8A8A"/>
                </a:solidFill>
                <a:latin typeface="Source Sans Pro"/>
                <a:ea typeface="Source Sans Pro"/>
                <a:cs typeface="Source Sans Pro"/>
                <a:sym typeface="Source Sans Pro"/>
              </a:defRPr>
            </a:lvl5pPr>
            <a:lvl6pPr marL="0" lvl="5" indent="0" algn="r">
              <a:spcBef>
                <a:spcPts val="0"/>
              </a:spcBef>
              <a:buNone/>
              <a:defRPr sz="1200" b="0" i="0">
                <a:solidFill>
                  <a:srgbClr val="8A8A8A"/>
                </a:solidFill>
                <a:latin typeface="Source Sans Pro"/>
                <a:ea typeface="Source Sans Pro"/>
                <a:cs typeface="Source Sans Pro"/>
                <a:sym typeface="Source Sans Pro"/>
              </a:defRPr>
            </a:lvl6pPr>
            <a:lvl7pPr marL="0" lvl="6" indent="0" algn="r">
              <a:spcBef>
                <a:spcPts val="0"/>
              </a:spcBef>
              <a:buNone/>
              <a:defRPr sz="1200" b="0" i="0">
                <a:solidFill>
                  <a:srgbClr val="8A8A8A"/>
                </a:solidFill>
                <a:latin typeface="Source Sans Pro"/>
                <a:ea typeface="Source Sans Pro"/>
                <a:cs typeface="Source Sans Pro"/>
                <a:sym typeface="Source Sans Pro"/>
              </a:defRPr>
            </a:lvl7pPr>
            <a:lvl8pPr marL="0" lvl="7" indent="0" algn="r">
              <a:spcBef>
                <a:spcPts val="0"/>
              </a:spcBef>
              <a:buNone/>
              <a:defRPr sz="1200" b="0" i="0">
                <a:solidFill>
                  <a:srgbClr val="8A8A8A"/>
                </a:solidFill>
                <a:latin typeface="Source Sans Pro"/>
                <a:ea typeface="Source Sans Pro"/>
                <a:cs typeface="Source Sans Pro"/>
                <a:sym typeface="Source Sans Pro"/>
              </a:defRPr>
            </a:lvl8pPr>
            <a:lvl9pPr marL="0" lvl="8" indent="0" algn="r">
              <a:spcBef>
                <a:spcPts val="0"/>
              </a:spcBef>
              <a:buNone/>
              <a:defRPr sz="1200" b="0" i="0">
                <a:solidFill>
                  <a:srgbClr val="8A8A8A"/>
                </a:solidFill>
                <a:latin typeface="Source Sans Pro"/>
                <a:ea typeface="Source Sans Pro"/>
                <a:cs typeface="Source Sans Pro"/>
                <a:sym typeface="Source Sans Pro"/>
              </a:defRPr>
            </a:lvl9pPr>
          </a:lstStyle>
          <a:p>
            <a:pPr marL="0" lvl="0" indent="0" algn="r" rtl="0">
              <a:spcBef>
                <a:spcPts val="0"/>
              </a:spcBef>
              <a:spcAft>
                <a:spcPts val="0"/>
              </a:spcAft>
              <a:buNone/>
            </a:pPr>
            <a:fld id="{00000000-1234-1234-1234-123412341234}" type="slidenum">
              <a:rPr lang="en-US"/>
              <a:t>‹#›</a:t>
            </a:fld>
            <a:endParaRPr/>
          </a:p>
        </p:txBody>
      </p:sp>
      <p:sp>
        <p:nvSpPr>
          <p:cNvPr id="166" name="Google Shape;166;p52"/>
          <p:cNvSpPr txBox="1">
            <a:spLocks noGrp="1"/>
          </p:cNvSpPr>
          <p:nvPr>
            <p:ph type="body" idx="1"/>
          </p:nvPr>
        </p:nvSpPr>
        <p:spPr>
          <a:xfrm>
            <a:off x="320246" y="3618898"/>
            <a:ext cx="5273246" cy="1788039"/>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accent2"/>
              </a:buClr>
              <a:buSzPts val="1120"/>
              <a:buFont typeface="Noto Sans Symbols"/>
              <a:buNone/>
              <a:defRPr sz="1600">
                <a:solidFill>
                  <a:schemeClr val="accent1"/>
                </a:solidFill>
              </a:defRPr>
            </a:lvl1pPr>
            <a:lvl2pPr marL="914400" lvl="1" indent="-228600" algn="l">
              <a:lnSpc>
                <a:spcPct val="90000"/>
              </a:lnSpc>
              <a:spcBef>
                <a:spcPts val="500"/>
              </a:spcBef>
              <a:spcAft>
                <a:spcPts val="0"/>
              </a:spcAft>
              <a:buClr>
                <a:schemeClr val="accent2"/>
              </a:buClr>
              <a:buSzPts val="1260"/>
              <a:buFont typeface="Noto Sans Symbols"/>
              <a:buNone/>
              <a:defRPr/>
            </a:lvl2pPr>
            <a:lvl3pPr marL="1371600" lvl="2" indent="-228600" algn="l">
              <a:lnSpc>
                <a:spcPct val="90000"/>
              </a:lnSpc>
              <a:spcBef>
                <a:spcPts val="500"/>
              </a:spcBef>
              <a:spcAft>
                <a:spcPts val="0"/>
              </a:spcAft>
              <a:buClr>
                <a:schemeClr val="accent2"/>
              </a:buClr>
              <a:buSzPts val="1120"/>
              <a:buFont typeface="Noto Sans Symbols"/>
              <a:buNone/>
              <a:defRPr/>
            </a:lvl3pPr>
            <a:lvl4pPr marL="1828800" lvl="3" indent="-228600" algn="l">
              <a:lnSpc>
                <a:spcPct val="90000"/>
              </a:lnSpc>
              <a:spcBef>
                <a:spcPts val="500"/>
              </a:spcBef>
              <a:spcAft>
                <a:spcPts val="0"/>
              </a:spcAft>
              <a:buClr>
                <a:schemeClr val="accent2"/>
              </a:buClr>
              <a:buSzPts val="980"/>
              <a:buFont typeface="Noto Sans Symbols"/>
              <a:buNone/>
              <a:defRPr/>
            </a:lvl4pPr>
            <a:lvl5pPr marL="2286000" lvl="4" indent="-228600" algn="l">
              <a:lnSpc>
                <a:spcPct val="90000"/>
              </a:lnSpc>
              <a:spcBef>
                <a:spcPts val="500"/>
              </a:spcBef>
              <a:spcAft>
                <a:spcPts val="0"/>
              </a:spcAft>
              <a:buClr>
                <a:schemeClr val="accent2"/>
              </a:buClr>
              <a:buSzPts val="980"/>
              <a:buFont typeface="Noto Sans Symbols"/>
              <a:buNone/>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matchingName="Picture with Caption" type="picTx">
  <p:cSld name="PICTURE_WITH_CAPTION_TEXT">
    <p:spTree>
      <p:nvGrpSpPr>
        <p:cNvPr id="1" name="Shape 167"/>
        <p:cNvGrpSpPr/>
        <p:nvPr/>
      </p:nvGrpSpPr>
      <p:grpSpPr>
        <a:xfrm>
          <a:off x="0" y="0"/>
          <a:ext cx="0" cy="0"/>
          <a:chOff x="0" y="0"/>
          <a:chExt cx="0" cy="0"/>
        </a:xfrm>
      </p:grpSpPr>
      <p:sp>
        <p:nvSpPr>
          <p:cNvPr id="168" name="Google Shape;168;p53"/>
          <p:cNvSpPr txBox="1">
            <a:spLocks noGrp="1"/>
          </p:cNvSpPr>
          <p:nvPr>
            <p:ph type="title"/>
          </p:nvPr>
        </p:nvSpPr>
        <p:spPr>
          <a:xfrm>
            <a:off x="331788" y="457200"/>
            <a:ext cx="3932237" cy="1600200"/>
          </a:xfrm>
          <a:prstGeom prst="rect">
            <a:avLst/>
          </a:prstGeom>
          <a:noFill/>
          <a:ln>
            <a:noFill/>
          </a:ln>
        </p:spPr>
        <p:txBody>
          <a:bodyPr spcFirstLastPara="1" wrap="square" lIns="91425" tIns="45700" rIns="91425" bIns="45700" anchor="b" anchorCtr="0">
            <a:normAutofit/>
          </a:bodyPr>
          <a:lstStyle>
            <a:lvl1pPr lvl="0" algn="l">
              <a:lnSpc>
                <a:spcPct val="90000"/>
              </a:lnSpc>
              <a:spcBef>
                <a:spcPts val="0"/>
              </a:spcBef>
              <a:spcAft>
                <a:spcPts val="0"/>
              </a:spcAft>
              <a:buClr>
                <a:schemeClr val="dk1"/>
              </a:buClr>
              <a:buSzPts val="3200"/>
              <a:buFont typeface="PT Serif"/>
              <a:buNone/>
              <a:defRPr sz="32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9" name="Google Shape;169;p53"/>
          <p:cNvSpPr>
            <a:spLocks noGrp="1"/>
          </p:cNvSpPr>
          <p:nvPr>
            <p:ph type="pic" idx="2"/>
          </p:nvPr>
        </p:nvSpPr>
        <p:spPr>
          <a:xfrm>
            <a:off x="5600700" y="992187"/>
            <a:ext cx="6172200" cy="4873625"/>
          </a:xfrm>
          <a:prstGeom prst="rect">
            <a:avLst/>
          </a:prstGeom>
          <a:noFill/>
          <a:ln>
            <a:noFill/>
          </a:ln>
        </p:spPr>
      </p:sp>
      <p:sp>
        <p:nvSpPr>
          <p:cNvPr id="170" name="Google Shape;170;p53"/>
          <p:cNvSpPr txBox="1">
            <a:spLocks noGrp="1"/>
          </p:cNvSpPr>
          <p:nvPr>
            <p:ph type="body" idx="1"/>
          </p:nvPr>
        </p:nvSpPr>
        <p:spPr>
          <a:xfrm>
            <a:off x="331788" y="2428081"/>
            <a:ext cx="3932237" cy="3811588"/>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dk2"/>
              </a:buClr>
              <a:buSzPts val="1600"/>
              <a:buNone/>
              <a:defRPr sz="1600"/>
            </a:lvl1pPr>
            <a:lvl2pPr marL="914400" lvl="1" indent="-228600" algn="l">
              <a:lnSpc>
                <a:spcPct val="90000"/>
              </a:lnSpc>
              <a:spcBef>
                <a:spcPts val="500"/>
              </a:spcBef>
              <a:spcAft>
                <a:spcPts val="0"/>
              </a:spcAft>
              <a:buClr>
                <a:schemeClr val="dk2"/>
              </a:buClr>
              <a:buSzPts val="1400"/>
              <a:buNone/>
              <a:defRPr sz="1400"/>
            </a:lvl2pPr>
            <a:lvl3pPr marL="1371600" lvl="2" indent="-228600" algn="l">
              <a:lnSpc>
                <a:spcPct val="90000"/>
              </a:lnSpc>
              <a:spcBef>
                <a:spcPts val="500"/>
              </a:spcBef>
              <a:spcAft>
                <a:spcPts val="0"/>
              </a:spcAft>
              <a:buClr>
                <a:schemeClr val="dk2"/>
              </a:buClr>
              <a:buSzPts val="1200"/>
              <a:buNone/>
              <a:defRPr sz="1200"/>
            </a:lvl3pPr>
            <a:lvl4pPr marL="1828800" lvl="3" indent="-228600" algn="l">
              <a:lnSpc>
                <a:spcPct val="90000"/>
              </a:lnSpc>
              <a:spcBef>
                <a:spcPts val="500"/>
              </a:spcBef>
              <a:spcAft>
                <a:spcPts val="0"/>
              </a:spcAft>
              <a:buClr>
                <a:schemeClr val="dk2"/>
              </a:buClr>
              <a:buSzPts val="1000"/>
              <a:buNone/>
              <a:defRPr sz="1000"/>
            </a:lvl4pPr>
            <a:lvl5pPr marL="2286000" lvl="4" indent="-228600" algn="l">
              <a:lnSpc>
                <a:spcPct val="90000"/>
              </a:lnSpc>
              <a:spcBef>
                <a:spcPts val="500"/>
              </a:spcBef>
              <a:spcAft>
                <a:spcPts val="0"/>
              </a:spcAft>
              <a:buClr>
                <a:schemeClr val="dk2"/>
              </a:buClr>
              <a:buSzPts val="1000"/>
              <a:buNone/>
              <a:defRPr sz="1000"/>
            </a:lvl5pPr>
            <a:lvl6pPr marL="2743200" lvl="5" indent="-228600" algn="l">
              <a:lnSpc>
                <a:spcPct val="90000"/>
              </a:lnSpc>
              <a:spcBef>
                <a:spcPts val="500"/>
              </a:spcBef>
              <a:spcAft>
                <a:spcPts val="0"/>
              </a:spcAft>
              <a:buClr>
                <a:schemeClr val="dk1"/>
              </a:buClr>
              <a:buSzPts val="1000"/>
              <a:buNone/>
              <a:defRPr sz="1000"/>
            </a:lvl6pPr>
            <a:lvl7pPr marL="3200400" lvl="6" indent="-228600" algn="l">
              <a:lnSpc>
                <a:spcPct val="90000"/>
              </a:lnSpc>
              <a:spcBef>
                <a:spcPts val="500"/>
              </a:spcBef>
              <a:spcAft>
                <a:spcPts val="0"/>
              </a:spcAft>
              <a:buClr>
                <a:schemeClr val="dk1"/>
              </a:buClr>
              <a:buSzPts val="1000"/>
              <a:buNone/>
              <a:defRPr sz="1000"/>
            </a:lvl7pPr>
            <a:lvl8pPr marL="3657600" lvl="7" indent="-228600" algn="l">
              <a:lnSpc>
                <a:spcPct val="90000"/>
              </a:lnSpc>
              <a:spcBef>
                <a:spcPts val="500"/>
              </a:spcBef>
              <a:spcAft>
                <a:spcPts val="0"/>
              </a:spcAft>
              <a:buClr>
                <a:schemeClr val="dk1"/>
              </a:buClr>
              <a:buSzPts val="1000"/>
              <a:buNone/>
              <a:defRPr sz="1000"/>
            </a:lvl8pPr>
            <a:lvl9pPr marL="4114800" lvl="8" indent="-228600" algn="l">
              <a:lnSpc>
                <a:spcPct val="90000"/>
              </a:lnSpc>
              <a:spcBef>
                <a:spcPts val="500"/>
              </a:spcBef>
              <a:spcAft>
                <a:spcPts val="0"/>
              </a:spcAft>
              <a:buClr>
                <a:schemeClr val="dk1"/>
              </a:buClr>
              <a:buSzPts val="1000"/>
              <a:buNone/>
              <a:defRPr sz="1000"/>
            </a:lvl9pPr>
          </a:lstStyle>
          <a:p>
            <a:endParaRPr/>
          </a:p>
        </p:txBody>
      </p:sp>
      <p:sp>
        <p:nvSpPr>
          <p:cNvPr id="171" name="Google Shape;171;p53"/>
          <p:cNvSpPr txBox="1">
            <a:spLocks noGrp="1"/>
          </p:cNvSpPr>
          <p:nvPr>
            <p:ph type="dt" idx="10"/>
          </p:nvPr>
        </p:nvSpPr>
        <p:spPr>
          <a:xfrm>
            <a:off x="325244" y="63563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72" name="Google Shape;172;p53"/>
          <p:cNvSpPr txBox="1">
            <a:spLocks noGrp="1"/>
          </p:cNvSpPr>
          <p:nvPr>
            <p:ph type="ftr" idx="11"/>
          </p:nvPr>
        </p:nvSpPr>
        <p:spPr>
          <a:xfrm>
            <a:off x="7380732" y="6356350"/>
            <a:ext cx="4114800" cy="365125"/>
          </a:xfrm>
          <a:prstGeom prst="rect">
            <a:avLst/>
          </a:prstGeom>
          <a:noFill/>
          <a:ln>
            <a:noFill/>
          </a:ln>
        </p:spPr>
        <p:txBody>
          <a:bodyPr spcFirstLastPara="1" wrap="square" lIns="91425" tIns="45700" rIns="91425" bIns="45700" anchor="ctr" anchorCtr="0">
            <a:noAutofit/>
          </a:bodyPr>
          <a:lstStyle>
            <a:lvl1pPr lvl="0" algn="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73" name="Google Shape;173;p53"/>
          <p:cNvSpPr txBox="1">
            <a:spLocks noGrp="1"/>
          </p:cNvSpPr>
          <p:nvPr>
            <p:ph type="sldNum" idx="12"/>
          </p:nvPr>
        </p:nvSpPr>
        <p:spPr>
          <a:xfrm>
            <a:off x="11483006" y="6356350"/>
            <a:ext cx="406052"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matchingName="Title Slide" type="title">
  <p:cSld name="TITLE">
    <p:spTree>
      <p:nvGrpSpPr>
        <p:cNvPr id="1" name="Shape 174"/>
        <p:cNvGrpSpPr/>
        <p:nvPr/>
      </p:nvGrpSpPr>
      <p:grpSpPr>
        <a:xfrm>
          <a:off x="0" y="0"/>
          <a:ext cx="0" cy="0"/>
          <a:chOff x="0" y="0"/>
          <a:chExt cx="0" cy="0"/>
        </a:xfrm>
      </p:grpSpPr>
      <p:sp>
        <p:nvSpPr>
          <p:cNvPr id="175" name="Google Shape;175;p54"/>
          <p:cNvSpPr txBox="1">
            <a:spLocks noGrp="1"/>
          </p:cNvSpPr>
          <p:nvPr>
            <p:ph type="ctrTitle"/>
          </p:nvPr>
        </p:nvSpPr>
        <p:spPr>
          <a:xfrm>
            <a:off x="1524000" y="1122363"/>
            <a:ext cx="9144000" cy="2387600"/>
          </a:xfrm>
          <a:prstGeom prst="rect">
            <a:avLst/>
          </a:prstGeom>
          <a:noFill/>
          <a:ln>
            <a:noFill/>
          </a:ln>
        </p:spPr>
        <p:txBody>
          <a:bodyPr spcFirstLastPara="1" wrap="square" lIns="91425" tIns="45700" rIns="91425" bIns="45700" anchor="b" anchorCtr="0">
            <a:normAutofit/>
          </a:bodyPr>
          <a:lstStyle>
            <a:lvl1pPr lvl="0" algn="ctr">
              <a:lnSpc>
                <a:spcPct val="90000"/>
              </a:lnSpc>
              <a:spcBef>
                <a:spcPts val="0"/>
              </a:spcBef>
              <a:spcAft>
                <a:spcPts val="0"/>
              </a:spcAft>
              <a:buClr>
                <a:schemeClr val="dk1"/>
              </a:buClr>
              <a:buSzPts val="6000"/>
              <a:buFont typeface="PT Serif"/>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6" name="Google Shape;176;p54"/>
          <p:cNvSpPr txBox="1">
            <a:spLocks noGrp="1"/>
          </p:cNvSpPr>
          <p:nvPr>
            <p:ph type="subTitle" idx="1"/>
          </p:nvPr>
        </p:nvSpPr>
        <p:spPr>
          <a:xfrm>
            <a:off x="1524000" y="3602038"/>
            <a:ext cx="9144000" cy="1655762"/>
          </a:xfrm>
          <a:prstGeom prst="rect">
            <a:avLst/>
          </a:prstGeom>
          <a:noFill/>
          <a:ln>
            <a:noFill/>
          </a:ln>
        </p:spPr>
        <p:txBody>
          <a:bodyPr spcFirstLastPara="1" wrap="square" lIns="91425" tIns="45700" rIns="91425" bIns="45700" anchor="t" anchorCtr="0">
            <a:normAutofit/>
          </a:bodyPr>
          <a:lstStyle>
            <a:lvl1pPr lvl="0" algn="ctr">
              <a:lnSpc>
                <a:spcPct val="90000"/>
              </a:lnSpc>
              <a:spcBef>
                <a:spcPts val="1000"/>
              </a:spcBef>
              <a:spcAft>
                <a:spcPts val="0"/>
              </a:spcAft>
              <a:buClr>
                <a:schemeClr val="dk2"/>
              </a:buClr>
              <a:buSzPts val="2400"/>
              <a:buNone/>
              <a:defRPr sz="2400"/>
            </a:lvl1pPr>
            <a:lvl2pPr lvl="1" algn="ctr">
              <a:lnSpc>
                <a:spcPct val="90000"/>
              </a:lnSpc>
              <a:spcBef>
                <a:spcPts val="500"/>
              </a:spcBef>
              <a:spcAft>
                <a:spcPts val="0"/>
              </a:spcAft>
              <a:buClr>
                <a:schemeClr val="dk2"/>
              </a:buClr>
              <a:buSzPts val="2000"/>
              <a:buNone/>
              <a:defRPr sz="2000"/>
            </a:lvl2pPr>
            <a:lvl3pPr lvl="2" algn="ctr">
              <a:lnSpc>
                <a:spcPct val="90000"/>
              </a:lnSpc>
              <a:spcBef>
                <a:spcPts val="500"/>
              </a:spcBef>
              <a:spcAft>
                <a:spcPts val="0"/>
              </a:spcAft>
              <a:buClr>
                <a:schemeClr val="dk2"/>
              </a:buClr>
              <a:buSzPts val="1800"/>
              <a:buNone/>
              <a:defRPr sz="1800"/>
            </a:lvl3pPr>
            <a:lvl4pPr lvl="3" algn="ctr">
              <a:lnSpc>
                <a:spcPct val="90000"/>
              </a:lnSpc>
              <a:spcBef>
                <a:spcPts val="500"/>
              </a:spcBef>
              <a:spcAft>
                <a:spcPts val="0"/>
              </a:spcAft>
              <a:buClr>
                <a:schemeClr val="dk2"/>
              </a:buClr>
              <a:buSzPts val="1600"/>
              <a:buNone/>
              <a:defRPr sz="1600"/>
            </a:lvl4pPr>
            <a:lvl5pPr lvl="4" algn="ctr">
              <a:lnSpc>
                <a:spcPct val="90000"/>
              </a:lnSpc>
              <a:spcBef>
                <a:spcPts val="500"/>
              </a:spcBef>
              <a:spcAft>
                <a:spcPts val="0"/>
              </a:spcAft>
              <a:buClr>
                <a:schemeClr val="dk2"/>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77" name="Google Shape;177;p54"/>
          <p:cNvSpPr txBox="1">
            <a:spLocks noGrp="1"/>
          </p:cNvSpPr>
          <p:nvPr>
            <p:ph type="dt" idx="10"/>
          </p:nvPr>
        </p:nvSpPr>
        <p:spPr>
          <a:xfrm>
            <a:off x="325244" y="63563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78" name="Google Shape;178;p54"/>
          <p:cNvSpPr txBox="1">
            <a:spLocks noGrp="1"/>
          </p:cNvSpPr>
          <p:nvPr>
            <p:ph type="ftr" idx="11"/>
          </p:nvPr>
        </p:nvSpPr>
        <p:spPr>
          <a:xfrm>
            <a:off x="7380732" y="6356350"/>
            <a:ext cx="4114800" cy="365125"/>
          </a:xfrm>
          <a:prstGeom prst="rect">
            <a:avLst/>
          </a:prstGeom>
          <a:noFill/>
          <a:ln>
            <a:noFill/>
          </a:ln>
        </p:spPr>
        <p:txBody>
          <a:bodyPr spcFirstLastPara="1" wrap="square" lIns="91425" tIns="45700" rIns="91425" bIns="45700" anchor="ctr" anchorCtr="0">
            <a:noAutofit/>
          </a:bodyPr>
          <a:lstStyle>
            <a:lvl1pPr lvl="0" algn="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79" name="Google Shape;179;p54"/>
          <p:cNvSpPr txBox="1">
            <a:spLocks noGrp="1"/>
          </p:cNvSpPr>
          <p:nvPr>
            <p:ph type="sldNum" idx="12"/>
          </p:nvPr>
        </p:nvSpPr>
        <p:spPr>
          <a:xfrm>
            <a:off x="11483006" y="6356350"/>
            <a:ext cx="406052"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2_Two Content">
  <p:cSld name="2_Two Content">
    <p:spTree>
      <p:nvGrpSpPr>
        <p:cNvPr id="1" name="Shape 30"/>
        <p:cNvGrpSpPr/>
        <p:nvPr/>
      </p:nvGrpSpPr>
      <p:grpSpPr>
        <a:xfrm>
          <a:off x="0" y="0"/>
          <a:ext cx="0" cy="0"/>
          <a:chOff x="0" y="0"/>
          <a:chExt cx="0" cy="0"/>
        </a:xfrm>
      </p:grpSpPr>
      <p:sp>
        <p:nvSpPr>
          <p:cNvPr id="31" name="Google Shape;31;p32"/>
          <p:cNvSpPr/>
          <p:nvPr/>
        </p:nvSpPr>
        <p:spPr>
          <a:xfrm>
            <a:off x="6096000" y="0"/>
            <a:ext cx="6104239" cy="6858000"/>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32" name="Google Shape;32;p32"/>
          <p:cNvSpPr txBox="1">
            <a:spLocks noGrp="1"/>
          </p:cNvSpPr>
          <p:nvPr>
            <p:ph type="title"/>
          </p:nvPr>
        </p:nvSpPr>
        <p:spPr>
          <a:xfrm>
            <a:off x="320246" y="2270681"/>
            <a:ext cx="5273246" cy="1348217"/>
          </a:xfrm>
          <a:prstGeom prst="rect">
            <a:avLst/>
          </a:prstGeom>
          <a:noFill/>
          <a:ln>
            <a:noFill/>
          </a:ln>
        </p:spPr>
        <p:txBody>
          <a:bodyPr spcFirstLastPara="1" wrap="square" lIns="91425" tIns="45700" rIns="91425" bIns="45700" anchor="t" anchorCtr="0">
            <a:normAutofit/>
          </a:bodyPr>
          <a:lstStyle>
            <a:lvl1pPr lvl="0" algn="l">
              <a:lnSpc>
                <a:spcPct val="90000"/>
              </a:lnSpc>
              <a:spcBef>
                <a:spcPts val="0"/>
              </a:spcBef>
              <a:spcAft>
                <a:spcPts val="0"/>
              </a:spcAft>
              <a:buClr>
                <a:srgbClr val="014479"/>
              </a:buClr>
              <a:buSzPts val="3600"/>
              <a:buFont typeface="PT Serif"/>
              <a:buNone/>
              <a:defRPr>
                <a:solidFill>
                  <a:srgbClr val="014479"/>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3" name="Google Shape;33;p32"/>
          <p:cNvSpPr txBox="1">
            <a:spLocks noGrp="1"/>
          </p:cNvSpPr>
          <p:nvPr>
            <p:ph type="ftr" idx="11"/>
          </p:nvPr>
        </p:nvSpPr>
        <p:spPr>
          <a:xfrm>
            <a:off x="7372695" y="6356350"/>
            <a:ext cx="4114800" cy="365125"/>
          </a:xfrm>
          <a:prstGeom prst="rect">
            <a:avLst/>
          </a:prstGeom>
          <a:noFill/>
          <a:ln>
            <a:noFill/>
          </a:ln>
        </p:spPr>
        <p:txBody>
          <a:bodyPr spcFirstLastPara="1" wrap="square" lIns="91425" tIns="45700" rIns="91425" bIns="45700" anchor="ctr" anchorCtr="0">
            <a:noAutofit/>
          </a:bodyPr>
          <a:lstStyle>
            <a:lvl1pPr lvl="0" algn="r">
              <a:spcBef>
                <a:spcPts val="0"/>
              </a:spcBef>
              <a:spcAft>
                <a:spcPts val="0"/>
              </a:spcAft>
              <a:buSzPts val="1400"/>
              <a:buNone/>
              <a:defRPr sz="1200" b="0" i="0">
                <a:solidFill>
                  <a:srgbClr val="8A8A8A"/>
                </a:solidFill>
                <a:latin typeface="Source Sans Pro"/>
                <a:ea typeface="Source Sans Pro"/>
                <a:cs typeface="Source Sans Pro"/>
                <a:sym typeface="Source Sans Pro"/>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4" name="Google Shape;34;p32"/>
          <p:cNvSpPr txBox="1">
            <a:spLocks noGrp="1"/>
          </p:cNvSpPr>
          <p:nvPr>
            <p:ph type="sldNum" idx="12"/>
          </p:nvPr>
        </p:nvSpPr>
        <p:spPr>
          <a:xfrm>
            <a:off x="11474969" y="6356350"/>
            <a:ext cx="406052"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b="0" i="0" u="none" strike="noStrike" cap="none">
                <a:solidFill>
                  <a:srgbClr val="8A8A8A"/>
                </a:solidFill>
                <a:latin typeface="Source Sans Pro"/>
                <a:ea typeface="Source Sans Pro"/>
                <a:cs typeface="Source Sans Pro"/>
                <a:sym typeface="Source Sans Pro"/>
              </a:defRPr>
            </a:lvl1pPr>
            <a:lvl2pPr marL="0" lvl="1" indent="0" algn="r">
              <a:spcBef>
                <a:spcPts val="0"/>
              </a:spcBef>
              <a:buNone/>
              <a:defRPr sz="1200" b="0" i="0" u="none" strike="noStrike" cap="none">
                <a:solidFill>
                  <a:srgbClr val="8A8A8A"/>
                </a:solidFill>
                <a:latin typeface="Source Sans Pro"/>
                <a:ea typeface="Source Sans Pro"/>
                <a:cs typeface="Source Sans Pro"/>
                <a:sym typeface="Source Sans Pro"/>
              </a:defRPr>
            </a:lvl2pPr>
            <a:lvl3pPr marL="0" lvl="2" indent="0" algn="r">
              <a:spcBef>
                <a:spcPts val="0"/>
              </a:spcBef>
              <a:buNone/>
              <a:defRPr sz="1200" b="0" i="0" u="none" strike="noStrike" cap="none">
                <a:solidFill>
                  <a:srgbClr val="8A8A8A"/>
                </a:solidFill>
                <a:latin typeface="Source Sans Pro"/>
                <a:ea typeface="Source Sans Pro"/>
                <a:cs typeface="Source Sans Pro"/>
                <a:sym typeface="Source Sans Pro"/>
              </a:defRPr>
            </a:lvl3pPr>
            <a:lvl4pPr marL="0" lvl="3" indent="0" algn="r">
              <a:spcBef>
                <a:spcPts val="0"/>
              </a:spcBef>
              <a:buNone/>
              <a:defRPr sz="1200" b="0" i="0" u="none" strike="noStrike" cap="none">
                <a:solidFill>
                  <a:srgbClr val="8A8A8A"/>
                </a:solidFill>
                <a:latin typeface="Source Sans Pro"/>
                <a:ea typeface="Source Sans Pro"/>
                <a:cs typeface="Source Sans Pro"/>
                <a:sym typeface="Source Sans Pro"/>
              </a:defRPr>
            </a:lvl4pPr>
            <a:lvl5pPr marL="0" lvl="4" indent="0" algn="r">
              <a:spcBef>
                <a:spcPts val="0"/>
              </a:spcBef>
              <a:buNone/>
              <a:defRPr sz="1200" b="0" i="0" u="none" strike="noStrike" cap="none">
                <a:solidFill>
                  <a:srgbClr val="8A8A8A"/>
                </a:solidFill>
                <a:latin typeface="Source Sans Pro"/>
                <a:ea typeface="Source Sans Pro"/>
                <a:cs typeface="Source Sans Pro"/>
                <a:sym typeface="Source Sans Pro"/>
              </a:defRPr>
            </a:lvl5pPr>
            <a:lvl6pPr marL="0" lvl="5" indent="0" algn="r">
              <a:spcBef>
                <a:spcPts val="0"/>
              </a:spcBef>
              <a:buNone/>
              <a:defRPr sz="1200" b="0" i="0" u="none" strike="noStrike" cap="none">
                <a:solidFill>
                  <a:srgbClr val="8A8A8A"/>
                </a:solidFill>
                <a:latin typeface="Source Sans Pro"/>
                <a:ea typeface="Source Sans Pro"/>
                <a:cs typeface="Source Sans Pro"/>
                <a:sym typeface="Source Sans Pro"/>
              </a:defRPr>
            </a:lvl6pPr>
            <a:lvl7pPr marL="0" lvl="6" indent="0" algn="r">
              <a:spcBef>
                <a:spcPts val="0"/>
              </a:spcBef>
              <a:buNone/>
              <a:defRPr sz="1200" b="0" i="0" u="none" strike="noStrike" cap="none">
                <a:solidFill>
                  <a:srgbClr val="8A8A8A"/>
                </a:solidFill>
                <a:latin typeface="Source Sans Pro"/>
                <a:ea typeface="Source Sans Pro"/>
                <a:cs typeface="Source Sans Pro"/>
                <a:sym typeface="Source Sans Pro"/>
              </a:defRPr>
            </a:lvl7pPr>
            <a:lvl8pPr marL="0" lvl="7" indent="0" algn="r">
              <a:spcBef>
                <a:spcPts val="0"/>
              </a:spcBef>
              <a:buNone/>
              <a:defRPr sz="1200" b="0" i="0" u="none" strike="noStrike" cap="none">
                <a:solidFill>
                  <a:srgbClr val="8A8A8A"/>
                </a:solidFill>
                <a:latin typeface="Source Sans Pro"/>
                <a:ea typeface="Source Sans Pro"/>
                <a:cs typeface="Source Sans Pro"/>
                <a:sym typeface="Source Sans Pro"/>
              </a:defRPr>
            </a:lvl8pPr>
            <a:lvl9pPr marL="0" lvl="8" indent="0" algn="r">
              <a:spcBef>
                <a:spcPts val="0"/>
              </a:spcBef>
              <a:buNone/>
              <a:defRPr sz="1200" b="0" i="0" u="none" strike="noStrike" cap="none">
                <a:solidFill>
                  <a:srgbClr val="8A8A8A"/>
                </a:solidFill>
                <a:latin typeface="Source Sans Pro"/>
                <a:ea typeface="Source Sans Pro"/>
                <a:cs typeface="Source Sans Pro"/>
                <a:sym typeface="Source Sans Pro"/>
              </a:defRPr>
            </a:lvl9pPr>
          </a:lstStyle>
          <a:p>
            <a:pPr marL="0" lvl="0" indent="0" algn="r" rtl="0">
              <a:spcBef>
                <a:spcPts val="0"/>
              </a:spcBef>
              <a:spcAft>
                <a:spcPts val="0"/>
              </a:spcAft>
              <a:buNone/>
            </a:pPr>
            <a:fld id="{00000000-1234-1234-1234-123412341234}" type="slidenum">
              <a:rPr lang="en-US"/>
              <a:t>‹#›</a:t>
            </a:fld>
            <a:endParaRPr/>
          </a:p>
        </p:txBody>
      </p:sp>
      <p:sp>
        <p:nvSpPr>
          <p:cNvPr id="35" name="Google Shape;35;p32"/>
          <p:cNvSpPr txBox="1">
            <a:spLocks noGrp="1"/>
          </p:cNvSpPr>
          <p:nvPr>
            <p:ph type="body" idx="1"/>
          </p:nvPr>
        </p:nvSpPr>
        <p:spPr>
          <a:xfrm>
            <a:off x="320246" y="3618898"/>
            <a:ext cx="5273246" cy="1788039"/>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accent2"/>
              </a:buClr>
              <a:buSzPts val="1120"/>
              <a:buFont typeface="Noto Sans Symbols"/>
              <a:buNone/>
              <a:defRPr sz="1600">
                <a:solidFill>
                  <a:schemeClr val="accent1"/>
                </a:solidFill>
              </a:defRPr>
            </a:lvl1pPr>
            <a:lvl2pPr marL="914400" lvl="1" indent="-228600" algn="l">
              <a:lnSpc>
                <a:spcPct val="90000"/>
              </a:lnSpc>
              <a:spcBef>
                <a:spcPts val="500"/>
              </a:spcBef>
              <a:spcAft>
                <a:spcPts val="0"/>
              </a:spcAft>
              <a:buClr>
                <a:schemeClr val="accent2"/>
              </a:buClr>
              <a:buSzPts val="1260"/>
              <a:buFont typeface="Noto Sans Symbols"/>
              <a:buNone/>
              <a:defRPr/>
            </a:lvl2pPr>
            <a:lvl3pPr marL="1371600" lvl="2" indent="-228600" algn="l">
              <a:lnSpc>
                <a:spcPct val="90000"/>
              </a:lnSpc>
              <a:spcBef>
                <a:spcPts val="500"/>
              </a:spcBef>
              <a:spcAft>
                <a:spcPts val="0"/>
              </a:spcAft>
              <a:buClr>
                <a:schemeClr val="accent2"/>
              </a:buClr>
              <a:buSzPts val="1120"/>
              <a:buFont typeface="Noto Sans Symbols"/>
              <a:buNone/>
              <a:defRPr/>
            </a:lvl3pPr>
            <a:lvl4pPr marL="1828800" lvl="3" indent="-228600" algn="l">
              <a:lnSpc>
                <a:spcPct val="90000"/>
              </a:lnSpc>
              <a:spcBef>
                <a:spcPts val="500"/>
              </a:spcBef>
              <a:spcAft>
                <a:spcPts val="0"/>
              </a:spcAft>
              <a:buClr>
                <a:schemeClr val="accent2"/>
              </a:buClr>
              <a:buSzPts val="980"/>
              <a:buFont typeface="Noto Sans Symbols"/>
              <a:buNone/>
              <a:defRPr/>
            </a:lvl4pPr>
            <a:lvl5pPr marL="2286000" lvl="4" indent="-228600" algn="l">
              <a:lnSpc>
                <a:spcPct val="90000"/>
              </a:lnSpc>
              <a:spcBef>
                <a:spcPts val="500"/>
              </a:spcBef>
              <a:spcAft>
                <a:spcPts val="0"/>
              </a:spcAft>
              <a:buClr>
                <a:schemeClr val="accent2"/>
              </a:buClr>
              <a:buSzPts val="980"/>
              <a:buFont typeface="Noto Sans Symbols"/>
              <a:buNone/>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4_Title Slide">
  <p:cSld name="4_Title Slide">
    <p:bg>
      <p:bgPr>
        <a:solidFill>
          <a:schemeClr val="accent1"/>
        </a:solidFill>
        <a:effectLst/>
      </p:bgPr>
    </p:bg>
    <p:spTree>
      <p:nvGrpSpPr>
        <p:cNvPr id="1" name="Shape 36"/>
        <p:cNvGrpSpPr/>
        <p:nvPr/>
      </p:nvGrpSpPr>
      <p:grpSpPr>
        <a:xfrm>
          <a:off x="0" y="0"/>
          <a:ext cx="0" cy="0"/>
          <a:chOff x="0" y="0"/>
          <a:chExt cx="0" cy="0"/>
        </a:xfrm>
      </p:grpSpPr>
      <p:sp>
        <p:nvSpPr>
          <p:cNvPr id="37" name="Google Shape;37;p33"/>
          <p:cNvSpPr txBox="1">
            <a:spLocks noGrp="1"/>
          </p:cNvSpPr>
          <p:nvPr>
            <p:ph type="ctrTitle"/>
          </p:nvPr>
        </p:nvSpPr>
        <p:spPr>
          <a:xfrm>
            <a:off x="341868" y="2612711"/>
            <a:ext cx="7261656" cy="1632577"/>
          </a:xfrm>
          <a:prstGeom prst="rect">
            <a:avLst/>
          </a:prstGeom>
          <a:noFill/>
          <a:ln>
            <a:noFill/>
          </a:ln>
        </p:spPr>
        <p:txBody>
          <a:bodyPr spcFirstLastPara="1" wrap="square" lIns="91425" tIns="45700" rIns="91425" bIns="45700" anchor="t" anchorCtr="0">
            <a:noAutofit/>
          </a:bodyPr>
          <a:lstStyle>
            <a:lvl1pPr lvl="0" algn="l">
              <a:lnSpc>
                <a:spcPct val="90000"/>
              </a:lnSpc>
              <a:spcBef>
                <a:spcPts val="0"/>
              </a:spcBef>
              <a:spcAft>
                <a:spcPts val="0"/>
              </a:spcAft>
              <a:buClr>
                <a:schemeClr val="lt1"/>
              </a:buClr>
              <a:buSzPts val="6600"/>
              <a:buFont typeface="PT Serif"/>
              <a:buNone/>
              <a:defRPr sz="6600">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8" name="Google Shape;38;p33"/>
          <p:cNvSpPr txBox="1">
            <a:spLocks noGrp="1"/>
          </p:cNvSpPr>
          <p:nvPr>
            <p:ph type="body" idx="1"/>
          </p:nvPr>
        </p:nvSpPr>
        <p:spPr>
          <a:xfrm>
            <a:off x="341868" y="2198312"/>
            <a:ext cx="4246607" cy="366651"/>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lt1"/>
              </a:buClr>
              <a:buSzPts val="1600"/>
              <a:buNone/>
              <a:defRPr sz="1600" b="0" i="0">
                <a:solidFill>
                  <a:schemeClr val="lt1"/>
                </a:solidFill>
                <a:latin typeface="Source Sans Pro"/>
                <a:ea typeface="Source Sans Pro"/>
                <a:cs typeface="Source Sans Pro"/>
                <a:sym typeface="Source Sans Pro"/>
              </a:defRPr>
            </a:lvl1pPr>
            <a:lvl2pPr marL="914400" lvl="1" indent="-228600" algn="l">
              <a:lnSpc>
                <a:spcPct val="90000"/>
              </a:lnSpc>
              <a:spcBef>
                <a:spcPts val="500"/>
              </a:spcBef>
              <a:spcAft>
                <a:spcPts val="0"/>
              </a:spcAft>
              <a:buClr>
                <a:schemeClr val="lt1"/>
              </a:buClr>
              <a:buSzPts val="1800"/>
              <a:buNone/>
              <a:defRPr>
                <a:solidFill>
                  <a:schemeClr val="lt1"/>
                </a:solidFill>
              </a:defRPr>
            </a:lvl2pPr>
            <a:lvl3pPr marL="1371600" lvl="2" indent="-330200" algn="l">
              <a:lnSpc>
                <a:spcPct val="90000"/>
              </a:lnSpc>
              <a:spcBef>
                <a:spcPts val="500"/>
              </a:spcBef>
              <a:spcAft>
                <a:spcPts val="0"/>
              </a:spcAft>
              <a:buClr>
                <a:schemeClr val="lt1"/>
              </a:buClr>
              <a:buSzPts val="1600"/>
              <a:buChar char="•"/>
              <a:defRPr>
                <a:solidFill>
                  <a:schemeClr val="lt1"/>
                </a:solidFill>
              </a:defRPr>
            </a:lvl3pPr>
            <a:lvl4pPr marL="1828800" lvl="3" indent="-317500" algn="l">
              <a:lnSpc>
                <a:spcPct val="90000"/>
              </a:lnSpc>
              <a:spcBef>
                <a:spcPts val="500"/>
              </a:spcBef>
              <a:spcAft>
                <a:spcPts val="0"/>
              </a:spcAft>
              <a:buClr>
                <a:schemeClr val="lt1"/>
              </a:buClr>
              <a:buSzPts val="1400"/>
              <a:buChar char="•"/>
              <a:defRPr>
                <a:solidFill>
                  <a:schemeClr val="lt1"/>
                </a:solidFill>
              </a:defRPr>
            </a:lvl4pPr>
            <a:lvl5pPr marL="2286000" lvl="4" indent="-317500" algn="l">
              <a:lnSpc>
                <a:spcPct val="90000"/>
              </a:lnSpc>
              <a:spcBef>
                <a:spcPts val="500"/>
              </a:spcBef>
              <a:spcAft>
                <a:spcPts val="0"/>
              </a:spcAft>
              <a:buClr>
                <a:schemeClr val="lt1"/>
              </a:buClr>
              <a:buSzPts val="1400"/>
              <a:buChar char="•"/>
              <a:defRPr>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9" name="Google Shape;39;p33"/>
          <p:cNvSpPr txBox="1">
            <a:spLocks noGrp="1"/>
          </p:cNvSpPr>
          <p:nvPr>
            <p:ph type="ftr" idx="11"/>
          </p:nvPr>
        </p:nvSpPr>
        <p:spPr>
          <a:xfrm>
            <a:off x="7372695" y="6356350"/>
            <a:ext cx="4114800" cy="365125"/>
          </a:xfrm>
          <a:prstGeom prst="rect">
            <a:avLst/>
          </a:prstGeom>
          <a:noFill/>
          <a:ln>
            <a:noFill/>
          </a:ln>
        </p:spPr>
        <p:txBody>
          <a:bodyPr spcFirstLastPara="1" wrap="square" lIns="91425" tIns="45700" rIns="91425" bIns="45700" anchor="ctr" anchorCtr="0">
            <a:noAutofit/>
          </a:bodyPr>
          <a:lstStyle>
            <a:lvl1pPr lvl="0" algn="r">
              <a:spcBef>
                <a:spcPts val="0"/>
              </a:spcBef>
              <a:spcAft>
                <a:spcPts val="0"/>
              </a:spcAft>
              <a:buSzPts val="1400"/>
              <a:buNone/>
              <a:defRPr sz="1200" b="0" i="0">
                <a:solidFill>
                  <a:srgbClr val="8A8A8A"/>
                </a:solidFill>
                <a:latin typeface="Source Sans Pro"/>
                <a:ea typeface="Source Sans Pro"/>
                <a:cs typeface="Source Sans Pro"/>
                <a:sym typeface="Source Sans Pro"/>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40" name="Google Shape;40;p33"/>
          <p:cNvSpPr txBox="1">
            <a:spLocks noGrp="1"/>
          </p:cNvSpPr>
          <p:nvPr>
            <p:ph type="sldNum" idx="12"/>
          </p:nvPr>
        </p:nvSpPr>
        <p:spPr>
          <a:xfrm>
            <a:off x="11474969" y="6356350"/>
            <a:ext cx="406052"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b="0" i="0" u="none" strike="noStrike" cap="none">
                <a:solidFill>
                  <a:srgbClr val="8A8A8A"/>
                </a:solidFill>
                <a:latin typeface="Source Sans Pro"/>
                <a:ea typeface="Source Sans Pro"/>
                <a:cs typeface="Source Sans Pro"/>
                <a:sym typeface="Source Sans Pro"/>
              </a:defRPr>
            </a:lvl1pPr>
            <a:lvl2pPr marL="0" lvl="1" indent="0" algn="r">
              <a:spcBef>
                <a:spcPts val="0"/>
              </a:spcBef>
              <a:buNone/>
              <a:defRPr sz="1200" b="0" i="0" u="none" strike="noStrike" cap="none">
                <a:solidFill>
                  <a:srgbClr val="8A8A8A"/>
                </a:solidFill>
                <a:latin typeface="Source Sans Pro"/>
                <a:ea typeface="Source Sans Pro"/>
                <a:cs typeface="Source Sans Pro"/>
                <a:sym typeface="Source Sans Pro"/>
              </a:defRPr>
            </a:lvl2pPr>
            <a:lvl3pPr marL="0" lvl="2" indent="0" algn="r">
              <a:spcBef>
                <a:spcPts val="0"/>
              </a:spcBef>
              <a:buNone/>
              <a:defRPr sz="1200" b="0" i="0" u="none" strike="noStrike" cap="none">
                <a:solidFill>
                  <a:srgbClr val="8A8A8A"/>
                </a:solidFill>
                <a:latin typeface="Source Sans Pro"/>
                <a:ea typeface="Source Sans Pro"/>
                <a:cs typeface="Source Sans Pro"/>
                <a:sym typeface="Source Sans Pro"/>
              </a:defRPr>
            </a:lvl3pPr>
            <a:lvl4pPr marL="0" lvl="3" indent="0" algn="r">
              <a:spcBef>
                <a:spcPts val="0"/>
              </a:spcBef>
              <a:buNone/>
              <a:defRPr sz="1200" b="0" i="0" u="none" strike="noStrike" cap="none">
                <a:solidFill>
                  <a:srgbClr val="8A8A8A"/>
                </a:solidFill>
                <a:latin typeface="Source Sans Pro"/>
                <a:ea typeface="Source Sans Pro"/>
                <a:cs typeface="Source Sans Pro"/>
                <a:sym typeface="Source Sans Pro"/>
              </a:defRPr>
            </a:lvl4pPr>
            <a:lvl5pPr marL="0" lvl="4" indent="0" algn="r">
              <a:spcBef>
                <a:spcPts val="0"/>
              </a:spcBef>
              <a:buNone/>
              <a:defRPr sz="1200" b="0" i="0" u="none" strike="noStrike" cap="none">
                <a:solidFill>
                  <a:srgbClr val="8A8A8A"/>
                </a:solidFill>
                <a:latin typeface="Source Sans Pro"/>
                <a:ea typeface="Source Sans Pro"/>
                <a:cs typeface="Source Sans Pro"/>
                <a:sym typeface="Source Sans Pro"/>
              </a:defRPr>
            </a:lvl5pPr>
            <a:lvl6pPr marL="0" lvl="5" indent="0" algn="r">
              <a:spcBef>
                <a:spcPts val="0"/>
              </a:spcBef>
              <a:buNone/>
              <a:defRPr sz="1200" b="0" i="0" u="none" strike="noStrike" cap="none">
                <a:solidFill>
                  <a:srgbClr val="8A8A8A"/>
                </a:solidFill>
                <a:latin typeface="Source Sans Pro"/>
                <a:ea typeface="Source Sans Pro"/>
                <a:cs typeface="Source Sans Pro"/>
                <a:sym typeface="Source Sans Pro"/>
              </a:defRPr>
            </a:lvl6pPr>
            <a:lvl7pPr marL="0" lvl="6" indent="0" algn="r">
              <a:spcBef>
                <a:spcPts val="0"/>
              </a:spcBef>
              <a:buNone/>
              <a:defRPr sz="1200" b="0" i="0" u="none" strike="noStrike" cap="none">
                <a:solidFill>
                  <a:srgbClr val="8A8A8A"/>
                </a:solidFill>
                <a:latin typeface="Source Sans Pro"/>
                <a:ea typeface="Source Sans Pro"/>
                <a:cs typeface="Source Sans Pro"/>
                <a:sym typeface="Source Sans Pro"/>
              </a:defRPr>
            </a:lvl7pPr>
            <a:lvl8pPr marL="0" lvl="7" indent="0" algn="r">
              <a:spcBef>
                <a:spcPts val="0"/>
              </a:spcBef>
              <a:buNone/>
              <a:defRPr sz="1200" b="0" i="0" u="none" strike="noStrike" cap="none">
                <a:solidFill>
                  <a:srgbClr val="8A8A8A"/>
                </a:solidFill>
                <a:latin typeface="Source Sans Pro"/>
                <a:ea typeface="Source Sans Pro"/>
                <a:cs typeface="Source Sans Pro"/>
                <a:sym typeface="Source Sans Pro"/>
              </a:defRPr>
            </a:lvl8pPr>
            <a:lvl9pPr marL="0" lvl="8" indent="0" algn="r">
              <a:spcBef>
                <a:spcPts val="0"/>
              </a:spcBef>
              <a:buNone/>
              <a:defRPr sz="1200" b="0" i="0" u="none" strike="noStrike" cap="none">
                <a:solidFill>
                  <a:srgbClr val="8A8A8A"/>
                </a:solidFill>
                <a:latin typeface="Source Sans Pro"/>
                <a:ea typeface="Source Sans Pro"/>
                <a:cs typeface="Source Sans Pro"/>
                <a:sym typeface="Source Sans Pro"/>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5_Two Content">
  <p:cSld name="5_Two Content">
    <p:spTree>
      <p:nvGrpSpPr>
        <p:cNvPr id="1" name="Shape 41"/>
        <p:cNvGrpSpPr/>
        <p:nvPr/>
      </p:nvGrpSpPr>
      <p:grpSpPr>
        <a:xfrm>
          <a:off x="0" y="0"/>
          <a:ext cx="0" cy="0"/>
          <a:chOff x="0" y="0"/>
          <a:chExt cx="0" cy="0"/>
        </a:xfrm>
      </p:grpSpPr>
      <p:sp>
        <p:nvSpPr>
          <p:cNvPr id="42" name="Google Shape;42;p34"/>
          <p:cNvSpPr txBox="1">
            <a:spLocks noGrp="1"/>
          </p:cNvSpPr>
          <p:nvPr>
            <p:ph type="body" idx="1"/>
          </p:nvPr>
        </p:nvSpPr>
        <p:spPr>
          <a:xfrm>
            <a:off x="320245" y="1721708"/>
            <a:ext cx="6311213" cy="4351338"/>
          </a:xfrm>
          <a:prstGeom prst="rect">
            <a:avLst/>
          </a:prstGeom>
          <a:noFill/>
          <a:ln>
            <a:noFill/>
          </a:ln>
        </p:spPr>
        <p:txBody>
          <a:bodyPr spcFirstLastPara="1" wrap="square" lIns="91425" tIns="45700" rIns="91425" bIns="45700" anchor="t" anchorCtr="0">
            <a:normAutofit/>
          </a:bodyPr>
          <a:lstStyle>
            <a:lvl1pPr marL="457200" lvl="0" indent="-317500" algn="l">
              <a:lnSpc>
                <a:spcPct val="90000"/>
              </a:lnSpc>
              <a:spcBef>
                <a:spcPts val="1000"/>
              </a:spcBef>
              <a:spcAft>
                <a:spcPts val="0"/>
              </a:spcAft>
              <a:buClr>
                <a:schemeClr val="accent2"/>
              </a:buClr>
              <a:buSzPts val="1400"/>
              <a:buFont typeface="Noto Sans Symbols"/>
              <a:buChar char="▪"/>
              <a:defRPr sz="2000"/>
            </a:lvl1pPr>
            <a:lvl2pPr marL="914400" lvl="1" indent="-308610" algn="l">
              <a:lnSpc>
                <a:spcPct val="90000"/>
              </a:lnSpc>
              <a:spcBef>
                <a:spcPts val="500"/>
              </a:spcBef>
              <a:spcAft>
                <a:spcPts val="0"/>
              </a:spcAft>
              <a:buClr>
                <a:schemeClr val="accent2"/>
              </a:buClr>
              <a:buSzPts val="1260"/>
              <a:buFont typeface="Noto Sans Symbols"/>
              <a:buChar char="▪"/>
              <a:defRPr sz="1800"/>
            </a:lvl2pPr>
            <a:lvl3pPr marL="1371600" lvl="2" indent="-299719" algn="l">
              <a:lnSpc>
                <a:spcPct val="90000"/>
              </a:lnSpc>
              <a:spcBef>
                <a:spcPts val="500"/>
              </a:spcBef>
              <a:spcAft>
                <a:spcPts val="0"/>
              </a:spcAft>
              <a:buClr>
                <a:schemeClr val="accent2"/>
              </a:buClr>
              <a:buSzPts val="1120"/>
              <a:buFont typeface="Noto Sans Symbols"/>
              <a:buChar char="▪"/>
              <a:defRPr sz="1600"/>
            </a:lvl3pPr>
            <a:lvl4pPr marL="1828800" lvl="3" indent="-290830" algn="l">
              <a:lnSpc>
                <a:spcPct val="90000"/>
              </a:lnSpc>
              <a:spcBef>
                <a:spcPts val="500"/>
              </a:spcBef>
              <a:spcAft>
                <a:spcPts val="0"/>
              </a:spcAft>
              <a:buClr>
                <a:schemeClr val="accent2"/>
              </a:buClr>
              <a:buSzPts val="980"/>
              <a:buFont typeface="Noto Sans Symbols"/>
              <a:buChar char="▪"/>
              <a:defRPr sz="1400"/>
            </a:lvl4pPr>
            <a:lvl5pPr marL="2286000" lvl="4" indent="-290829" algn="l">
              <a:lnSpc>
                <a:spcPct val="90000"/>
              </a:lnSpc>
              <a:spcBef>
                <a:spcPts val="500"/>
              </a:spcBef>
              <a:spcAft>
                <a:spcPts val="0"/>
              </a:spcAft>
              <a:buClr>
                <a:schemeClr val="accent2"/>
              </a:buClr>
              <a:buSzPts val="980"/>
              <a:buFont typeface="Noto Sans Symbols"/>
              <a:buChar char="▪"/>
              <a:defRPr sz="14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3" name="Google Shape;43;p34"/>
          <p:cNvSpPr txBox="1">
            <a:spLocks noGrp="1"/>
          </p:cNvSpPr>
          <p:nvPr>
            <p:ph type="ftr" idx="11"/>
          </p:nvPr>
        </p:nvSpPr>
        <p:spPr>
          <a:xfrm>
            <a:off x="7372695" y="6356350"/>
            <a:ext cx="4114800" cy="365125"/>
          </a:xfrm>
          <a:prstGeom prst="rect">
            <a:avLst/>
          </a:prstGeom>
          <a:noFill/>
          <a:ln>
            <a:noFill/>
          </a:ln>
        </p:spPr>
        <p:txBody>
          <a:bodyPr spcFirstLastPara="1" wrap="square" lIns="91425" tIns="45700" rIns="91425" bIns="45700" anchor="ctr" anchorCtr="0">
            <a:noAutofit/>
          </a:bodyPr>
          <a:lstStyle>
            <a:lvl1pPr lvl="0" algn="r">
              <a:spcBef>
                <a:spcPts val="0"/>
              </a:spcBef>
              <a:spcAft>
                <a:spcPts val="0"/>
              </a:spcAft>
              <a:buSzPts val="1400"/>
              <a:buNone/>
              <a:defRPr sz="1200" b="0" i="0">
                <a:solidFill>
                  <a:srgbClr val="8A8A8A"/>
                </a:solidFill>
                <a:latin typeface="Source Sans Pro"/>
                <a:ea typeface="Source Sans Pro"/>
                <a:cs typeface="Source Sans Pro"/>
                <a:sym typeface="Source Sans Pro"/>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44" name="Google Shape;44;p34"/>
          <p:cNvSpPr txBox="1">
            <a:spLocks noGrp="1"/>
          </p:cNvSpPr>
          <p:nvPr>
            <p:ph type="sldNum" idx="12"/>
          </p:nvPr>
        </p:nvSpPr>
        <p:spPr>
          <a:xfrm>
            <a:off x="11474969" y="6356350"/>
            <a:ext cx="406052"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b="0" i="0" u="none" strike="noStrike" cap="none">
                <a:solidFill>
                  <a:srgbClr val="8A8A8A"/>
                </a:solidFill>
                <a:latin typeface="Source Sans Pro"/>
                <a:ea typeface="Source Sans Pro"/>
                <a:cs typeface="Source Sans Pro"/>
                <a:sym typeface="Source Sans Pro"/>
              </a:defRPr>
            </a:lvl1pPr>
            <a:lvl2pPr marL="0" lvl="1" indent="0" algn="r">
              <a:spcBef>
                <a:spcPts val="0"/>
              </a:spcBef>
              <a:buNone/>
              <a:defRPr sz="1200" b="0" i="0" u="none" strike="noStrike" cap="none">
                <a:solidFill>
                  <a:srgbClr val="8A8A8A"/>
                </a:solidFill>
                <a:latin typeface="Source Sans Pro"/>
                <a:ea typeface="Source Sans Pro"/>
                <a:cs typeface="Source Sans Pro"/>
                <a:sym typeface="Source Sans Pro"/>
              </a:defRPr>
            </a:lvl2pPr>
            <a:lvl3pPr marL="0" lvl="2" indent="0" algn="r">
              <a:spcBef>
                <a:spcPts val="0"/>
              </a:spcBef>
              <a:buNone/>
              <a:defRPr sz="1200" b="0" i="0" u="none" strike="noStrike" cap="none">
                <a:solidFill>
                  <a:srgbClr val="8A8A8A"/>
                </a:solidFill>
                <a:latin typeface="Source Sans Pro"/>
                <a:ea typeface="Source Sans Pro"/>
                <a:cs typeface="Source Sans Pro"/>
                <a:sym typeface="Source Sans Pro"/>
              </a:defRPr>
            </a:lvl3pPr>
            <a:lvl4pPr marL="0" lvl="3" indent="0" algn="r">
              <a:spcBef>
                <a:spcPts val="0"/>
              </a:spcBef>
              <a:buNone/>
              <a:defRPr sz="1200" b="0" i="0" u="none" strike="noStrike" cap="none">
                <a:solidFill>
                  <a:srgbClr val="8A8A8A"/>
                </a:solidFill>
                <a:latin typeface="Source Sans Pro"/>
                <a:ea typeface="Source Sans Pro"/>
                <a:cs typeface="Source Sans Pro"/>
                <a:sym typeface="Source Sans Pro"/>
              </a:defRPr>
            </a:lvl4pPr>
            <a:lvl5pPr marL="0" lvl="4" indent="0" algn="r">
              <a:spcBef>
                <a:spcPts val="0"/>
              </a:spcBef>
              <a:buNone/>
              <a:defRPr sz="1200" b="0" i="0" u="none" strike="noStrike" cap="none">
                <a:solidFill>
                  <a:srgbClr val="8A8A8A"/>
                </a:solidFill>
                <a:latin typeface="Source Sans Pro"/>
                <a:ea typeface="Source Sans Pro"/>
                <a:cs typeface="Source Sans Pro"/>
                <a:sym typeface="Source Sans Pro"/>
              </a:defRPr>
            </a:lvl5pPr>
            <a:lvl6pPr marL="0" lvl="5" indent="0" algn="r">
              <a:spcBef>
                <a:spcPts val="0"/>
              </a:spcBef>
              <a:buNone/>
              <a:defRPr sz="1200" b="0" i="0" u="none" strike="noStrike" cap="none">
                <a:solidFill>
                  <a:srgbClr val="8A8A8A"/>
                </a:solidFill>
                <a:latin typeface="Source Sans Pro"/>
                <a:ea typeface="Source Sans Pro"/>
                <a:cs typeface="Source Sans Pro"/>
                <a:sym typeface="Source Sans Pro"/>
              </a:defRPr>
            </a:lvl6pPr>
            <a:lvl7pPr marL="0" lvl="6" indent="0" algn="r">
              <a:spcBef>
                <a:spcPts val="0"/>
              </a:spcBef>
              <a:buNone/>
              <a:defRPr sz="1200" b="0" i="0" u="none" strike="noStrike" cap="none">
                <a:solidFill>
                  <a:srgbClr val="8A8A8A"/>
                </a:solidFill>
                <a:latin typeface="Source Sans Pro"/>
                <a:ea typeface="Source Sans Pro"/>
                <a:cs typeface="Source Sans Pro"/>
                <a:sym typeface="Source Sans Pro"/>
              </a:defRPr>
            </a:lvl7pPr>
            <a:lvl8pPr marL="0" lvl="7" indent="0" algn="r">
              <a:spcBef>
                <a:spcPts val="0"/>
              </a:spcBef>
              <a:buNone/>
              <a:defRPr sz="1200" b="0" i="0" u="none" strike="noStrike" cap="none">
                <a:solidFill>
                  <a:srgbClr val="8A8A8A"/>
                </a:solidFill>
                <a:latin typeface="Source Sans Pro"/>
                <a:ea typeface="Source Sans Pro"/>
                <a:cs typeface="Source Sans Pro"/>
                <a:sym typeface="Source Sans Pro"/>
              </a:defRPr>
            </a:lvl8pPr>
            <a:lvl9pPr marL="0" lvl="8" indent="0" algn="r">
              <a:spcBef>
                <a:spcPts val="0"/>
              </a:spcBef>
              <a:buNone/>
              <a:defRPr sz="1200" b="0" i="0" u="none" strike="noStrike" cap="none">
                <a:solidFill>
                  <a:srgbClr val="8A8A8A"/>
                </a:solidFill>
                <a:latin typeface="Source Sans Pro"/>
                <a:ea typeface="Source Sans Pro"/>
                <a:cs typeface="Source Sans Pro"/>
                <a:sym typeface="Source Sans Pro"/>
              </a:defRPr>
            </a:lvl9pPr>
          </a:lstStyle>
          <a:p>
            <a:pPr marL="0" lvl="0" indent="0" algn="r" rtl="0">
              <a:spcBef>
                <a:spcPts val="0"/>
              </a:spcBef>
              <a:spcAft>
                <a:spcPts val="0"/>
              </a:spcAft>
              <a:buNone/>
            </a:pPr>
            <a:fld id="{00000000-1234-1234-1234-123412341234}" type="slidenum">
              <a:rPr lang="en-US"/>
              <a:t>‹#›</a:t>
            </a:fld>
            <a:endParaRPr/>
          </a:p>
        </p:txBody>
      </p:sp>
      <p:sp>
        <p:nvSpPr>
          <p:cNvPr id="45" name="Google Shape;45;p34"/>
          <p:cNvSpPr>
            <a:spLocks noGrp="1"/>
          </p:cNvSpPr>
          <p:nvPr>
            <p:ph type="pic" idx="2"/>
          </p:nvPr>
        </p:nvSpPr>
        <p:spPr>
          <a:xfrm>
            <a:off x="7372696" y="0"/>
            <a:ext cx="4819304" cy="6858000"/>
          </a:xfrm>
          <a:prstGeom prst="rect">
            <a:avLst/>
          </a:prstGeom>
          <a:noFill/>
          <a:ln>
            <a:noFill/>
          </a:ln>
        </p:spPr>
      </p:sp>
      <p:sp>
        <p:nvSpPr>
          <p:cNvPr id="46" name="Google Shape;46;p34"/>
          <p:cNvSpPr txBox="1">
            <a:spLocks noGrp="1"/>
          </p:cNvSpPr>
          <p:nvPr>
            <p:ph type="title"/>
          </p:nvPr>
        </p:nvSpPr>
        <p:spPr>
          <a:xfrm>
            <a:off x="312812" y="831349"/>
            <a:ext cx="11353800" cy="746983"/>
          </a:xfrm>
          <a:prstGeom prst="rect">
            <a:avLst/>
          </a:prstGeom>
          <a:noFill/>
          <a:ln>
            <a:noFill/>
          </a:ln>
        </p:spPr>
        <p:txBody>
          <a:bodyPr spcFirstLastPara="1" wrap="square" lIns="91425" tIns="45700" rIns="91425" bIns="45700" anchor="t" anchorCtr="0">
            <a:normAutofit/>
          </a:bodyPr>
          <a:lstStyle>
            <a:lvl1pPr lvl="0" algn="l">
              <a:lnSpc>
                <a:spcPct val="90000"/>
              </a:lnSpc>
              <a:spcBef>
                <a:spcPts val="0"/>
              </a:spcBef>
              <a:spcAft>
                <a:spcPts val="0"/>
              </a:spcAft>
              <a:buClr>
                <a:schemeClr val="dk1"/>
              </a:buClr>
              <a:buSzPts val="3600"/>
              <a:buFont typeface="PT Serif"/>
              <a:buNone/>
              <a:defRPr>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7" name="Google Shape;47;p34"/>
          <p:cNvSpPr txBox="1">
            <a:spLocks noGrp="1"/>
          </p:cNvSpPr>
          <p:nvPr>
            <p:ph type="body" idx="3"/>
          </p:nvPr>
        </p:nvSpPr>
        <p:spPr>
          <a:xfrm>
            <a:off x="327680" y="486053"/>
            <a:ext cx="4246607" cy="366651"/>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dk1"/>
              </a:buClr>
              <a:buSzPts val="1400"/>
              <a:buNone/>
              <a:defRPr sz="1400" b="0" i="0">
                <a:solidFill>
                  <a:schemeClr val="dk1"/>
                </a:solidFill>
                <a:latin typeface="Source Sans Pro"/>
                <a:ea typeface="Source Sans Pro"/>
                <a:cs typeface="Source Sans Pro"/>
                <a:sym typeface="Source Sans Pro"/>
              </a:defRPr>
            </a:lvl1pPr>
            <a:lvl2pPr marL="914400" lvl="1" indent="-228600" algn="l">
              <a:lnSpc>
                <a:spcPct val="90000"/>
              </a:lnSpc>
              <a:spcBef>
                <a:spcPts val="500"/>
              </a:spcBef>
              <a:spcAft>
                <a:spcPts val="0"/>
              </a:spcAft>
              <a:buClr>
                <a:schemeClr val="lt1"/>
              </a:buClr>
              <a:buSzPts val="1800"/>
              <a:buNone/>
              <a:defRPr>
                <a:solidFill>
                  <a:schemeClr val="lt1"/>
                </a:solidFill>
              </a:defRPr>
            </a:lvl2pPr>
            <a:lvl3pPr marL="1371600" lvl="2" indent="-330200" algn="l">
              <a:lnSpc>
                <a:spcPct val="90000"/>
              </a:lnSpc>
              <a:spcBef>
                <a:spcPts val="500"/>
              </a:spcBef>
              <a:spcAft>
                <a:spcPts val="0"/>
              </a:spcAft>
              <a:buClr>
                <a:schemeClr val="lt1"/>
              </a:buClr>
              <a:buSzPts val="1600"/>
              <a:buChar char="•"/>
              <a:defRPr>
                <a:solidFill>
                  <a:schemeClr val="lt1"/>
                </a:solidFill>
              </a:defRPr>
            </a:lvl3pPr>
            <a:lvl4pPr marL="1828800" lvl="3" indent="-317500" algn="l">
              <a:lnSpc>
                <a:spcPct val="90000"/>
              </a:lnSpc>
              <a:spcBef>
                <a:spcPts val="500"/>
              </a:spcBef>
              <a:spcAft>
                <a:spcPts val="0"/>
              </a:spcAft>
              <a:buClr>
                <a:schemeClr val="lt1"/>
              </a:buClr>
              <a:buSzPts val="1400"/>
              <a:buChar char="•"/>
              <a:defRPr>
                <a:solidFill>
                  <a:schemeClr val="lt1"/>
                </a:solidFill>
              </a:defRPr>
            </a:lvl4pPr>
            <a:lvl5pPr marL="2286000" lvl="4" indent="-317500" algn="l">
              <a:lnSpc>
                <a:spcPct val="90000"/>
              </a:lnSpc>
              <a:spcBef>
                <a:spcPts val="500"/>
              </a:spcBef>
              <a:spcAft>
                <a:spcPts val="0"/>
              </a:spcAft>
              <a:buClr>
                <a:schemeClr val="lt1"/>
              </a:buClr>
              <a:buSzPts val="1400"/>
              <a:buChar char="•"/>
              <a:defRPr>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1_Title and Content" type="obj">
  <p:cSld name="OBJECT">
    <p:spTree>
      <p:nvGrpSpPr>
        <p:cNvPr id="1" name="Shape 48"/>
        <p:cNvGrpSpPr/>
        <p:nvPr/>
      </p:nvGrpSpPr>
      <p:grpSpPr>
        <a:xfrm>
          <a:off x="0" y="0"/>
          <a:ext cx="0" cy="0"/>
          <a:chOff x="0" y="0"/>
          <a:chExt cx="0" cy="0"/>
        </a:xfrm>
      </p:grpSpPr>
      <p:sp>
        <p:nvSpPr>
          <p:cNvPr id="49" name="Google Shape;49;p35"/>
          <p:cNvSpPr txBox="1">
            <a:spLocks noGrp="1"/>
          </p:cNvSpPr>
          <p:nvPr>
            <p:ph type="title"/>
          </p:nvPr>
        </p:nvSpPr>
        <p:spPr>
          <a:xfrm>
            <a:off x="312812" y="373491"/>
            <a:ext cx="11353800" cy="746983"/>
          </a:xfrm>
          <a:prstGeom prst="rect">
            <a:avLst/>
          </a:prstGeom>
          <a:noFill/>
          <a:ln>
            <a:noFill/>
          </a:ln>
        </p:spPr>
        <p:txBody>
          <a:bodyPr spcFirstLastPara="1" wrap="square" lIns="91425" tIns="45700" rIns="91425" bIns="45700" anchor="t" anchorCtr="0">
            <a:normAutofit/>
          </a:bodyPr>
          <a:lstStyle>
            <a:lvl1pPr lvl="0" algn="l">
              <a:lnSpc>
                <a:spcPct val="90000"/>
              </a:lnSpc>
              <a:spcBef>
                <a:spcPts val="0"/>
              </a:spcBef>
              <a:spcAft>
                <a:spcPts val="0"/>
              </a:spcAft>
              <a:buClr>
                <a:schemeClr val="dk1"/>
              </a:buClr>
              <a:buSzPts val="3600"/>
              <a:buFont typeface="PT Serif"/>
              <a:buNone/>
              <a:defRPr>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0" name="Google Shape;50;p35"/>
          <p:cNvSpPr txBox="1">
            <a:spLocks noGrp="1"/>
          </p:cNvSpPr>
          <p:nvPr>
            <p:ph type="body" idx="1"/>
          </p:nvPr>
        </p:nvSpPr>
        <p:spPr>
          <a:xfrm>
            <a:off x="320246" y="1253331"/>
            <a:ext cx="11353800" cy="4351338"/>
          </a:xfrm>
          <a:prstGeom prst="rect">
            <a:avLst/>
          </a:prstGeom>
          <a:noFill/>
          <a:ln>
            <a:noFill/>
          </a:ln>
        </p:spPr>
        <p:txBody>
          <a:bodyPr spcFirstLastPara="1" wrap="square" lIns="91425" tIns="45700" rIns="91425" bIns="45700" anchor="t" anchorCtr="0">
            <a:normAutofit/>
          </a:bodyPr>
          <a:lstStyle>
            <a:lvl1pPr marL="457200" lvl="0" indent="-317500" algn="l">
              <a:lnSpc>
                <a:spcPct val="90000"/>
              </a:lnSpc>
              <a:spcBef>
                <a:spcPts val="1000"/>
              </a:spcBef>
              <a:spcAft>
                <a:spcPts val="0"/>
              </a:spcAft>
              <a:buClr>
                <a:schemeClr val="accent2"/>
              </a:buClr>
              <a:buSzPts val="1400"/>
              <a:buFont typeface="Noto Sans Symbols"/>
              <a:buChar char="▪"/>
              <a:defRPr/>
            </a:lvl1pPr>
            <a:lvl2pPr marL="914400" lvl="1" indent="-308610" algn="l">
              <a:lnSpc>
                <a:spcPct val="90000"/>
              </a:lnSpc>
              <a:spcBef>
                <a:spcPts val="500"/>
              </a:spcBef>
              <a:spcAft>
                <a:spcPts val="0"/>
              </a:spcAft>
              <a:buClr>
                <a:schemeClr val="accent2"/>
              </a:buClr>
              <a:buSzPts val="1260"/>
              <a:buFont typeface="Noto Sans Symbols"/>
              <a:buChar char="▪"/>
              <a:defRPr/>
            </a:lvl2pPr>
            <a:lvl3pPr marL="1371600" lvl="2" indent="-299719" algn="l">
              <a:lnSpc>
                <a:spcPct val="90000"/>
              </a:lnSpc>
              <a:spcBef>
                <a:spcPts val="500"/>
              </a:spcBef>
              <a:spcAft>
                <a:spcPts val="0"/>
              </a:spcAft>
              <a:buClr>
                <a:schemeClr val="accent2"/>
              </a:buClr>
              <a:buSzPts val="1120"/>
              <a:buFont typeface="Noto Sans Symbols"/>
              <a:buChar char="▪"/>
              <a:defRPr/>
            </a:lvl3pPr>
            <a:lvl4pPr marL="1828800" lvl="3" indent="-290830" algn="l">
              <a:lnSpc>
                <a:spcPct val="90000"/>
              </a:lnSpc>
              <a:spcBef>
                <a:spcPts val="500"/>
              </a:spcBef>
              <a:spcAft>
                <a:spcPts val="0"/>
              </a:spcAft>
              <a:buClr>
                <a:schemeClr val="accent2"/>
              </a:buClr>
              <a:buSzPts val="980"/>
              <a:buFont typeface="Noto Sans Symbols"/>
              <a:buChar char="▪"/>
              <a:defRPr/>
            </a:lvl4pPr>
            <a:lvl5pPr marL="2286000" lvl="4" indent="-290829" algn="l">
              <a:lnSpc>
                <a:spcPct val="90000"/>
              </a:lnSpc>
              <a:spcBef>
                <a:spcPts val="500"/>
              </a:spcBef>
              <a:spcAft>
                <a:spcPts val="0"/>
              </a:spcAft>
              <a:buClr>
                <a:schemeClr val="accent2"/>
              </a:buClr>
              <a:buSzPts val="980"/>
              <a:buFont typeface="Noto Sans Symbols"/>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1" name="Google Shape;51;p35"/>
          <p:cNvSpPr txBox="1">
            <a:spLocks noGrp="1"/>
          </p:cNvSpPr>
          <p:nvPr>
            <p:ph type="ftr" idx="11"/>
          </p:nvPr>
        </p:nvSpPr>
        <p:spPr>
          <a:xfrm>
            <a:off x="7372695" y="6356350"/>
            <a:ext cx="4114800" cy="365125"/>
          </a:xfrm>
          <a:prstGeom prst="rect">
            <a:avLst/>
          </a:prstGeom>
          <a:noFill/>
          <a:ln>
            <a:noFill/>
          </a:ln>
        </p:spPr>
        <p:txBody>
          <a:bodyPr spcFirstLastPara="1" wrap="square" lIns="91425" tIns="45700" rIns="91425" bIns="45700" anchor="ctr" anchorCtr="0">
            <a:noAutofit/>
          </a:bodyPr>
          <a:lstStyle>
            <a:lvl1pPr lvl="0" algn="r">
              <a:spcBef>
                <a:spcPts val="0"/>
              </a:spcBef>
              <a:spcAft>
                <a:spcPts val="0"/>
              </a:spcAft>
              <a:buSzPts val="1400"/>
              <a:buNone/>
              <a:defRPr sz="1200" b="0" i="0">
                <a:solidFill>
                  <a:srgbClr val="8A8A8A"/>
                </a:solidFill>
                <a:latin typeface="Source Sans Pro"/>
                <a:ea typeface="Source Sans Pro"/>
                <a:cs typeface="Source Sans Pro"/>
                <a:sym typeface="Source Sans Pro"/>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52" name="Google Shape;52;p35"/>
          <p:cNvSpPr txBox="1">
            <a:spLocks noGrp="1"/>
          </p:cNvSpPr>
          <p:nvPr>
            <p:ph type="sldNum" idx="12"/>
          </p:nvPr>
        </p:nvSpPr>
        <p:spPr>
          <a:xfrm>
            <a:off x="11474969" y="6356350"/>
            <a:ext cx="406052"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b="0" i="0" u="none" strike="noStrike" cap="none">
                <a:solidFill>
                  <a:srgbClr val="8A8A8A"/>
                </a:solidFill>
                <a:latin typeface="Source Sans Pro"/>
                <a:ea typeface="Source Sans Pro"/>
                <a:cs typeface="Source Sans Pro"/>
                <a:sym typeface="Source Sans Pro"/>
              </a:defRPr>
            </a:lvl1pPr>
            <a:lvl2pPr marL="0" lvl="1" indent="0" algn="r">
              <a:spcBef>
                <a:spcPts val="0"/>
              </a:spcBef>
              <a:buNone/>
              <a:defRPr sz="1200" b="0" i="0" u="none" strike="noStrike" cap="none">
                <a:solidFill>
                  <a:srgbClr val="8A8A8A"/>
                </a:solidFill>
                <a:latin typeface="Source Sans Pro"/>
                <a:ea typeface="Source Sans Pro"/>
                <a:cs typeface="Source Sans Pro"/>
                <a:sym typeface="Source Sans Pro"/>
              </a:defRPr>
            </a:lvl2pPr>
            <a:lvl3pPr marL="0" lvl="2" indent="0" algn="r">
              <a:spcBef>
                <a:spcPts val="0"/>
              </a:spcBef>
              <a:buNone/>
              <a:defRPr sz="1200" b="0" i="0" u="none" strike="noStrike" cap="none">
                <a:solidFill>
                  <a:srgbClr val="8A8A8A"/>
                </a:solidFill>
                <a:latin typeface="Source Sans Pro"/>
                <a:ea typeface="Source Sans Pro"/>
                <a:cs typeface="Source Sans Pro"/>
                <a:sym typeface="Source Sans Pro"/>
              </a:defRPr>
            </a:lvl3pPr>
            <a:lvl4pPr marL="0" lvl="3" indent="0" algn="r">
              <a:spcBef>
                <a:spcPts val="0"/>
              </a:spcBef>
              <a:buNone/>
              <a:defRPr sz="1200" b="0" i="0" u="none" strike="noStrike" cap="none">
                <a:solidFill>
                  <a:srgbClr val="8A8A8A"/>
                </a:solidFill>
                <a:latin typeface="Source Sans Pro"/>
                <a:ea typeface="Source Sans Pro"/>
                <a:cs typeface="Source Sans Pro"/>
                <a:sym typeface="Source Sans Pro"/>
              </a:defRPr>
            </a:lvl4pPr>
            <a:lvl5pPr marL="0" lvl="4" indent="0" algn="r">
              <a:spcBef>
                <a:spcPts val="0"/>
              </a:spcBef>
              <a:buNone/>
              <a:defRPr sz="1200" b="0" i="0" u="none" strike="noStrike" cap="none">
                <a:solidFill>
                  <a:srgbClr val="8A8A8A"/>
                </a:solidFill>
                <a:latin typeface="Source Sans Pro"/>
                <a:ea typeface="Source Sans Pro"/>
                <a:cs typeface="Source Sans Pro"/>
                <a:sym typeface="Source Sans Pro"/>
              </a:defRPr>
            </a:lvl5pPr>
            <a:lvl6pPr marL="0" lvl="5" indent="0" algn="r">
              <a:spcBef>
                <a:spcPts val="0"/>
              </a:spcBef>
              <a:buNone/>
              <a:defRPr sz="1200" b="0" i="0" u="none" strike="noStrike" cap="none">
                <a:solidFill>
                  <a:srgbClr val="8A8A8A"/>
                </a:solidFill>
                <a:latin typeface="Source Sans Pro"/>
                <a:ea typeface="Source Sans Pro"/>
                <a:cs typeface="Source Sans Pro"/>
                <a:sym typeface="Source Sans Pro"/>
              </a:defRPr>
            </a:lvl6pPr>
            <a:lvl7pPr marL="0" lvl="6" indent="0" algn="r">
              <a:spcBef>
                <a:spcPts val="0"/>
              </a:spcBef>
              <a:buNone/>
              <a:defRPr sz="1200" b="0" i="0" u="none" strike="noStrike" cap="none">
                <a:solidFill>
                  <a:srgbClr val="8A8A8A"/>
                </a:solidFill>
                <a:latin typeface="Source Sans Pro"/>
                <a:ea typeface="Source Sans Pro"/>
                <a:cs typeface="Source Sans Pro"/>
                <a:sym typeface="Source Sans Pro"/>
              </a:defRPr>
            </a:lvl7pPr>
            <a:lvl8pPr marL="0" lvl="7" indent="0" algn="r">
              <a:spcBef>
                <a:spcPts val="0"/>
              </a:spcBef>
              <a:buNone/>
              <a:defRPr sz="1200" b="0" i="0" u="none" strike="noStrike" cap="none">
                <a:solidFill>
                  <a:srgbClr val="8A8A8A"/>
                </a:solidFill>
                <a:latin typeface="Source Sans Pro"/>
                <a:ea typeface="Source Sans Pro"/>
                <a:cs typeface="Source Sans Pro"/>
                <a:sym typeface="Source Sans Pro"/>
              </a:defRPr>
            </a:lvl8pPr>
            <a:lvl9pPr marL="0" lvl="8" indent="0" algn="r">
              <a:spcBef>
                <a:spcPts val="0"/>
              </a:spcBef>
              <a:buNone/>
              <a:defRPr sz="1200" b="0" i="0" u="none" strike="noStrike" cap="none">
                <a:solidFill>
                  <a:srgbClr val="8A8A8A"/>
                </a:solidFill>
                <a:latin typeface="Source Sans Pro"/>
                <a:ea typeface="Source Sans Pro"/>
                <a:cs typeface="Source Sans Pro"/>
                <a:sym typeface="Source Sans Pro"/>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8_Title Slide">
  <p:cSld name="8_Title Slide">
    <p:bg>
      <p:bgPr>
        <a:solidFill>
          <a:srgbClr val="BFE4FF"/>
        </a:solidFill>
        <a:effectLst/>
      </p:bgPr>
    </p:bg>
    <p:spTree>
      <p:nvGrpSpPr>
        <p:cNvPr id="1" name="Shape 53"/>
        <p:cNvGrpSpPr/>
        <p:nvPr/>
      </p:nvGrpSpPr>
      <p:grpSpPr>
        <a:xfrm>
          <a:off x="0" y="0"/>
          <a:ext cx="0" cy="0"/>
          <a:chOff x="0" y="0"/>
          <a:chExt cx="0" cy="0"/>
        </a:xfrm>
      </p:grpSpPr>
      <p:sp>
        <p:nvSpPr>
          <p:cNvPr id="54" name="Google Shape;54;p36"/>
          <p:cNvSpPr txBox="1">
            <a:spLocks noGrp="1"/>
          </p:cNvSpPr>
          <p:nvPr>
            <p:ph type="ctrTitle"/>
          </p:nvPr>
        </p:nvSpPr>
        <p:spPr>
          <a:xfrm>
            <a:off x="341868" y="2612711"/>
            <a:ext cx="7261656" cy="1632577"/>
          </a:xfrm>
          <a:prstGeom prst="rect">
            <a:avLst/>
          </a:prstGeom>
          <a:noFill/>
          <a:ln>
            <a:noFill/>
          </a:ln>
        </p:spPr>
        <p:txBody>
          <a:bodyPr spcFirstLastPara="1" wrap="square" lIns="91425" tIns="45700" rIns="91425" bIns="45700" anchor="t" anchorCtr="0">
            <a:noAutofit/>
          </a:bodyPr>
          <a:lstStyle>
            <a:lvl1pPr lvl="0" algn="l">
              <a:lnSpc>
                <a:spcPct val="90000"/>
              </a:lnSpc>
              <a:spcBef>
                <a:spcPts val="0"/>
              </a:spcBef>
              <a:spcAft>
                <a:spcPts val="0"/>
              </a:spcAft>
              <a:buClr>
                <a:schemeClr val="dk2"/>
              </a:buClr>
              <a:buSzPts val="6600"/>
              <a:buFont typeface="PT Serif"/>
              <a:buNone/>
              <a:defRPr sz="6600">
                <a:solidFill>
                  <a:schemeClr val="dk2"/>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5" name="Google Shape;55;p36"/>
          <p:cNvSpPr txBox="1">
            <a:spLocks noGrp="1"/>
          </p:cNvSpPr>
          <p:nvPr>
            <p:ph type="body" idx="1"/>
          </p:nvPr>
        </p:nvSpPr>
        <p:spPr>
          <a:xfrm>
            <a:off x="341868" y="2198312"/>
            <a:ext cx="4246607" cy="366651"/>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dk2"/>
              </a:buClr>
              <a:buSzPts val="1600"/>
              <a:buNone/>
              <a:defRPr sz="1600" b="0" i="0">
                <a:solidFill>
                  <a:schemeClr val="dk2"/>
                </a:solidFill>
                <a:latin typeface="Source Sans Pro"/>
                <a:ea typeface="Source Sans Pro"/>
                <a:cs typeface="Source Sans Pro"/>
                <a:sym typeface="Source Sans Pro"/>
              </a:defRPr>
            </a:lvl1pPr>
            <a:lvl2pPr marL="914400" lvl="1" indent="-228600" algn="l">
              <a:lnSpc>
                <a:spcPct val="90000"/>
              </a:lnSpc>
              <a:spcBef>
                <a:spcPts val="500"/>
              </a:spcBef>
              <a:spcAft>
                <a:spcPts val="0"/>
              </a:spcAft>
              <a:buClr>
                <a:schemeClr val="lt1"/>
              </a:buClr>
              <a:buSzPts val="1800"/>
              <a:buNone/>
              <a:defRPr>
                <a:solidFill>
                  <a:schemeClr val="lt1"/>
                </a:solidFill>
              </a:defRPr>
            </a:lvl2pPr>
            <a:lvl3pPr marL="1371600" lvl="2" indent="-330200" algn="l">
              <a:lnSpc>
                <a:spcPct val="90000"/>
              </a:lnSpc>
              <a:spcBef>
                <a:spcPts val="500"/>
              </a:spcBef>
              <a:spcAft>
                <a:spcPts val="0"/>
              </a:spcAft>
              <a:buClr>
                <a:schemeClr val="lt1"/>
              </a:buClr>
              <a:buSzPts val="1600"/>
              <a:buChar char="•"/>
              <a:defRPr>
                <a:solidFill>
                  <a:schemeClr val="lt1"/>
                </a:solidFill>
              </a:defRPr>
            </a:lvl3pPr>
            <a:lvl4pPr marL="1828800" lvl="3" indent="-317500" algn="l">
              <a:lnSpc>
                <a:spcPct val="90000"/>
              </a:lnSpc>
              <a:spcBef>
                <a:spcPts val="500"/>
              </a:spcBef>
              <a:spcAft>
                <a:spcPts val="0"/>
              </a:spcAft>
              <a:buClr>
                <a:schemeClr val="lt1"/>
              </a:buClr>
              <a:buSzPts val="1400"/>
              <a:buChar char="•"/>
              <a:defRPr>
                <a:solidFill>
                  <a:schemeClr val="lt1"/>
                </a:solidFill>
              </a:defRPr>
            </a:lvl4pPr>
            <a:lvl5pPr marL="2286000" lvl="4" indent="-317500" algn="l">
              <a:lnSpc>
                <a:spcPct val="90000"/>
              </a:lnSpc>
              <a:spcBef>
                <a:spcPts val="500"/>
              </a:spcBef>
              <a:spcAft>
                <a:spcPts val="0"/>
              </a:spcAft>
              <a:buClr>
                <a:schemeClr val="lt1"/>
              </a:buClr>
              <a:buSzPts val="1400"/>
              <a:buChar char="•"/>
              <a:defRPr>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6" name="Google Shape;56;p36"/>
          <p:cNvSpPr txBox="1">
            <a:spLocks noGrp="1"/>
          </p:cNvSpPr>
          <p:nvPr>
            <p:ph type="ftr" idx="11"/>
          </p:nvPr>
        </p:nvSpPr>
        <p:spPr>
          <a:xfrm>
            <a:off x="7372695" y="6356350"/>
            <a:ext cx="4114800" cy="365125"/>
          </a:xfrm>
          <a:prstGeom prst="rect">
            <a:avLst/>
          </a:prstGeom>
          <a:noFill/>
          <a:ln>
            <a:noFill/>
          </a:ln>
        </p:spPr>
        <p:txBody>
          <a:bodyPr spcFirstLastPara="1" wrap="square" lIns="91425" tIns="45700" rIns="91425" bIns="45700" anchor="ctr" anchorCtr="0">
            <a:noAutofit/>
          </a:bodyPr>
          <a:lstStyle>
            <a:lvl1pPr lvl="0" algn="r">
              <a:spcBef>
                <a:spcPts val="0"/>
              </a:spcBef>
              <a:spcAft>
                <a:spcPts val="0"/>
              </a:spcAft>
              <a:buSzPts val="1400"/>
              <a:buNone/>
              <a:defRPr sz="1200" b="0" i="0">
                <a:solidFill>
                  <a:srgbClr val="8A8A8A"/>
                </a:solidFill>
                <a:latin typeface="Source Sans Pro"/>
                <a:ea typeface="Source Sans Pro"/>
                <a:cs typeface="Source Sans Pro"/>
                <a:sym typeface="Source Sans Pro"/>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57" name="Google Shape;57;p36"/>
          <p:cNvSpPr txBox="1">
            <a:spLocks noGrp="1"/>
          </p:cNvSpPr>
          <p:nvPr>
            <p:ph type="sldNum" idx="12"/>
          </p:nvPr>
        </p:nvSpPr>
        <p:spPr>
          <a:xfrm>
            <a:off x="11474969" y="6356350"/>
            <a:ext cx="406052"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b="0" i="0">
                <a:solidFill>
                  <a:srgbClr val="8A8A8A"/>
                </a:solidFill>
                <a:latin typeface="Source Sans Pro"/>
                <a:ea typeface="Source Sans Pro"/>
                <a:cs typeface="Source Sans Pro"/>
                <a:sym typeface="Source Sans Pro"/>
              </a:defRPr>
            </a:lvl1pPr>
            <a:lvl2pPr marL="0" lvl="1" indent="0" algn="r">
              <a:spcBef>
                <a:spcPts val="0"/>
              </a:spcBef>
              <a:buNone/>
              <a:defRPr sz="1200" b="0" i="0">
                <a:solidFill>
                  <a:srgbClr val="8A8A8A"/>
                </a:solidFill>
                <a:latin typeface="Source Sans Pro"/>
                <a:ea typeface="Source Sans Pro"/>
                <a:cs typeface="Source Sans Pro"/>
                <a:sym typeface="Source Sans Pro"/>
              </a:defRPr>
            </a:lvl2pPr>
            <a:lvl3pPr marL="0" lvl="2" indent="0" algn="r">
              <a:spcBef>
                <a:spcPts val="0"/>
              </a:spcBef>
              <a:buNone/>
              <a:defRPr sz="1200" b="0" i="0">
                <a:solidFill>
                  <a:srgbClr val="8A8A8A"/>
                </a:solidFill>
                <a:latin typeface="Source Sans Pro"/>
                <a:ea typeface="Source Sans Pro"/>
                <a:cs typeface="Source Sans Pro"/>
                <a:sym typeface="Source Sans Pro"/>
              </a:defRPr>
            </a:lvl3pPr>
            <a:lvl4pPr marL="0" lvl="3" indent="0" algn="r">
              <a:spcBef>
                <a:spcPts val="0"/>
              </a:spcBef>
              <a:buNone/>
              <a:defRPr sz="1200" b="0" i="0">
                <a:solidFill>
                  <a:srgbClr val="8A8A8A"/>
                </a:solidFill>
                <a:latin typeface="Source Sans Pro"/>
                <a:ea typeface="Source Sans Pro"/>
                <a:cs typeface="Source Sans Pro"/>
                <a:sym typeface="Source Sans Pro"/>
              </a:defRPr>
            </a:lvl4pPr>
            <a:lvl5pPr marL="0" lvl="4" indent="0" algn="r">
              <a:spcBef>
                <a:spcPts val="0"/>
              </a:spcBef>
              <a:buNone/>
              <a:defRPr sz="1200" b="0" i="0">
                <a:solidFill>
                  <a:srgbClr val="8A8A8A"/>
                </a:solidFill>
                <a:latin typeface="Source Sans Pro"/>
                <a:ea typeface="Source Sans Pro"/>
                <a:cs typeface="Source Sans Pro"/>
                <a:sym typeface="Source Sans Pro"/>
              </a:defRPr>
            </a:lvl5pPr>
            <a:lvl6pPr marL="0" lvl="5" indent="0" algn="r">
              <a:spcBef>
                <a:spcPts val="0"/>
              </a:spcBef>
              <a:buNone/>
              <a:defRPr sz="1200" b="0" i="0">
                <a:solidFill>
                  <a:srgbClr val="8A8A8A"/>
                </a:solidFill>
                <a:latin typeface="Source Sans Pro"/>
                <a:ea typeface="Source Sans Pro"/>
                <a:cs typeface="Source Sans Pro"/>
                <a:sym typeface="Source Sans Pro"/>
              </a:defRPr>
            </a:lvl6pPr>
            <a:lvl7pPr marL="0" lvl="6" indent="0" algn="r">
              <a:spcBef>
                <a:spcPts val="0"/>
              </a:spcBef>
              <a:buNone/>
              <a:defRPr sz="1200" b="0" i="0">
                <a:solidFill>
                  <a:srgbClr val="8A8A8A"/>
                </a:solidFill>
                <a:latin typeface="Source Sans Pro"/>
                <a:ea typeface="Source Sans Pro"/>
                <a:cs typeface="Source Sans Pro"/>
                <a:sym typeface="Source Sans Pro"/>
              </a:defRPr>
            </a:lvl7pPr>
            <a:lvl8pPr marL="0" lvl="7" indent="0" algn="r">
              <a:spcBef>
                <a:spcPts val="0"/>
              </a:spcBef>
              <a:buNone/>
              <a:defRPr sz="1200" b="0" i="0">
                <a:solidFill>
                  <a:srgbClr val="8A8A8A"/>
                </a:solidFill>
                <a:latin typeface="Source Sans Pro"/>
                <a:ea typeface="Source Sans Pro"/>
                <a:cs typeface="Source Sans Pro"/>
                <a:sym typeface="Source Sans Pro"/>
              </a:defRPr>
            </a:lvl8pPr>
            <a:lvl9pPr marL="0" lvl="8" indent="0" algn="r">
              <a:spcBef>
                <a:spcPts val="0"/>
              </a:spcBef>
              <a:buNone/>
              <a:defRPr sz="1200" b="0" i="0">
                <a:solidFill>
                  <a:srgbClr val="8A8A8A"/>
                </a:solidFill>
                <a:latin typeface="Source Sans Pro"/>
                <a:ea typeface="Source Sans Pro"/>
                <a:cs typeface="Source Sans Pro"/>
                <a:sym typeface="Source Sans Pro"/>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Custom Layout">
  <p:cSld name="Custom Layout">
    <p:spTree>
      <p:nvGrpSpPr>
        <p:cNvPr id="1" name="Shape 58"/>
        <p:cNvGrpSpPr/>
        <p:nvPr/>
      </p:nvGrpSpPr>
      <p:grpSpPr>
        <a:xfrm>
          <a:off x="0" y="0"/>
          <a:ext cx="0" cy="0"/>
          <a:chOff x="0" y="0"/>
          <a:chExt cx="0" cy="0"/>
        </a:xfrm>
      </p:grpSpPr>
      <p:sp>
        <p:nvSpPr>
          <p:cNvPr id="59" name="Google Shape;59;p37"/>
          <p:cNvSpPr txBox="1">
            <a:spLocks noGrp="1"/>
          </p:cNvSpPr>
          <p:nvPr>
            <p:ph type="title"/>
          </p:nvPr>
        </p:nvSpPr>
        <p:spPr>
          <a:xfrm>
            <a:off x="312812" y="831349"/>
            <a:ext cx="11353800" cy="746983"/>
          </a:xfrm>
          <a:prstGeom prst="rect">
            <a:avLst/>
          </a:prstGeom>
          <a:noFill/>
          <a:ln>
            <a:noFill/>
          </a:ln>
        </p:spPr>
        <p:txBody>
          <a:bodyPr spcFirstLastPara="1" wrap="square" lIns="91425" tIns="45700" rIns="91425" bIns="45700" anchor="t" anchorCtr="0">
            <a:normAutofit/>
          </a:bodyPr>
          <a:lstStyle>
            <a:lvl1pPr lvl="0" algn="l">
              <a:lnSpc>
                <a:spcPct val="90000"/>
              </a:lnSpc>
              <a:spcBef>
                <a:spcPts val="0"/>
              </a:spcBef>
              <a:spcAft>
                <a:spcPts val="0"/>
              </a:spcAft>
              <a:buClr>
                <a:schemeClr val="dk1"/>
              </a:buClr>
              <a:buSzPts val="3600"/>
              <a:buFont typeface="PT Serif"/>
              <a:buNone/>
              <a:defRPr>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0" name="Google Shape;60;p37"/>
          <p:cNvSpPr txBox="1">
            <a:spLocks noGrp="1"/>
          </p:cNvSpPr>
          <p:nvPr>
            <p:ph type="body" idx="1"/>
          </p:nvPr>
        </p:nvSpPr>
        <p:spPr>
          <a:xfrm>
            <a:off x="327000" y="1697046"/>
            <a:ext cx="11353800" cy="4351338"/>
          </a:xfrm>
          <a:prstGeom prst="rect">
            <a:avLst/>
          </a:prstGeom>
          <a:noFill/>
          <a:ln>
            <a:noFill/>
          </a:ln>
        </p:spPr>
        <p:txBody>
          <a:bodyPr spcFirstLastPara="1" wrap="square" lIns="91425" tIns="45700" rIns="91425" bIns="45700" anchor="t" anchorCtr="0">
            <a:normAutofit/>
          </a:bodyPr>
          <a:lstStyle>
            <a:lvl1pPr marL="457200" lvl="0" indent="-317500" algn="l">
              <a:lnSpc>
                <a:spcPct val="90000"/>
              </a:lnSpc>
              <a:spcBef>
                <a:spcPts val="1000"/>
              </a:spcBef>
              <a:spcAft>
                <a:spcPts val="0"/>
              </a:spcAft>
              <a:buClr>
                <a:schemeClr val="accent2"/>
              </a:buClr>
              <a:buSzPts val="1400"/>
              <a:buFont typeface="Noto Sans Symbols"/>
              <a:buChar char="▪"/>
              <a:defRPr/>
            </a:lvl1pPr>
            <a:lvl2pPr marL="914400" lvl="1" indent="-308610" algn="l">
              <a:lnSpc>
                <a:spcPct val="90000"/>
              </a:lnSpc>
              <a:spcBef>
                <a:spcPts val="500"/>
              </a:spcBef>
              <a:spcAft>
                <a:spcPts val="0"/>
              </a:spcAft>
              <a:buClr>
                <a:schemeClr val="accent2"/>
              </a:buClr>
              <a:buSzPts val="1260"/>
              <a:buFont typeface="Noto Sans Symbols"/>
              <a:buChar char="▪"/>
              <a:defRPr/>
            </a:lvl2pPr>
            <a:lvl3pPr marL="1371600" lvl="2" indent="-299719" algn="l">
              <a:lnSpc>
                <a:spcPct val="90000"/>
              </a:lnSpc>
              <a:spcBef>
                <a:spcPts val="500"/>
              </a:spcBef>
              <a:spcAft>
                <a:spcPts val="0"/>
              </a:spcAft>
              <a:buClr>
                <a:schemeClr val="accent2"/>
              </a:buClr>
              <a:buSzPts val="1120"/>
              <a:buFont typeface="Noto Sans Symbols"/>
              <a:buChar char="▪"/>
              <a:defRPr/>
            </a:lvl3pPr>
            <a:lvl4pPr marL="1828800" lvl="3" indent="-290830" algn="l">
              <a:lnSpc>
                <a:spcPct val="90000"/>
              </a:lnSpc>
              <a:spcBef>
                <a:spcPts val="500"/>
              </a:spcBef>
              <a:spcAft>
                <a:spcPts val="0"/>
              </a:spcAft>
              <a:buClr>
                <a:schemeClr val="accent2"/>
              </a:buClr>
              <a:buSzPts val="980"/>
              <a:buFont typeface="Noto Sans Symbols"/>
              <a:buChar char="▪"/>
              <a:defRPr/>
            </a:lvl4pPr>
            <a:lvl5pPr marL="2286000" lvl="4" indent="-290829" algn="l">
              <a:lnSpc>
                <a:spcPct val="90000"/>
              </a:lnSpc>
              <a:spcBef>
                <a:spcPts val="500"/>
              </a:spcBef>
              <a:spcAft>
                <a:spcPts val="0"/>
              </a:spcAft>
              <a:buClr>
                <a:schemeClr val="accent2"/>
              </a:buClr>
              <a:buSzPts val="980"/>
              <a:buFont typeface="Noto Sans Symbols"/>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1" name="Google Shape;61;p37"/>
          <p:cNvSpPr txBox="1">
            <a:spLocks noGrp="1"/>
          </p:cNvSpPr>
          <p:nvPr>
            <p:ph type="dt" idx="10"/>
          </p:nvPr>
        </p:nvSpPr>
        <p:spPr>
          <a:xfrm>
            <a:off x="325244" y="63563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62" name="Google Shape;62;p37"/>
          <p:cNvSpPr txBox="1">
            <a:spLocks noGrp="1"/>
          </p:cNvSpPr>
          <p:nvPr>
            <p:ph type="ftr" idx="11"/>
          </p:nvPr>
        </p:nvSpPr>
        <p:spPr>
          <a:xfrm>
            <a:off x="7380732" y="6356350"/>
            <a:ext cx="4114800" cy="365125"/>
          </a:xfrm>
          <a:prstGeom prst="rect">
            <a:avLst/>
          </a:prstGeom>
          <a:noFill/>
          <a:ln>
            <a:noFill/>
          </a:ln>
        </p:spPr>
        <p:txBody>
          <a:bodyPr spcFirstLastPara="1" wrap="square" lIns="91425" tIns="45700" rIns="91425" bIns="45700" anchor="ctr" anchorCtr="0">
            <a:noAutofit/>
          </a:bodyPr>
          <a:lstStyle>
            <a:lvl1pPr lvl="0" algn="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63" name="Google Shape;63;p37"/>
          <p:cNvSpPr txBox="1">
            <a:spLocks noGrp="1"/>
          </p:cNvSpPr>
          <p:nvPr>
            <p:ph type="sldNum" idx="12"/>
          </p:nvPr>
        </p:nvSpPr>
        <p:spPr>
          <a:xfrm>
            <a:off x="11483006" y="6356350"/>
            <a:ext cx="406052"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64" name="Google Shape;64;p37"/>
          <p:cNvSpPr txBox="1">
            <a:spLocks noGrp="1"/>
          </p:cNvSpPr>
          <p:nvPr>
            <p:ph type="body" idx="2"/>
          </p:nvPr>
        </p:nvSpPr>
        <p:spPr>
          <a:xfrm>
            <a:off x="327680" y="486053"/>
            <a:ext cx="4246607" cy="366651"/>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dk1"/>
              </a:buClr>
              <a:buSzPts val="1400"/>
              <a:buNone/>
              <a:defRPr sz="1400" b="0" i="0">
                <a:solidFill>
                  <a:schemeClr val="dk1"/>
                </a:solidFill>
                <a:latin typeface="Source Sans Pro"/>
                <a:ea typeface="Source Sans Pro"/>
                <a:cs typeface="Source Sans Pro"/>
                <a:sym typeface="Source Sans Pro"/>
              </a:defRPr>
            </a:lvl1pPr>
            <a:lvl2pPr marL="914400" lvl="1" indent="-228600" algn="l">
              <a:lnSpc>
                <a:spcPct val="90000"/>
              </a:lnSpc>
              <a:spcBef>
                <a:spcPts val="500"/>
              </a:spcBef>
              <a:spcAft>
                <a:spcPts val="0"/>
              </a:spcAft>
              <a:buClr>
                <a:schemeClr val="lt1"/>
              </a:buClr>
              <a:buSzPts val="1800"/>
              <a:buNone/>
              <a:defRPr>
                <a:solidFill>
                  <a:schemeClr val="lt1"/>
                </a:solidFill>
              </a:defRPr>
            </a:lvl2pPr>
            <a:lvl3pPr marL="1371600" lvl="2" indent="-330200" algn="l">
              <a:lnSpc>
                <a:spcPct val="90000"/>
              </a:lnSpc>
              <a:spcBef>
                <a:spcPts val="500"/>
              </a:spcBef>
              <a:spcAft>
                <a:spcPts val="0"/>
              </a:spcAft>
              <a:buClr>
                <a:schemeClr val="lt1"/>
              </a:buClr>
              <a:buSzPts val="1600"/>
              <a:buChar char="•"/>
              <a:defRPr>
                <a:solidFill>
                  <a:schemeClr val="lt1"/>
                </a:solidFill>
              </a:defRPr>
            </a:lvl3pPr>
            <a:lvl4pPr marL="1828800" lvl="3" indent="-317500" algn="l">
              <a:lnSpc>
                <a:spcPct val="90000"/>
              </a:lnSpc>
              <a:spcBef>
                <a:spcPts val="500"/>
              </a:spcBef>
              <a:spcAft>
                <a:spcPts val="0"/>
              </a:spcAft>
              <a:buClr>
                <a:schemeClr val="lt1"/>
              </a:buClr>
              <a:buSzPts val="1400"/>
              <a:buChar char="•"/>
              <a:defRPr>
                <a:solidFill>
                  <a:schemeClr val="lt1"/>
                </a:solidFill>
              </a:defRPr>
            </a:lvl4pPr>
            <a:lvl5pPr marL="2286000" lvl="4" indent="-317500" algn="l">
              <a:lnSpc>
                <a:spcPct val="90000"/>
              </a:lnSpc>
              <a:spcBef>
                <a:spcPts val="500"/>
              </a:spcBef>
              <a:spcAft>
                <a:spcPts val="0"/>
              </a:spcAft>
              <a:buClr>
                <a:schemeClr val="lt1"/>
              </a:buClr>
              <a:buSzPts val="1400"/>
              <a:buChar char="•"/>
              <a:defRPr>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6_Title Slide">
  <p:cSld name="6_Title Slide">
    <p:bg>
      <p:bgPr>
        <a:solidFill>
          <a:schemeClr val="accent1"/>
        </a:solidFill>
        <a:effectLst/>
      </p:bgPr>
    </p:bg>
    <p:spTree>
      <p:nvGrpSpPr>
        <p:cNvPr id="1" name="Shape 65"/>
        <p:cNvGrpSpPr/>
        <p:nvPr/>
      </p:nvGrpSpPr>
      <p:grpSpPr>
        <a:xfrm>
          <a:off x="0" y="0"/>
          <a:ext cx="0" cy="0"/>
          <a:chOff x="0" y="0"/>
          <a:chExt cx="0" cy="0"/>
        </a:xfrm>
      </p:grpSpPr>
      <p:sp>
        <p:nvSpPr>
          <p:cNvPr id="66" name="Google Shape;66;p38"/>
          <p:cNvSpPr/>
          <p:nvPr/>
        </p:nvSpPr>
        <p:spPr>
          <a:xfrm rot="10800000" flipH="1">
            <a:off x="0" y="5735636"/>
            <a:ext cx="12192000" cy="1122363"/>
          </a:xfrm>
          <a:prstGeom prst="rect">
            <a:avLst/>
          </a:prstGeom>
          <a:solidFill>
            <a:srgbClr val="FFFFFF"/>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7" name="Google Shape;67;p38"/>
          <p:cNvSpPr txBox="1">
            <a:spLocks noGrp="1"/>
          </p:cNvSpPr>
          <p:nvPr>
            <p:ph type="ctrTitle"/>
          </p:nvPr>
        </p:nvSpPr>
        <p:spPr>
          <a:xfrm>
            <a:off x="325391" y="1908431"/>
            <a:ext cx="7830960" cy="1813217"/>
          </a:xfrm>
          <a:prstGeom prst="rect">
            <a:avLst/>
          </a:prstGeom>
          <a:noFill/>
          <a:ln>
            <a:noFill/>
          </a:ln>
        </p:spPr>
        <p:txBody>
          <a:bodyPr spcFirstLastPara="1" wrap="square" lIns="91425" tIns="45700" rIns="91425" bIns="45700" anchor="t" anchorCtr="0">
            <a:normAutofit/>
          </a:bodyPr>
          <a:lstStyle>
            <a:lvl1pPr lvl="0" algn="l">
              <a:lnSpc>
                <a:spcPct val="90000"/>
              </a:lnSpc>
              <a:spcBef>
                <a:spcPts val="0"/>
              </a:spcBef>
              <a:spcAft>
                <a:spcPts val="0"/>
              </a:spcAft>
              <a:buClr>
                <a:schemeClr val="lt1"/>
              </a:buClr>
              <a:buSzPts val="6000"/>
              <a:buFont typeface="PT Serif"/>
              <a:buNone/>
              <a:defRPr sz="6000">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68" name="Google Shape;68;p38"/>
          <p:cNvPicPr preferRelativeResize="0"/>
          <p:nvPr/>
        </p:nvPicPr>
        <p:blipFill rotWithShape="1">
          <a:blip r:embed="rId2">
            <a:alphaModFix/>
          </a:blip>
          <a:srcRect/>
          <a:stretch/>
        </p:blipFill>
        <p:spPr>
          <a:xfrm>
            <a:off x="432486" y="6122767"/>
            <a:ext cx="1873603" cy="415350"/>
          </a:xfrm>
          <a:prstGeom prst="rect">
            <a:avLst/>
          </a:prstGeom>
          <a:noFill/>
          <a:ln>
            <a:noFill/>
          </a:ln>
        </p:spPr>
      </p:pic>
      <p:pic>
        <p:nvPicPr>
          <p:cNvPr id="69" name="Google Shape;69;p38"/>
          <p:cNvPicPr preferRelativeResize="0"/>
          <p:nvPr/>
        </p:nvPicPr>
        <p:blipFill rotWithShape="1">
          <a:blip r:embed="rId3">
            <a:alphaModFix/>
          </a:blip>
          <a:srcRect/>
          <a:stretch/>
        </p:blipFill>
        <p:spPr>
          <a:xfrm>
            <a:off x="10520173" y="6114529"/>
            <a:ext cx="1400131" cy="420040"/>
          </a:xfrm>
          <a:prstGeom prst="rect">
            <a:avLst/>
          </a:prstGeom>
          <a:noFill/>
          <a:ln>
            <a:noFill/>
          </a:ln>
        </p:spPr>
      </p:pic>
      <p:sp>
        <p:nvSpPr>
          <p:cNvPr id="70" name="Google Shape;70;p38"/>
          <p:cNvSpPr txBox="1">
            <a:spLocks noGrp="1"/>
          </p:cNvSpPr>
          <p:nvPr>
            <p:ph type="body" idx="1"/>
          </p:nvPr>
        </p:nvSpPr>
        <p:spPr>
          <a:xfrm>
            <a:off x="341868" y="1493948"/>
            <a:ext cx="7814483" cy="366651"/>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lt1"/>
              </a:buClr>
              <a:buSzPts val="1600"/>
              <a:buNone/>
              <a:defRPr sz="1600" b="0" i="0">
                <a:solidFill>
                  <a:schemeClr val="lt1"/>
                </a:solidFill>
                <a:latin typeface="Source Sans Pro"/>
                <a:ea typeface="Source Sans Pro"/>
                <a:cs typeface="Source Sans Pro"/>
                <a:sym typeface="Source Sans Pro"/>
              </a:defRPr>
            </a:lvl1pPr>
            <a:lvl2pPr marL="914400" lvl="1" indent="-228600" algn="l">
              <a:lnSpc>
                <a:spcPct val="90000"/>
              </a:lnSpc>
              <a:spcBef>
                <a:spcPts val="500"/>
              </a:spcBef>
              <a:spcAft>
                <a:spcPts val="0"/>
              </a:spcAft>
              <a:buClr>
                <a:schemeClr val="lt1"/>
              </a:buClr>
              <a:buSzPts val="1800"/>
              <a:buNone/>
              <a:defRPr>
                <a:solidFill>
                  <a:schemeClr val="lt1"/>
                </a:solidFill>
              </a:defRPr>
            </a:lvl2pPr>
            <a:lvl3pPr marL="1371600" lvl="2" indent="-330200" algn="l">
              <a:lnSpc>
                <a:spcPct val="90000"/>
              </a:lnSpc>
              <a:spcBef>
                <a:spcPts val="500"/>
              </a:spcBef>
              <a:spcAft>
                <a:spcPts val="0"/>
              </a:spcAft>
              <a:buClr>
                <a:schemeClr val="lt1"/>
              </a:buClr>
              <a:buSzPts val="1600"/>
              <a:buChar char="•"/>
              <a:defRPr>
                <a:solidFill>
                  <a:schemeClr val="lt1"/>
                </a:solidFill>
              </a:defRPr>
            </a:lvl3pPr>
            <a:lvl4pPr marL="1828800" lvl="3" indent="-317500" algn="l">
              <a:lnSpc>
                <a:spcPct val="90000"/>
              </a:lnSpc>
              <a:spcBef>
                <a:spcPts val="500"/>
              </a:spcBef>
              <a:spcAft>
                <a:spcPts val="0"/>
              </a:spcAft>
              <a:buClr>
                <a:schemeClr val="lt1"/>
              </a:buClr>
              <a:buSzPts val="1400"/>
              <a:buChar char="•"/>
              <a:defRPr>
                <a:solidFill>
                  <a:schemeClr val="lt1"/>
                </a:solidFill>
              </a:defRPr>
            </a:lvl4pPr>
            <a:lvl5pPr marL="2286000" lvl="4" indent="-317500" algn="l">
              <a:lnSpc>
                <a:spcPct val="90000"/>
              </a:lnSpc>
              <a:spcBef>
                <a:spcPts val="500"/>
              </a:spcBef>
              <a:spcAft>
                <a:spcPts val="0"/>
              </a:spcAft>
              <a:buClr>
                <a:schemeClr val="lt1"/>
              </a:buClr>
              <a:buSzPts val="1400"/>
              <a:buChar char="•"/>
              <a:defRPr>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1" name="Google Shape;71;p38"/>
          <p:cNvSpPr txBox="1">
            <a:spLocks noGrp="1"/>
          </p:cNvSpPr>
          <p:nvPr>
            <p:ph type="subTitle" idx="2"/>
          </p:nvPr>
        </p:nvSpPr>
        <p:spPr>
          <a:xfrm>
            <a:off x="341868" y="3993405"/>
            <a:ext cx="5208032" cy="365125"/>
          </a:xfrm>
          <a:prstGeom prst="rect">
            <a:avLst/>
          </a:prstGeom>
          <a:noFill/>
          <a:ln>
            <a:noFill/>
          </a:ln>
        </p:spPr>
        <p:txBody>
          <a:bodyPr spcFirstLastPara="1" wrap="square" lIns="91425" tIns="45700" rIns="91425" bIns="45700" anchor="t" anchorCtr="0">
            <a:normAutofit/>
          </a:bodyPr>
          <a:lstStyle>
            <a:lvl1pPr lvl="0" algn="l">
              <a:lnSpc>
                <a:spcPct val="90000"/>
              </a:lnSpc>
              <a:spcBef>
                <a:spcPts val="1000"/>
              </a:spcBef>
              <a:spcAft>
                <a:spcPts val="0"/>
              </a:spcAft>
              <a:buClr>
                <a:schemeClr val="lt1"/>
              </a:buClr>
              <a:buSzPts val="2000"/>
              <a:buNone/>
              <a:defRPr sz="2000">
                <a:solidFill>
                  <a:schemeClr val="lt1"/>
                </a:solidFill>
              </a:defRPr>
            </a:lvl1pPr>
            <a:lvl2pPr lvl="1" algn="ctr">
              <a:lnSpc>
                <a:spcPct val="90000"/>
              </a:lnSpc>
              <a:spcBef>
                <a:spcPts val="500"/>
              </a:spcBef>
              <a:spcAft>
                <a:spcPts val="0"/>
              </a:spcAft>
              <a:buClr>
                <a:schemeClr val="dk2"/>
              </a:buClr>
              <a:buSzPts val="2000"/>
              <a:buNone/>
              <a:defRPr sz="2000"/>
            </a:lvl2pPr>
            <a:lvl3pPr lvl="2" algn="ctr">
              <a:lnSpc>
                <a:spcPct val="90000"/>
              </a:lnSpc>
              <a:spcBef>
                <a:spcPts val="500"/>
              </a:spcBef>
              <a:spcAft>
                <a:spcPts val="0"/>
              </a:spcAft>
              <a:buClr>
                <a:schemeClr val="dk2"/>
              </a:buClr>
              <a:buSzPts val="1800"/>
              <a:buNone/>
              <a:defRPr sz="1800"/>
            </a:lvl3pPr>
            <a:lvl4pPr lvl="3" algn="ctr">
              <a:lnSpc>
                <a:spcPct val="90000"/>
              </a:lnSpc>
              <a:spcBef>
                <a:spcPts val="500"/>
              </a:spcBef>
              <a:spcAft>
                <a:spcPts val="0"/>
              </a:spcAft>
              <a:buClr>
                <a:schemeClr val="dk2"/>
              </a:buClr>
              <a:buSzPts val="1600"/>
              <a:buNone/>
              <a:defRPr sz="1600"/>
            </a:lvl4pPr>
            <a:lvl5pPr lvl="4" algn="ctr">
              <a:lnSpc>
                <a:spcPct val="90000"/>
              </a:lnSpc>
              <a:spcBef>
                <a:spcPts val="500"/>
              </a:spcBef>
              <a:spcAft>
                <a:spcPts val="0"/>
              </a:spcAft>
              <a:buClr>
                <a:schemeClr val="dk2"/>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72" name="Google Shape;72;p38"/>
          <p:cNvSpPr txBox="1">
            <a:spLocks noGrp="1"/>
          </p:cNvSpPr>
          <p:nvPr>
            <p:ph type="dt" idx="10"/>
          </p:nvPr>
        </p:nvSpPr>
        <p:spPr>
          <a:xfrm>
            <a:off x="341868" y="4368504"/>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solidFill>
                  <a:srgbClr val="D7D9D7"/>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vmlDrawing" Target="../drawings/vmlDrawing1.v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A09A772-12FD-42B7-B78A-0555D5231886}"/>
              </a:ext>
            </a:extLst>
          </p:cNvPr>
          <p:cNvGraphicFramePr>
            <a:graphicFrameLocks noChangeAspect="1"/>
          </p:cNvGraphicFramePr>
          <p:nvPr userDrawn="1">
            <p:custDataLst>
              <p:tags r:id="rId27"/>
            </p:custDataLst>
            <p:extLst>
              <p:ext uri="{D42A27DB-BD31-4B8C-83A1-F6EECF244321}">
                <p14:modId xmlns:p14="http://schemas.microsoft.com/office/powerpoint/2010/main" val="35225149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5" name="think-cell Slide" r:id="rId28" imgW="395" imgH="396" progId="TCLayout.ActiveDocument.1">
                  <p:embed/>
                </p:oleObj>
              </mc:Choice>
              <mc:Fallback>
                <p:oleObj name="think-cell Slide" r:id="rId28" imgW="395" imgH="396" progId="TCLayout.ActiveDocument.1">
                  <p:embed/>
                  <p:pic>
                    <p:nvPicPr>
                      <p:cNvPr id="2" name="Object 1" hidden="1">
                        <a:extLst>
                          <a:ext uri="{FF2B5EF4-FFF2-40B4-BE49-F238E27FC236}">
                            <a16:creationId xmlns:a16="http://schemas.microsoft.com/office/drawing/2014/main" id="{2A09A772-12FD-42B7-B78A-0555D5231886}"/>
                          </a:ext>
                        </a:extLst>
                      </p:cNvPr>
                      <p:cNvPicPr/>
                      <p:nvPr/>
                    </p:nvPicPr>
                    <p:blipFill>
                      <a:blip r:embed="rId29"/>
                      <a:stretch>
                        <a:fillRect/>
                      </a:stretch>
                    </p:blipFill>
                    <p:spPr>
                      <a:xfrm>
                        <a:off x="1588" y="1588"/>
                        <a:ext cx="1588" cy="1588"/>
                      </a:xfrm>
                      <a:prstGeom prst="rect">
                        <a:avLst/>
                      </a:prstGeom>
                    </p:spPr>
                  </p:pic>
                </p:oleObj>
              </mc:Fallback>
            </mc:AlternateContent>
          </a:graphicData>
        </a:graphic>
      </p:graphicFrame>
      <p:sp>
        <p:nvSpPr>
          <p:cNvPr id="10" name="Google Shape;10;p29"/>
          <p:cNvSpPr txBox="1">
            <a:spLocks noGrp="1"/>
          </p:cNvSpPr>
          <p:nvPr>
            <p:ph type="title"/>
          </p:nvPr>
        </p:nvSpPr>
        <p:spPr>
          <a:xfrm>
            <a:off x="310376" y="365125"/>
            <a:ext cx="10515600" cy="1325563"/>
          </a:xfrm>
          <a:prstGeom prst="rect">
            <a:avLst/>
          </a:prstGeom>
          <a:noFill/>
          <a:ln>
            <a:noFill/>
          </a:ln>
        </p:spPr>
        <p:txBody>
          <a:bodyPr spcFirstLastPara="1" wrap="square" lIns="91425" tIns="45700" rIns="91425" bIns="45700" anchor="t" anchorCtr="0">
            <a:normAutofit/>
          </a:bodyPr>
          <a:lstStyle>
            <a:lvl1pPr marR="0" lvl="0" algn="l" rtl="0">
              <a:lnSpc>
                <a:spcPct val="90000"/>
              </a:lnSpc>
              <a:spcBef>
                <a:spcPts val="0"/>
              </a:spcBef>
              <a:spcAft>
                <a:spcPts val="0"/>
              </a:spcAft>
              <a:buClr>
                <a:schemeClr val="dk1"/>
              </a:buClr>
              <a:buSzPts val="3600"/>
              <a:buFont typeface="PT Serif"/>
              <a:buNone/>
              <a:defRPr sz="3600" b="0" i="0" u="none" strike="noStrike" cap="none">
                <a:solidFill>
                  <a:schemeClr val="dk1"/>
                </a:solidFill>
                <a:latin typeface="PT Serif"/>
                <a:ea typeface="PT Serif"/>
                <a:cs typeface="PT Serif"/>
                <a:sym typeface="PT Serif"/>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11" name="Google Shape;11;p29"/>
          <p:cNvSpPr txBox="1">
            <a:spLocks noGrp="1"/>
          </p:cNvSpPr>
          <p:nvPr>
            <p:ph type="body" idx="1"/>
          </p:nvPr>
        </p:nvSpPr>
        <p:spPr>
          <a:xfrm>
            <a:off x="310376" y="1825625"/>
            <a:ext cx="11462524" cy="4351338"/>
          </a:xfrm>
          <a:prstGeom prst="rect">
            <a:avLst/>
          </a:prstGeom>
          <a:noFill/>
          <a:ln>
            <a:noFill/>
          </a:ln>
        </p:spPr>
        <p:txBody>
          <a:bodyPr spcFirstLastPara="1" wrap="square" lIns="91425" tIns="45700" rIns="91425" bIns="45700" anchor="t" anchorCtr="0">
            <a:normAutofit/>
          </a:bodyPr>
          <a:lstStyle>
            <a:lvl1pPr marL="457200" marR="0" lvl="0" indent="-355600" algn="l" rtl="0">
              <a:lnSpc>
                <a:spcPct val="90000"/>
              </a:lnSpc>
              <a:spcBef>
                <a:spcPts val="1000"/>
              </a:spcBef>
              <a:spcAft>
                <a:spcPts val="0"/>
              </a:spcAft>
              <a:buClr>
                <a:schemeClr val="dk2"/>
              </a:buClr>
              <a:buSzPts val="2000"/>
              <a:buFont typeface="Arial"/>
              <a:buChar char="•"/>
              <a:defRPr sz="2000" b="0" i="0" u="none" strike="noStrike" cap="none">
                <a:solidFill>
                  <a:schemeClr val="dk2"/>
                </a:solidFill>
                <a:latin typeface="PT Serif"/>
                <a:ea typeface="PT Serif"/>
                <a:cs typeface="PT Serif"/>
                <a:sym typeface="PT Serif"/>
              </a:defRPr>
            </a:lvl1pPr>
            <a:lvl2pPr marL="914400" marR="0" lvl="1" indent="-342900" algn="l" rtl="0">
              <a:lnSpc>
                <a:spcPct val="90000"/>
              </a:lnSpc>
              <a:spcBef>
                <a:spcPts val="500"/>
              </a:spcBef>
              <a:spcAft>
                <a:spcPts val="0"/>
              </a:spcAft>
              <a:buClr>
                <a:schemeClr val="dk2"/>
              </a:buClr>
              <a:buSzPts val="1800"/>
              <a:buFont typeface="Arial"/>
              <a:buChar char="•"/>
              <a:defRPr sz="1800" b="0" i="0" u="none" strike="noStrike" cap="none">
                <a:solidFill>
                  <a:schemeClr val="dk2"/>
                </a:solidFill>
                <a:latin typeface="PT Serif"/>
                <a:ea typeface="PT Serif"/>
                <a:cs typeface="PT Serif"/>
                <a:sym typeface="PT Serif"/>
              </a:defRPr>
            </a:lvl2pPr>
            <a:lvl3pPr marL="1371600" marR="0" lvl="2" indent="-330200" algn="l" rtl="0">
              <a:lnSpc>
                <a:spcPct val="90000"/>
              </a:lnSpc>
              <a:spcBef>
                <a:spcPts val="500"/>
              </a:spcBef>
              <a:spcAft>
                <a:spcPts val="0"/>
              </a:spcAft>
              <a:buClr>
                <a:schemeClr val="dk2"/>
              </a:buClr>
              <a:buSzPts val="1600"/>
              <a:buFont typeface="Arial"/>
              <a:buChar char="•"/>
              <a:defRPr sz="1600" b="0" i="0" u="none" strike="noStrike" cap="none">
                <a:solidFill>
                  <a:schemeClr val="dk2"/>
                </a:solidFill>
                <a:latin typeface="PT Serif"/>
                <a:ea typeface="PT Serif"/>
                <a:cs typeface="PT Serif"/>
                <a:sym typeface="PT Serif"/>
              </a:defRPr>
            </a:lvl3pPr>
            <a:lvl4pPr marL="1828800" marR="0" lvl="3" indent="-317500" algn="l" rtl="0">
              <a:lnSpc>
                <a:spcPct val="90000"/>
              </a:lnSpc>
              <a:spcBef>
                <a:spcPts val="500"/>
              </a:spcBef>
              <a:spcAft>
                <a:spcPts val="0"/>
              </a:spcAft>
              <a:buClr>
                <a:schemeClr val="dk2"/>
              </a:buClr>
              <a:buSzPts val="1400"/>
              <a:buFont typeface="Arial"/>
              <a:buChar char="•"/>
              <a:defRPr sz="1400" b="0" i="0" u="none" strike="noStrike" cap="none">
                <a:solidFill>
                  <a:schemeClr val="dk2"/>
                </a:solidFill>
                <a:latin typeface="PT Serif"/>
                <a:ea typeface="PT Serif"/>
                <a:cs typeface="PT Serif"/>
                <a:sym typeface="PT Serif"/>
              </a:defRPr>
            </a:lvl4pPr>
            <a:lvl5pPr marL="2286000" marR="0" lvl="4" indent="-317500" algn="l" rtl="0">
              <a:lnSpc>
                <a:spcPct val="90000"/>
              </a:lnSpc>
              <a:spcBef>
                <a:spcPts val="500"/>
              </a:spcBef>
              <a:spcAft>
                <a:spcPts val="0"/>
              </a:spcAft>
              <a:buClr>
                <a:schemeClr val="dk2"/>
              </a:buClr>
              <a:buSzPts val="1400"/>
              <a:buFont typeface="Arial"/>
              <a:buChar char="•"/>
              <a:defRPr sz="1400" b="0" i="0" u="none" strike="noStrike" cap="none">
                <a:solidFill>
                  <a:schemeClr val="dk2"/>
                </a:solidFill>
                <a:latin typeface="PT Serif"/>
                <a:ea typeface="PT Serif"/>
                <a:cs typeface="PT Serif"/>
                <a:sym typeface="PT Serif"/>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12" name="Google Shape;12;p29"/>
          <p:cNvSpPr txBox="1">
            <a:spLocks noGrp="1"/>
          </p:cNvSpPr>
          <p:nvPr>
            <p:ph type="dt" idx="10"/>
          </p:nvPr>
        </p:nvSpPr>
        <p:spPr>
          <a:xfrm>
            <a:off x="325244" y="6356350"/>
            <a:ext cx="2743200" cy="365125"/>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200" b="0" i="0" u="none" strike="noStrike" cap="none">
                <a:solidFill>
                  <a:srgbClr val="8A8A8A"/>
                </a:solidFill>
                <a:latin typeface="Source Sans Pro"/>
                <a:ea typeface="Source Sans Pro"/>
                <a:cs typeface="Source Sans Pro"/>
                <a:sym typeface="Source Sans Pro"/>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3" name="Google Shape;13;p29"/>
          <p:cNvSpPr txBox="1">
            <a:spLocks noGrp="1"/>
          </p:cNvSpPr>
          <p:nvPr>
            <p:ph type="ftr" idx="11"/>
          </p:nvPr>
        </p:nvSpPr>
        <p:spPr>
          <a:xfrm>
            <a:off x="7380732" y="6356350"/>
            <a:ext cx="4114800" cy="365125"/>
          </a:xfrm>
          <a:prstGeom prst="rect">
            <a:avLst/>
          </a:prstGeom>
          <a:noFill/>
          <a:ln>
            <a:noFill/>
          </a:ln>
        </p:spPr>
        <p:txBody>
          <a:bodyPr spcFirstLastPara="1" wrap="square" lIns="91425" tIns="45700" rIns="91425" bIns="45700" anchor="ctr" anchorCtr="0">
            <a:noAutofit/>
          </a:bodyPr>
          <a:lstStyle>
            <a:lvl1pPr marR="0" lvl="0" algn="r" rtl="0">
              <a:spcBef>
                <a:spcPts val="0"/>
              </a:spcBef>
              <a:spcAft>
                <a:spcPts val="0"/>
              </a:spcAft>
              <a:buSzPts val="1400"/>
              <a:buNone/>
              <a:defRPr sz="1200" b="0" i="0" u="none" strike="noStrike" cap="none">
                <a:solidFill>
                  <a:srgbClr val="8A8A8A"/>
                </a:solidFill>
                <a:latin typeface="Source Sans Pro"/>
                <a:ea typeface="Source Sans Pro"/>
                <a:cs typeface="Source Sans Pro"/>
                <a:sym typeface="Source Sans Pro"/>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4" name="Google Shape;14;p29"/>
          <p:cNvSpPr txBox="1">
            <a:spLocks noGrp="1"/>
          </p:cNvSpPr>
          <p:nvPr>
            <p:ph type="sldNum" idx="12"/>
          </p:nvPr>
        </p:nvSpPr>
        <p:spPr>
          <a:xfrm>
            <a:off x="11483006" y="6356350"/>
            <a:ext cx="406052" cy="365125"/>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200" b="0" i="0" u="none" strike="noStrike" cap="none">
                <a:solidFill>
                  <a:srgbClr val="8A8A8A"/>
                </a:solidFill>
                <a:latin typeface="Source Sans Pro"/>
                <a:ea typeface="Source Sans Pro"/>
                <a:cs typeface="Source Sans Pro"/>
                <a:sym typeface="Source Sans Pro"/>
              </a:defRPr>
            </a:lvl1pPr>
            <a:lvl2pPr marL="0" marR="0" lvl="1" indent="0" algn="r" rtl="0">
              <a:spcBef>
                <a:spcPts val="0"/>
              </a:spcBef>
              <a:buNone/>
              <a:defRPr sz="1200" b="0" i="0" u="none" strike="noStrike" cap="none">
                <a:solidFill>
                  <a:srgbClr val="8A8A8A"/>
                </a:solidFill>
                <a:latin typeface="Source Sans Pro"/>
                <a:ea typeface="Source Sans Pro"/>
                <a:cs typeface="Source Sans Pro"/>
                <a:sym typeface="Source Sans Pro"/>
              </a:defRPr>
            </a:lvl2pPr>
            <a:lvl3pPr marL="0" marR="0" lvl="2" indent="0" algn="r" rtl="0">
              <a:spcBef>
                <a:spcPts val="0"/>
              </a:spcBef>
              <a:buNone/>
              <a:defRPr sz="1200" b="0" i="0" u="none" strike="noStrike" cap="none">
                <a:solidFill>
                  <a:srgbClr val="8A8A8A"/>
                </a:solidFill>
                <a:latin typeface="Source Sans Pro"/>
                <a:ea typeface="Source Sans Pro"/>
                <a:cs typeface="Source Sans Pro"/>
                <a:sym typeface="Source Sans Pro"/>
              </a:defRPr>
            </a:lvl3pPr>
            <a:lvl4pPr marL="0" marR="0" lvl="3" indent="0" algn="r" rtl="0">
              <a:spcBef>
                <a:spcPts val="0"/>
              </a:spcBef>
              <a:buNone/>
              <a:defRPr sz="1200" b="0" i="0" u="none" strike="noStrike" cap="none">
                <a:solidFill>
                  <a:srgbClr val="8A8A8A"/>
                </a:solidFill>
                <a:latin typeface="Source Sans Pro"/>
                <a:ea typeface="Source Sans Pro"/>
                <a:cs typeface="Source Sans Pro"/>
                <a:sym typeface="Source Sans Pro"/>
              </a:defRPr>
            </a:lvl4pPr>
            <a:lvl5pPr marL="0" marR="0" lvl="4" indent="0" algn="r" rtl="0">
              <a:spcBef>
                <a:spcPts val="0"/>
              </a:spcBef>
              <a:buNone/>
              <a:defRPr sz="1200" b="0" i="0" u="none" strike="noStrike" cap="none">
                <a:solidFill>
                  <a:srgbClr val="8A8A8A"/>
                </a:solidFill>
                <a:latin typeface="Source Sans Pro"/>
                <a:ea typeface="Source Sans Pro"/>
                <a:cs typeface="Source Sans Pro"/>
                <a:sym typeface="Source Sans Pro"/>
              </a:defRPr>
            </a:lvl5pPr>
            <a:lvl6pPr marL="0" marR="0" lvl="5" indent="0" algn="r" rtl="0">
              <a:spcBef>
                <a:spcPts val="0"/>
              </a:spcBef>
              <a:buNone/>
              <a:defRPr sz="1200" b="0" i="0" u="none" strike="noStrike" cap="none">
                <a:solidFill>
                  <a:srgbClr val="8A8A8A"/>
                </a:solidFill>
                <a:latin typeface="Source Sans Pro"/>
                <a:ea typeface="Source Sans Pro"/>
                <a:cs typeface="Source Sans Pro"/>
                <a:sym typeface="Source Sans Pro"/>
              </a:defRPr>
            </a:lvl6pPr>
            <a:lvl7pPr marL="0" marR="0" lvl="6" indent="0" algn="r" rtl="0">
              <a:spcBef>
                <a:spcPts val="0"/>
              </a:spcBef>
              <a:buNone/>
              <a:defRPr sz="1200" b="0" i="0" u="none" strike="noStrike" cap="none">
                <a:solidFill>
                  <a:srgbClr val="8A8A8A"/>
                </a:solidFill>
                <a:latin typeface="Source Sans Pro"/>
                <a:ea typeface="Source Sans Pro"/>
                <a:cs typeface="Source Sans Pro"/>
                <a:sym typeface="Source Sans Pro"/>
              </a:defRPr>
            </a:lvl7pPr>
            <a:lvl8pPr marL="0" marR="0" lvl="7" indent="0" algn="r" rtl="0">
              <a:spcBef>
                <a:spcPts val="0"/>
              </a:spcBef>
              <a:buNone/>
              <a:defRPr sz="1200" b="0" i="0" u="none" strike="noStrike" cap="none">
                <a:solidFill>
                  <a:srgbClr val="8A8A8A"/>
                </a:solidFill>
                <a:latin typeface="Source Sans Pro"/>
                <a:ea typeface="Source Sans Pro"/>
                <a:cs typeface="Source Sans Pro"/>
                <a:sym typeface="Source Sans Pro"/>
              </a:defRPr>
            </a:lvl8pPr>
            <a:lvl9pPr marL="0" marR="0" lvl="8" indent="0" algn="r" rtl="0">
              <a:spcBef>
                <a:spcPts val="0"/>
              </a:spcBef>
              <a:buNone/>
              <a:defRPr sz="1200" b="0" i="0" u="none" strike="noStrike" cap="none">
                <a:solidFill>
                  <a:srgbClr val="8A8A8A"/>
                </a:solidFill>
                <a:latin typeface="Source Sans Pro"/>
                <a:ea typeface="Source Sans Pro"/>
                <a:cs typeface="Source Sans Pro"/>
                <a:sym typeface="Source Sans Pro"/>
              </a:defRPr>
            </a:lvl9pPr>
          </a:lstStyle>
          <a:p>
            <a:pPr marL="0" lvl="0" indent="0" algn="r" rtl="0">
              <a:spcBef>
                <a:spcPts val="0"/>
              </a:spcBef>
              <a:spcAft>
                <a:spcPts val="0"/>
              </a:spcAft>
              <a:buNone/>
            </a:pPr>
            <a:fld id="{00000000-1234-1234-1234-123412341234}" type="slidenum">
              <a:rPr lang="en-US"/>
              <a:t>‹#›</a:t>
            </a:fld>
            <a:endParaRPr/>
          </a:p>
        </p:txBody>
      </p:sp>
    </p:spTree>
  </p:cSld>
  <p:clrMap bg1="lt1" tx1="dk1" bg2="dk2" tx2="lt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5" r:id="rId16"/>
    <p:sldLayoutId id="2147483666" r:id="rId17"/>
    <p:sldLayoutId id="2147483667" r:id="rId18"/>
    <p:sldLayoutId id="2147483668" r:id="rId19"/>
    <p:sldLayoutId id="2147483669" r:id="rId20"/>
    <p:sldLayoutId id="2147483670" r:id="rId21"/>
    <p:sldLayoutId id="2147483671" r:id="rId22"/>
    <p:sldLayoutId id="2147483672" r:id="rId23"/>
    <p:sldLayoutId id="2147483673" r:id="rId24"/>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extLst>
    <p:ext uri="{27BBF7A9-308A-43DC-89C8-2F10F3537804}">
      <p15:sldGuideLst xmlns:p15="http://schemas.microsoft.com/office/powerpoint/2012/main">
        <p15:guide id="1" pos="3840">
          <p15:clr>
            <a:srgbClr val="F26B43"/>
          </p15:clr>
        </p15:guide>
        <p15:guide id="2" pos="264">
          <p15:clr>
            <a:srgbClr val="F26B43"/>
          </p15:clr>
        </p15:guide>
        <p15:guide id="3" pos="7416">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hyperlink" Target="https://app.zenhub.com/workspaces/1095b-tax-form-61e19735167b2500170b2146/issues/department-of-veterans-affairs/va.gov-team/39583" TargetMode="External"/><Relationship Id="rId7" Type="http://schemas.openxmlformats.org/officeDocument/2006/relationships/image" Target="../media/image37.png"/><Relationship Id="rId2" Type="http://schemas.openxmlformats.org/officeDocument/2006/relationships/notesSlide" Target="../notesSlides/notesSlide10.xml"/><Relationship Id="rId1" Type="http://schemas.openxmlformats.org/officeDocument/2006/relationships/slideLayout" Target="../slideLayouts/slideLayout6.xml"/><Relationship Id="rId6" Type="http://schemas.openxmlformats.org/officeDocument/2006/relationships/hyperlink" Target="https://app.zenhub.com/workspaces/1095b-tax-form-61e19735167b2500170b2146/issues/department-of-veterans-affairs/va.gov-team/38921" TargetMode="External"/><Relationship Id="rId5" Type="http://schemas.openxmlformats.org/officeDocument/2006/relationships/hyperlink" Target="https://app.zenhub.com/workspaces/1095b-tax-form-61e19735167b2500170b2146/issues/department-of-veterans-affairs/va.gov-team/39582" TargetMode="External"/><Relationship Id="rId4" Type="http://schemas.openxmlformats.org/officeDocument/2006/relationships/hyperlink" Target="https://app.zenhub.com/workspaces/1095b-tax-form-61e19735167b2500170b2146/issues/department-of-veterans-affairs/va.gov-team/39581" TargetMode="External"/></Relationships>
</file>

<file path=ppt/slides/_rels/slide11.xml.rels><?xml version="1.0" encoding="UTF-8" standalone="yes"?>
<Relationships xmlns="http://schemas.openxmlformats.org/package/2006/relationships"><Relationship Id="rId3" Type="http://schemas.openxmlformats.org/officeDocument/2006/relationships/hyperlink" Target="https://app.zenhub.com/workspaces/1095b-tax-form-61e19735167b2500170b2146/issues/department-of-veterans-affairs/va.gov-team/39276" TargetMode="External"/><Relationship Id="rId2" Type="http://schemas.openxmlformats.org/officeDocument/2006/relationships/notesSlide" Target="../notesSlides/notesSlide11.xml"/><Relationship Id="rId1" Type="http://schemas.openxmlformats.org/officeDocument/2006/relationships/slideLayout" Target="../slideLayouts/slideLayout6.xml"/><Relationship Id="rId5" Type="http://schemas.openxmlformats.org/officeDocument/2006/relationships/image" Target="../media/image39.png"/><Relationship Id="rId4" Type="http://schemas.openxmlformats.org/officeDocument/2006/relationships/hyperlink" Target="https://github.com/department-of-veterans-affairs/va.gov-team/blob/master/products/health-care/1095b-tax-form/Final%20documents/Opt-in/DRAFT%201095-B%20Paperless%20Delivery%20Notification.docx" TargetMode="External"/></Relationships>
</file>

<file path=ppt/slides/_rels/slide12.xml.rels><?xml version="1.0" encoding="UTF-8" standalone="yes"?>
<Relationships xmlns="http://schemas.openxmlformats.org/package/2006/relationships"><Relationship Id="rId3" Type="http://schemas.openxmlformats.org/officeDocument/2006/relationships/hyperlink" Target="https://app.zenhub.com/workspaces/1095b-tax-form-61e19735167b2500170b2146/issues/department-of-veterans-affairs/va.gov-team/39515" TargetMode="External"/><Relationship Id="rId2" Type="http://schemas.openxmlformats.org/officeDocument/2006/relationships/notesSlide" Target="../notesSlides/notesSlide12.xml"/><Relationship Id="rId1" Type="http://schemas.openxmlformats.org/officeDocument/2006/relationships/slideLayout" Target="../slideLayouts/slideLayout6.xml"/><Relationship Id="rId5" Type="http://schemas.openxmlformats.org/officeDocument/2006/relationships/hyperlink" Target="https://dsva.slack.com/archives/D02LS566VA8/p1650038999693529" TargetMode="External"/><Relationship Id="rId4" Type="http://schemas.openxmlformats.org/officeDocument/2006/relationships/image" Target="../media/image40.png"/></Relationships>
</file>

<file path=ppt/slides/_rels/slide13.xml.rels><?xml version="1.0" encoding="UTF-8" standalone="yes"?>
<Relationships xmlns="http://schemas.openxmlformats.org/package/2006/relationships"><Relationship Id="rId8" Type="http://schemas.openxmlformats.org/officeDocument/2006/relationships/hyperlink" Target="https://app.zenhub.com/workspaces/1095b-tax-form-61e19735167b2500170b2146/issues/department-of-veterans-affairs/va.gov-team/39723" TargetMode="External"/><Relationship Id="rId3" Type="http://schemas.openxmlformats.org/officeDocument/2006/relationships/slideLayout" Target="../slideLayouts/slideLayout6.xml"/><Relationship Id="rId7" Type="http://schemas.openxmlformats.org/officeDocument/2006/relationships/hyperlink" Target="https://app.zenhub.com/workspaces/1095b-tax-form-61e19735167b2500170b2146/issues/department-of-veterans-affairs/va.gov-team/39722" TargetMode="External"/><Relationship Id="rId12" Type="http://schemas.openxmlformats.org/officeDocument/2006/relationships/image" Target="../media/image42.png"/><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1.emf"/><Relationship Id="rId11" Type="http://schemas.openxmlformats.org/officeDocument/2006/relationships/image" Target="../media/image41.png"/><Relationship Id="rId5" Type="http://schemas.openxmlformats.org/officeDocument/2006/relationships/oleObject" Target="../embeddings/oleObject4.bin"/><Relationship Id="rId10" Type="http://schemas.openxmlformats.org/officeDocument/2006/relationships/hyperlink" Target="https://vajira.max.gov/servicedesk/customer/portal/12/CMDMRP-2269" TargetMode="External"/><Relationship Id="rId4" Type="http://schemas.openxmlformats.org/officeDocument/2006/relationships/notesSlide" Target="../notesSlides/notesSlide13.xml"/><Relationship Id="rId9" Type="http://schemas.openxmlformats.org/officeDocument/2006/relationships/hyperlink" Target="https://yourit.va.gov/va?id=ticket&amp;table=sc_req_item&amp;sys_id=dc56193d1ba2851035608515624bcb2e" TargetMode="Externa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Layout" Target="../slideLayouts/slideLayout6.xml"/><Relationship Id="rId4" Type="http://schemas.openxmlformats.org/officeDocument/2006/relationships/image" Target="../media/image30.png"/></Relationships>
</file>

<file path=ppt/slides/_rels/slide18.xml.rels><?xml version="1.0" encoding="UTF-8" standalone="yes"?>
<Relationships xmlns="http://schemas.openxmlformats.org/package/2006/relationships"><Relationship Id="rId8" Type="http://schemas.openxmlformats.org/officeDocument/2006/relationships/hyperlink" Target="https://github.com/department-of-veterans-affairs/va.gov-team/blob/master/products/health-care/health-apartment/community-care/Community%20Care%20Technical%20Discovery.pdf" TargetMode="External"/><Relationship Id="rId3" Type="http://schemas.openxmlformats.org/officeDocument/2006/relationships/hyperlink" Target="https://app.zenhub.com/workspaces/1095b-tax-form-61e19735167b2500170b2146/issues/department-of-veterans-affairs/va.gov-team/39658" TargetMode="External"/><Relationship Id="rId7" Type="http://schemas.openxmlformats.org/officeDocument/2006/relationships/image" Target="../media/image43.png"/><Relationship Id="rId2" Type="http://schemas.openxmlformats.org/officeDocument/2006/relationships/hyperlink" Target="https://app.zenhub.com/workspaces/1095b-tax-form-61e19735167b2500170b2146/issues/department-of-veterans-affairs/va.gov-team/39657" TargetMode="External"/><Relationship Id="rId1" Type="http://schemas.openxmlformats.org/officeDocument/2006/relationships/slideLayout" Target="../slideLayouts/slideLayout6.xml"/><Relationship Id="rId6" Type="http://schemas.openxmlformats.org/officeDocument/2006/relationships/hyperlink" Target="https://app.mural.co/t/innovationboards1199/m/innovationboards1199/1650298795760/eb2b8a0448ca8269b6d3df10ea7039e84a986b03?sender=u64d6a3de6070c833f88e7826" TargetMode="External"/><Relationship Id="rId5" Type="http://schemas.openxmlformats.org/officeDocument/2006/relationships/hyperlink" Target="https://app.zenhub.com/workspaces/1095b-tax-form-61e19735167b2500170b2146/issues/department-of-veterans-affairs/va.gov-team/39656" TargetMode="External"/><Relationship Id="rId4" Type="http://schemas.openxmlformats.org/officeDocument/2006/relationships/hyperlink" Target="https://app.zenhub.com/workspaces/1095b-tax-form-61e19735167b2500170b2146/issues/department-of-veterans-affairs/va.gov-team/40069" TargetMode="External"/><Relationship Id="rId9" Type="http://schemas.openxmlformats.org/officeDocument/2006/relationships/image" Target="../media/image44.png"/></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8" Type="http://schemas.openxmlformats.org/officeDocument/2006/relationships/image" Target="../media/image16.jpeg"/><Relationship Id="rId13" Type="http://schemas.openxmlformats.org/officeDocument/2006/relationships/image" Target="../media/image21.jpeg"/><Relationship Id="rId3" Type="http://schemas.openxmlformats.org/officeDocument/2006/relationships/image" Target="../media/image11.jpeg"/><Relationship Id="rId7" Type="http://schemas.openxmlformats.org/officeDocument/2006/relationships/image" Target="../media/image15.jpeg"/><Relationship Id="rId12" Type="http://schemas.openxmlformats.org/officeDocument/2006/relationships/image" Target="../media/image20.jpeg"/><Relationship Id="rId2" Type="http://schemas.openxmlformats.org/officeDocument/2006/relationships/notesSlide" Target="../notesSlides/notesSlide2.xml"/><Relationship Id="rId16" Type="http://schemas.openxmlformats.org/officeDocument/2006/relationships/image" Target="../media/image24.jpeg"/><Relationship Id="rId1" Type="http://schemas.openxmlformats.org/officeDocument/2006/relationships/slideLayout" Target="../slideLayouts/slideLayout2.xml"/><Relationship Id="rId6" Type="http://schemas.openxmlformats.org/officeDocument/2006/relationships/image" Target="../media/image14.jpeg"/><Relationship Id="rId11" Type="http://schemas.openxmlformats.org/officeDocument/2006/relationships/image" Target="../media/image19.jpeg"/><Relationship Id="rId5" Type="http://schemas.openxmlformats.org/officeDocument/2006/relationships/image" Target="../media/image13.jpeg"/><Relationship Id="rId15" Type="http://schemas.openxmlformats.org/officeDocument/2006/relationships/image" Target="../media/image23.jpeg"/><Relationship Id="rId10" Type="http://schemas.openxmlformats.org/officeDocument/2006/relationships/image" Target="../media/image18.jpeg"/><Relationship Id="rId4" Type="http://schemas.openxmlformats.org/officeDocument/2006/relationships/image" Target="../media/image12.png"/><Relationship Id="rId9" Type="http://schemas.openxmlformats.org/officeDocument/2006/relationships/image" Target="../media/image17.jpeg"/><Relationship Id="rId14" Type="http://schemas.openxmlformats.org/officeDocument/2006/relationships/image" Target="../media/image22.png"/></Relationships>
</file>

<file path=ppt/slides/_rels/slide20.xml.rels><?xml version="1.0" encoding="UTF-8" standalone="yes"?>
<Relationships xmlns="http://schemas.openxmlformats.org/package/2006/relationships"><Relationship Id="rId8" Type="http://schemas.openxmlformats.org/officeDocument/2006/relationships/hyperlink" Target="http://preview-prod.vfs.va.gov/preview?nodeId=44346" TargetMode="External"/><Relationship Id="rId13" Type="http://schemas.openxmlformats.org/officeDocument/2006/relationships/hyperlink" Target="https://app.zenhub.com/workspaces/1095b-tax-form-61e19735167b2500170b2146/issues/department-of-veterans-affairs/va.gov-team/39583" TargetMode="External"/><Relationship Id="rId18" Type="http://schemas.openxmlformats.org/officeDocument/2006/relationships/hyperlink" Target="https://app.zenhub.com/workspaces/1095b-tax-form-61e19735167b2500170b2146/issues/department-of-veterans-affairs/va.gov-team/39581" TargetMode="External"/><Relationship Id="rId26" Type="http://schemas.openxmlformats.org/officeDocument/2006/relationships/hyperlink" Target="https://github.com/department-of-veterans-affairs/vets-api/pull/9430" TargetMode="External"/><Relationship Id="rId3" Type="http://schemas.openxmlformats.org/officeDocument/2006/relationships/slideLayout" Target="../slideLayouts/slideLayout2.xml"/><Relationship Id="rId21" Type="http://schemas.openxmlformats.org/officeDocument/2006/relationships/hyperlink" Target="https://app.zenhub.com/workspaces/1095b-tax-form-61e19735167b2500170b2146/issues/department-of-veterans-affairs/va.gov-team/40008" TargetMode="External"/><Relationship Id="rId7" Type="http://schemas.openxmlformats.org/officeDocument/2006/relationships/hyperlink" Target="https://app.zenhub.com/workspaces/1095b-tax-form-61e19735167b2500170b2146/issues/department-of-veterans-affairs/va.gov-team/38035" TargetMode="External"/><Relationship Id="rId12" Type="http://schemas.openxmlformats.org/officeDocument/2006/relationships/hyperlink" Target="https://github.com/department-of-veterans-affairs/va.gov-team/blob/master/products/health-care/1095b-tax-form/Final%20documents/Opt-in/DRAFT%201095-B%20Paperless%20Delivery%20Notification.docx" TargetMode="External"/><Relationship Id="rId17" Type="http://schemas.openxmlformats.org/officeDocument/2006/relationships/hyperlink" Target="https://github.com/department-of-veterans-affairs/va.gov-team/blob/master/products/health-care/1095b-tax-form/Final%20documents/HEC/DRAFT%20product_guide_-_contact_center_review%20041322.docx" TargetMode="External"/><Relationship Id="rId25" Type="http://schemas.openxmlformats.org/officeDocument/2006/relationships/hyperlink" Target="https://github.com/department-of-veterans-affairs/vets-api/pull/9423" TargetMode="External"/><Relationship Id="rId2" Type="http://schemas.openxmlformats.org/officeDocument/2006/relationships/tags" Target="../tags/tag8.xml"/><Relationship Id="rId16" Type="http://schemas.openxmlformats.org/officeDocument/2006/relationships/hyperlink" Target="https://github.com/department-of-veterans-affairs/va.gov-team/blob/master/products/health-care/1095b-tax-form/Final%20documents/HEC/DRAFT%201095-B%20HEC%20FAQ%20040622.docx" TargetMode="External"/><Relationship Id="rId20" Type="http://schemas.openxmlformats.org/officeDocument/2006/relationships/hyperlink" Target="https://app.zenhub.com/workspaces/1095b-tax-form-61e19735167b2500170b2146/issues/department-of-veterans-affairs/va.gov-team/37043" TargetMode="External"/><Relationship Id="rId1" Type="http://schemas.openxmlformats.org/officeDocument/2006/relationships/vmlDrawing" Target="../drawings/vmlDrawing7.vml"/><Relationship Id="rId6" Type="http://schemas.openxmlformats.org/officeDocument/2006/relationships/image" Target="../media/image1.emf"/><Relationship Id="rId11" Type="http://schemas.openxmlformats.org/officeDocument/2006/relationships/hyperlink" Target="https://app.zenhub.com/workspaces/1095b-tax-form-61e19735167b2500170b2146/issues/department-of-veterans-affairs/va.gov-team/39276" TargetMode="External"/><Relationship Id="rId24" Type="http://schemas.openxmlformats.org/officeDocument/2006/relationships/hyperlink" Target="https://github.com/department-of-veterans-affairs/vets-website/pull/20808" TargetMode="External"/><Relationship Id="rId5" Type="http://schemas.openxmlformats.org/officeDocument/2006/relationships/oleObject" Target="../embeddings/oleObject7.bin"/><Relationship Id="rId15" Type="http://schemas.openxmlformats.org/officeDocument/2006/relationships/hyperlink" Target="https://github.com/department-of-veterans-affairs/va.gov-team/blob/master/products/health-care/1095b-tax-form/Final%20documents/HEC/DRAFT%201095-B%20HEC%20Fact%20Sheet%20040622.docx" TargetMode="External"/><Relationship Id="rId23" Type="http://schemas.openxmlformats.org/officeDocument/2006/relationships/hyperlink" Target="https://app.zenhub.com/workspaces/1095b-tax-form-61e19735167b2500170b2146/issues/department-of-veterans-affairs/va.gov-team/39769" TargetMode="External"/><Relationship Id="rId10" Type="http://schemas.openxmlformats.org/officeDocument/2006/relationships/hyperlink" Target="https://github.com/department-of-veterans-affairs/va.gov-team/blob/master/products/health-care/1095b-tax-form/Final%20documents/Designs/1095-b_Unauthenticated%20state_Mobile.jpg" TargetMode="External"/><Relationship Id="rId19" Type="http://schemas.openxmlformats.org/officeDocument/2006/relationships/hyperlink" Target="https://github.com/department-of-veterans-affairs/va.gov-team/blob/master/products/health-care/1095b-tax-form/Final%20documents/Designs/1095-b_Authenticated%20state_Desktop.jpg" TargetMode="External"/><Relationship Id="rId4" Type="http://schemas.openxmlformats.org/officeDocument/2006/relationships/notesSlide" Target="../notesSlides/notesSlide16.xml"/><Relationship Id="rId9" Type="http://schemas.openxmlformats.org/officeDocument/2006/relationships/hyperlink" Target="https://github.com/department-of-veterans-affairs/va.gov-team/blob/master/products/health-care/1095b-tax-form/Final%20documents/Designs/1095-b_Unauthenticated%20state_Desktop.jpg" TargetMode="External"/><Relationship Id="rId14" Type="http://schemas.openxmlformats.org/officeDocument/2006/relationships/hyperlink" Target="https://github.com/department-of-veterans-affairs/va.gov-team/blob/master/products/health-care/1095b-tax-form/Final%20documents/HEC/DRAFT%20HEC%201095-B%20User%20Guide%20041322.docx" TargetMode="External"/><Relationship Id="rId22" Type="http://schemas.openxmlformats.org/officeDocument/2006/relationships/hyperlink" Target="https://app.zenhub.com/workspaces/1095b-tax-form-61e19735167b2500170b2146/issues/department-of-veterans-affairs/va.gov-team/40009" TargetMode="External"/><Relationship Id="rId27" Type="http://schemas.openxmlformats.org/officeDocument/2006/relationships/hyperlink" Target="https://app.zenhub.com/workspaces/1095b-tax-form-61e19735167b2500170b2146/issues/department-of-veterans-affairs/va.gov-team/39922" TargetMode="External"/></Relationships>
</file>

<file path=ppt/slides/_rels/slide21.xml.rels><?xml version="1.0" encoding="UTF-8" standalone="yes"?>
<Relationships xmlns="http://schemas.openxmlformats.org/package/2006/relationships"><Relationship Id="rId8" Type="http://schemas.openxmlformats.org/officeDocument/2006/relationships/hyperlink" Target="https://github.com/department-of-veterans-affairs/va.gov-team/blob/master/products/health-care/1095b-tax-form/product/Veteran%20address%20change%20test.pdf" TargetMode="External"/><Relationship Id="rId13" Type="http://schemas.openxmlformats.org/officeDocument/2006/relationships/hyperlink" Target="https://github.com/department-of-veterans-affairs/va.gov-team/issues/38448#issuecomment-1093147080" TargetMode="External"/><Relationship Id="rId18" Type="http://schemas.openxmlformats.org/officeDocument/2006/relationships/hyperlink" Target="https://app.zenhub.com/workspaces/1095b-tax-form-61e19735167b2500170b2146/issues/department-of-veterans-affairs/va.gov-team/39723" TargetMode="External"/><Relationship Id="rId3" Type="http://schemas.openxmlformats.org/officeDocument/2006/relationships/slideLayout" Target="../slideLayouts/slideLayout2.xml"/><Relationship Id="rId21" Type="http://schemas.openxmlformats.org/officeDocument/2006/relationships/hyperlink" Target="https://yourit.va.gov/va?id=ticket&amp;table=sc_req_item&amp;sys_id=dc56193d1ba2851035608515624bcb2e" TargetMode="External"/><Relationship Id="rId7" Type="http://schemas.openxmlformats.org/officeDocument/2006/relationships/hyperlink" Target="https://app.zenhub.com/workspaces/1095b-tax-form-61e19735167b2500170b2146/issues/department-of-veterans-affairs/va.gov-team/38921" TargetMode="External"/><Relationship Id="rId12" Type="http://schemas.openxmlformats.org/officeDocument/2006/relationships/hyperlink" Target="https://app.zenhub.com/workspaces/1095b-tax-form-61e19735167b2500170b2146/issues/department-of-veterans-affairs/va.gov-team/39582" TargetMode="External"/><Relationship Id="rId17" Type="http://schemas.openxmlformats.org/officeDocument/2006/relationships/hyperlink" Target="https://app.zenhub.com/workspaces/1095b-tax-form-61e19735167b2500170b2146/issues/department-of-veterans-affairs/va.gov-team/38144" TargetMode="External"/><Relationship Id="rId2" Type="http://schemas.openxmlformats.org/officeDocument/2006/relationships/tags" Target="../tags/tag9.xml"/><Relationship Id="rId16" Type="http://schemas.openxmlformats.org/officeDocument/2006/relationships/hyperlink" Target="https://dsva.slack.com/archives/D02LS566VA8/p1650038999693529" TargetMode="External"/><Relationship Id="rId20" Type="http://schemas.openxmlformats.org/officeDocument/2006/relationships/hyperlink" Target="https://app.zenhub.com/workspaces/1095b-tax-form-61e19735167b2500170b2146/issues/department-of-veterans-affairs/va.gov-team/39722" TargetMode="External"/><Relationship Id="rId1" Type="http://schemas.openxmlformats.org/officeDocument/2006/relationships/vmlDrawing" Target="../drawings/vmlDrawing8.vml"/><Relationship Id="rId6" Type="http://schemas.openxmlformats.org/officeDocument/2006/relationships/image" Target="../media/image1.emf"/><Relationship Id="rId11" Type="http://schemas.openxmlformats.org/officeDocument/2006/relationships/hyperlink" Target="https://app.zenhub.com/workspaces/1095b-tax-form-61e19735167b2500170b2146/issues/department-of-veterans-affairs/va.gov-team/36175" TargetMode="External"/><Relationship Id="rId5" Type="http://schemas.openxmlformats.org/officeDocument/2006/relationships/oleObject" Target="../embeddings/oleObject7.bin"/><Relationship Id="rId15" Type="http://schemas.openxmlformats.org/officeDocument/2006/relationships/hyperlink" Target="https://app.zenhub.com/workspaces/1095b-tax-form-61e19735167b2500170b2146/issues/department-of-veterans-affairs/va.gov-team/39515" TargetMode="External"/><Relationship Id="rId10" Type="http://schemas.openxmlformats.org/officeDocument/2006/relationships/hyperlink" Target="https://app.zenhub.com/workspaces/1095b-tax-form-61e19735167b2500170b2146/issues/department-of-veterans-affairs/va.gov-team/38351" TargetMode="External"/><Relationship Id="rId19" Type="http://schemas.openxmlformats.org/officeDocument/2006/relationships/hyperlink" Target="https://vajira.max.gov/servicedesk/customer/portal/12/CMDMRP-2269" TargetMode="External"/><Relationship Id="rId4" Type="http://schemas.openxmlformats.org/officeDocument/2006/relationships/notesSlide" Target="../notesSlides/notesSlide17.xml"/><Relationship Id="rId9" Type="http://schemas.openxmlformats.org/officeDocument/2006/relationships/hyperlink" Target="https://github.com/department-of-veterans-affairs/va.gov-team/blob/master/products/health-care/1095b-tax-form/product/address%20change%20process%20on%20VA.gov%20using%20profile.pdf" TargetMode="External"/><Relationship Id="rId14" Type="http://schemas.openxmlformats.org/officeDocument/2006/relationships/hyperlink" Target="http://preview-prod.vfs.va.gov/preview?nodeId=44346" TargetMode="External"/></Relationships>
</file>

<file path=ppt/slides/_rels/slide22.xml.rels><?xml version="1.0" encoding="UTF-8" standalone="yes"?>
<Relationships xmlns="http://schemas.openxmlformats.org/package/2006/relationships"><Relationship Id="rId8" Type="http://schemas.openxmlformats.org/officeDocument/2006/relationships/hyperlink" Target="https://github.com/department-of-veterans-affairs/va.gov-team/blob/master/products/health-care/1095b-tax-form/design/Care%20in%20Community%20interim%20work/V2%20CC%20Journey.pdf" TargetMode="External"/><Relationship Id="rId13" Type="http://schemas.openxmlformats.org/officeDocument/2006/relationships/hyperlink" Target="https://app.zenhub.com/workspaces/1095b-tax-form-61e19735167b2500170b2146/issues/department-of-veterans-affairs/va.gov-team/39658" TargetMode="External"/><Relationship Id="rId3" Type="http://schemas.openxmlformats.org/officeDocument/2006/relationships/slideLayout" Target="../slideLayouts/slideLayout2.xml"/><Relationship Id="rId7" Type="http://schemas.openxmlformats.org/officeDocument/2006/relationships/hyperlink" Target="https://app.zenhub.com/workspaces/1095b-tax-form-61e19735167b2500170b2146/issues/department-of-veterans-affairs/va.gov-team/39657" TargetMode="External"/><Relationship Id="rId12" Type="http://schemas.openxmlformats.org/officeDocument/2006/relationships/hyperlink" Target="https://github.com/department-of-veterans-affairs/va.gov-team/blob/master/products/health-care/health-apartment/community-care/Community%20Care%20Technical%20Discovery.pdf" TargetMode="External"/><Relationship Id="rId2" Type="http://schemas.openxmlformats.org/officeDocument/2006/relationships/tags" Target="../tags/tag10.xml"/><Relationship Id="rId1" Type="http://schemas.openxmlformats.org/officeDocument/2006/relationships/vmlDrawing" Target="../drawings/vmlDrawing9.vml"/><Relationship Id="rId6" Type="http://schemas.openxmlformats.org/officeDocument/2006/relationships/image" Target="../media/image1.emf"/><Relationship Id="rId11" Type="http://schemas.openxmlformats.org/officeDocument/2006/relationships/hyperlink" Target="https://app.zenhub.com/workspaces/1095b-tax-form-61e19735167b2500170b2146/issues/department-of-veterans-affairs/va.gov-team/39656" TargetMode="External"/><Relationship Id="rId5" Type="http://schemas.openxmlformats.org/officeDocument/2006/relationships/oleObject" Target="../embeddings/oleObject7.bin"/><Relationship Id="rId15" Type="http://schemas.openxmlformats.org/officeDocument/2006/relationships/hyperlink" Target="https://dsva.slack.com/archives/C02E2PC3XLJ/p1649081404717619?thread_ts=1649081172.497039&amp;cid=C02E2PC3XLJ" TargetMode="External"/><Relationship Id="rId10" Type="http://schemas.openxmlformats.org/officeDocument/2006/relationships/hyperlink" Target="https://github.com/department-of-veterans-affairs/va.gov-team/blob/master/products/health-care/1095b-tax-form/design/Care%20in%20Community%20interim%20work/V3%20CC%20Journey.pdf" TargetMode="External"/><Relationship Id="rId4" Type="http://schemas.openxmlformats.org/officeDocument/2006/relationships/notesSlide" Target="../notesSlides/notesSlide18.xml"/><Relationship Id="rId9" Type="http://schemas.openxmlformats.org/officeDocument/2006/relationships/hyperlink" Target="https://app.zenhub.com/workspaces/1095b-tax-form-61e19735167b2500170b2146/issues/department-of-veterans-affairs/va.gov-team/40069" TargetMode="External"/><Relationship Id="rId14" Type="http://schemas.openxmlformats.org/officeDocument/2006/relationships/hyperlink" Target="https://dsva.slack.com/archives/C02E2PC3XLJ/p1649965741756829?thread_ts=1649964923.220959&amp;cid=C02E2PC3XLJ" TargetMode="Externa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1.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notesSlide" Target="../notesSlides/notesSlide20.xml"/></Relationships>
</file>

<file path=ppt/slides/_rels/slide25.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slideLayout" Target="../slideLayouts/slideLayout5.xml"/><Relationship Id="rId7" Type="http://schemas.openxmlformats.org/officeDocument/2006/relationships/image" Target="../media/image28.png"/><Relationship Id="rId2" Type="http://schemas.openxmlformats.org/officeDocument/2006/relationships/tags" Target="../tags/tag12.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9.bin"/><Relationship Id="rId10" Type="http://schemas.openxmlformats.org/officeDocument/2006/relationships/image" Target="../media/image31.png"/><Relationship Id="rId4" Type="http://schemas.openxmlformats.org/officeDocument/2006/relationships/notesSlide" Target="../notesSlides/notesSlide21.xml"/><Relationship Id="rId9" Type="http://schemas.openxmlformats.org/officeDocument/2006/relationships/image" Target="../media/image30.png"/></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7.xml"/></Relationships>
</file>

<file path=ppt/slides/_rels/slide27.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23.xml"/><Relationship Id="rId1" Type="http://schemas.openxmlformats.org/officeDocument/2006/relationships/slideLayout" Target="../slideLayouts/slideLayout8.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8.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3.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3.xml"/><Relationship Id="rId1" Type="http://schemas.openxmlformats.org/officeDocument/2006/relationships/slideLayout" Target="../slideLayouts/slideLayout3.xml"/><Relationship Id="rId5" Type="http://schemas.openxmlformats.org/officeDocument/2006/relationships/image" Target="../media/image27.png"/><Relationship Id="rId4" Type="http://schemas.openxmlformats.org/officeDocument/2006/relationships/image" Target="../media/image26.png"/></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6.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6.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6.xml"/></Relationships>
</file>

<file path=ppt/slides/_rels/slide33.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13.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notesSlide" Target="../notesSlides/notesSlide28.xml"/></Relationships>
</file>

<file path=ppt/slides/_rels/slide34.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14.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notesSlide" Target="../notesSlides/notesSlide29.xml"/></Relationships>
</file>

<file path=ppt/slides/_rels/slide35.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15.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notesSlide" Target="../notesSlides/notesSlide30.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slideLayout" Target="../slideLayouts/slideLayout5.xml"/><Relationship Id="rId7" Type="http://schemas.openxmlformats.org/officeDocument/2006/relationships/image" Target="../media/image28.pn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10" Type="http://schemas.openxmlformats.org/officeDocument/2006/relationships/image" Target="../media/image31.png"/><Relationship Id="rId4" Type="http://schemas.openxmlformats.org/officeDocument/2006/relationships/notesSlide" Target="../notesSlides/notesSlide5.xml"/><Relationship Id="rId9" Type="http://schemas.openxmlformats.org/officeDocument/2006/relationships/image" Target="../media/image30.png"/></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notesSlide" Target="../notesSlides/notesSlide8.xml"/><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8" Type="http://schemas.openxmlformats.org/officeDocument/2006/relationships/image" Target="../media/image33.jpeg"/><Relationship Id="rId3" Type="http://schemas.openxmlformats.org/officeDocument/2006/relationships/hyperlink" Target="https://app.zenhub.com/workspaces/1095b-tax-form-61e19735167b2500170b2146/issues/department-of-veterans-affairs/va.gov-team/38035" TargetMode="External"/><Relationship Id="rId7" Type="http://schemas.openxmlformats.org/officeDocument/2006/relationships/hyperlink" Target="https://github.com/department-of-veterans-affairs/va.gov-team/tree/master/products/health-care/1095b-tax-form/Final%20documents/Designs" TargetMode="External"/><Relationship Id="rId2" Type="http://schemas.openxmlformats.org/officeDocument/2006/relationships/notesSlide" Target="../notesSlides/notesSlide9.xml"/><Relationship Id="rId1" Type="http://schemas.openxmlformats.org/officeDocument/2006/relationships/slideLayout" Target="../slideLayouts/slideLayout6.xml"/><Relationship Id="rId6" Type="http://schemas.openxmlformats.org/officeDocument/2006/relationships/hyperlink" Target="https://app.zenhub.com/workspaces/1095b-tax-form-61e19735167b2500170b2146/issues/department-of-veterans-affairs/va.gov-team/39769" TargetMode="External"/><Relationship Id="rId11" Type="http://schemas.openxmlformats.org/officeDocument/2006/relationships/image" Target="../media/image36.jpeg"/><Relationship Id="rId5" Type="http://schemas.openxmlformats.org/officeDocument/2006/relationships/hyperlink" Target="https://app.zenhub.com/workspaces/1095b-tax-form-61e19735167b2500170b2146/issues/department-of-veterans-affairs/va.gov-team/38351" TargetMode="External"/><Relationship Id="rId10" Type="http://schemas.openxmlformats.org/officeDocument/2006/relationships/image" Target="../media/image35.jpeg"/><Relationship Id="rId4" Type="http://schemas.openxmlformats.org/officeDocument/2006/relationships/hyperlink" Target="https://app.zenhub.com/workspaces/1095b-tax-form-61e19735167b2500170b2146/issues/department-of-veterans-affairs/va.gov-team/37043" TargetMode="External"/><Relationship Id="rId9" Type="http://schemas.openxmlformats.org/officeDocument/2006/relationships/image" Target="../media/image34.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183"/>
        <p:cNvGrpSpPr/>
        <p:nvPr/>
      </p:nvGrpSpPr>
      <p:grpSpPr>
        <a:xfrm>
          <a:off x="0" y="0"/>
          <a:ext cx="0" cy="0"/>
          <a:chOff x="0" y="0"/>
          <a:chExt cx="0" cy="0"/>
        </a:xfrm>
      </p:grpSpPr>
      <p:sp>
        <p:nvSpPr>
          <p:cNvPr id="184" name="Google Shape;184;p1"/>
          <p:cNvSpPr txBox="1">
            <a:spLocks noGrp="1"/>
          </p:cNvSpPr>
          <p:nvPr>
            <p:ph type="ctrTitle"/>
          </p:nvPr>
        </p:nvSpPr>
        <p:spPr>
          <a:xfrm>
            <a:off x="303123" y="2358316"/>
            <a:ext cx="7261656" cy="1632577"/>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6600"/>
              <a:buFont typeface="PT Serif"/>
              <a:buNone/>
            </a:pPr>
            <a:r>
              <a:rPr lang="en-US"/>
              <a:t>Sprint 6 Demo</a:t>
            </a:r>
            <a:endParaRPr/>
          </a:p>
        </p:txBody>
      </p:sp>
      <p:sp>
        <p:nvSpPr>
          <p:cNvPr id="185" name="Google Shape;185;p1"/>
          <p:cNvSpPr txBox="1">
            <a:spLocks noGrp="1"/>
          </p:cNvSpPr>
          <p:nvPr>
            <p:ph type="subTitle" idx="1"/>
          </p:nvPr>
        </p:nvSpPr>
        <p:spPr>
          <a:xfrm>
            <a:off x="341868" y="3625768"/>
            <a:ext cx="4852432" cy="365125"/>
          </a:xfrm>
          <a:prstGeom prst="rect">
            <a:avLst/>
          </a:prstGeom>
          <a:noFill/>
          <a:ln>
            <a:noFill/>
          </a:ln>
        </p:spPr>
        <p:txBody>
          <a:bodyPr spcFirstLastPara="1" wrap="square" lIns="91425" tIns="45700" rIns="91425" bIns="45700" anchor="t" anchorCtr="0">
            <a:normAutofit lnSpcReduction="10000"/>
          </a:bodyPr>
          <a:lstStyle/>
          <a:p>
            <a:pPr marL="0" lvl="0" indent="0" algn="l" rtl="0">
              <a:lnSpc>
                <a:spcPct val="90000"/>
              </a:lnSpc>
              <a:spcBef>
                <a:spcPts val="0"/>
              </a:spcBef>
              <a:spcAft>
                <a:spcPts val="0"/>
              </a:spcAft>
              <a:buClr>
                <a:schemeClr val="lt1"/>
              </a:buClr>
              <a:buSzPts val="2000"/>
              <a:buNone/>
            </a:pPr>
            <a:r>
              <a:rPr lang="en-US"/>
              <a:t>Tuesday, April 19</a:t>
            </a:r>
            <a:r>
              <a:rPr lang="en-US" baseline="30000"/>
              <a:t>th</a:t>
            </a:r>
            <a:r>
              <a:rPr lang="en-US"/>
              <a:t>, 2022</a:t>
            </a:r>
            <a:endParaRP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Shape 613"/>
        <p:cNvGrpSpPr/>
        <p:nvPr/>
      </p:nvGrpSpPr>
      <p:grpSpPr>
        <a:xfrm>
          <a:off x="0" y="0"/>
          <a:ext cx="0" cy="0"/>
          <a:chOff x="0" y="0"/>
          <a:chExt cx="0" cy="0"/>
        </a:xfrm>
      </p:grpSpPr>
      <p:sp>
        <p:nvSpPr>
          <p:cNvPr id="616" name="Google Shape;616;p15"/>
          <p:cNvSpPr txBox="1"/>
          <p:nvPr/>
        </p:nvSpPr>
        <p:spPr>
          <a:xfrm>
            <a:off x="410079" y="750806"/>
            <a:ext cx="11064890" cy="2035841"/>
          </a:xfrm>
          <a:prstGeom prst="rect">
            <a:avLst/>
          </a:prstGeom>
          <a:noFill/>
          <a:ln>
            <a:noFill/>
          </a:ln>
        </p:spPr>
        <p:txBody>
          <a:bodyPr spcFirstLastPara="1" wrap="square" lIns="0" tIns="0" rIns="0" bIns="0" anchor="t" anchorCtr="0">
            <a:noAutofit/>
          </a:bodyPr>
          <a:lstStyle/>
          <a:p>
            <a:pPr>
              <a:lnSpc>
                <a:spcPct val="90000"/>
              </a:lnSpc>
              <a:buClr>
                <a:schemeClr val="dk1"/>
              </a:buClr>
              <a:buSzPts val="3600"/>
            </a:pPr>
            <a:r>
              <a:rPr lang="en-US" sz="2800">
                <a:solidFill>
                  <a:schemeClr val="dk1"/>
                </a:solidFill>
                <a:latin typeface="PT Serif"/>
                <a:ea typeface="PT Serif"/>
                <a:cs typeface="PT Serif"/>
                <a:sym typeface="PT Serif"/>
              </a:rPr>
              <a:t>We validated that an updated address reflected in both VA Profile and the HEC, and iterated our designs to match</a:t>
            </a:r>
            <a:endParaRPr lang="en-US" sz="2800" b="0" i="0" u="none" strike="noStrike" cap="none">
              <a:solidFill>
                <a:schemeClr val="dk1"/>
              </a:solidFill>
              <a:latin typeface="PT Serif"/>
              <a:ea typeface="PT Serif"/>
              <a:cs typeface="PT Serif"/>
            </a:endParaRPr>
          </a:p>
        </p:txBody>
      </p:sp>
      <p:sp>
        <p:nvSpPr>
          <p:cNvPr id="11" name="Google Shape;337;p6">
            <a:extLst>
              <a:ext uri="{FF2B5EF4-FFF2-40B4-BE49-F238E27FC236}">
                <a16:creationId xmlns:a16="http://schemas.microsoft.com/office/drawing/2014/main" id="{B8747EB6-5160-4889-A9E1-0A810192FC7B}"/>
              </a:ext>
            </a:extLst>
          </p:cNvPr>
          <p:cNvSpPr txBox="1"/>
          <p:nvPr/>
        </p:nvSpPr>
        <p:spPr>
          <a:xfrm>
            <a:off x="419100" y="6408650"/>
            <a:ext cx="2723465" cy="276999"/>
          </a:xfrm>
          <a:prstGeom prst="rect">
            <a:avLst/>
          </a:prstGeom>
          <a:noFill/>
          <a:ln>
            <a:noFill/>
          </a:ln>
        </p:spPr>
        <p:txBody>
          <a:bodyPr spcFirstLastPara="1" wrap="square" lIns="0" tIns="45700" rIns="91425" bIns="45700" anchor="t" anchorCtr="0">
            <a:spAutoFit/>
          </a:bodyPr>
          <a:lstStyle/>
          <a:p>
            <a:pPr marL="0" marR="0" lvl="0" indent="0" algn="l" rtl="0">
              <a:spcBef>
                <a:spcPts val="0"/>
              </a:spcBef>
              <a:spcAft>
                <a:spcPts val="0"/>
              </a:spcAft>
              <a:buNone/>
            </a:pPr>
            <a:r>
              <a:rPr lang="en-US" sz="1200" b="0" i="0" u="none" strike="noStrike" cap="none">
                <a:solidFill>
                  <a:srgbClr val="747C74"/>
                </a:solidFill>
                <a:latin typeface="Source Sans Pro"/>
                <a:ea typeface="Source Sans Pro"/>
                <a:cs typeface="Source Sans Pro"/>
                <a:sym typeface="Source Sans Pro"/>
              </a:rPr>
              <a:t>04-19 Sprint 6 Demo</a:t>
            </a:r>
            <a:endParaRPr sz="1200" b="0" i="0" u="none" strike="noStrike" cap="none">
              <a:solidFill>
                <a:srgbClr val="747C74"/>
              </a:solidFill>
              <a:latin typeface="Calibri"/>
              <a:ea typeface="Calibri"/>
              <a:cs typeface="Calibri"/>
              <a:sym typeface="Calibri"/>
            </a:endParaRPr>
          </a:p>
        </p:txBody>
      </p:sp>
      <p:sp>
        <p:nvSpPr>
          <p:cNvPr id="614" name="Google Shape;614;p15"/>
          <p:cNvSpPr txBox="1"/>
          <p:nvPr/>
        </p:nvSpPr>
        <p:spPr>
          <a:xfrm>
            <a:off x="11474969" y="6356350"/>
            <a:ext cx="406052" cy="365125"/>
          </a:xfrm>
          <a:prstGeom prst="rect">
            <a:avLst/>
          </a:prstGeom>
          <a:noFill/>
          <a:ln>
            <a:noFill/>
          </a:ln>
        </p:spPr>
        <p:txBody>
          <a:bodyPr spcFirstLastPara="1" wrap="square" lIns="91425" tIns="45700" rIns="91425" bIns="45700" anchor="ctr" anchorCtr="0">
            <a:noAutofit/>
          </a:bodyPr>
          <a:lstStyle/>
          <a:p>
            <a:pPr marL="0" marR="0" lvl="0" indent="0" algn="r" rtl="0">
              <a:lnSpc>
                <a:spcPct val="100000"/>
              </a:lnSpc>
              <a:spcBef>
                <a:spcPts val="0"/>
              </a:spcBef>
              <a:spcAft>
                <a:spcPts val="0"/>
              </a:spcAft>
              <a:buClr>
                <a:srgbClr val="8A8A8A"/>
              </a:buClr>
              <a:buSzPts val="1200"/>
              <a:buFont typeface="Arial"/>
              <a:buNone/>
            </a:pPr>
            <a:fld id="{00000000-1234-1234-1234-123412341234}" type="slidenum">
              <a:rPr lang="en-US" sz="1200" b="0" i="0" u="none" strike="noStrike" cap="none">
                <a:solidFill>
                  <a:srgbClr val="8A8A8A"/>
                </a:solidFill>
                <a:latin typeface="Source Sans Pro"/>
                <a:ea typeface="Source Sans Pro"/>
                <a:cs typeface="Source Sans Pro"/>
                <a:sym typeface="Source Sans Pro"/>
              </a:rPr>
              <a:t>10</a:t>
            </a:fld>
            <a:endParaRPr sz="1200" b="0" i="0" u="none" strike="noStrike" cap="none">
              <a:solidFill>
                <a:srgbClr val="8A8A8A"/>
              </a:solidFill>
              <a:latin typeface="Source Sans Pro"/>
              <a:ea typeface="Source Sans Pro"/>
              <a:cs typeface="Source Sans Pro"/>
              <a:sym typeface="Source Sans Pro"/>
            </a:endParaRPr>
          </a:p>
        </p:txBody>
      </p:sp>
      <p:sp>
        <p:nvSpPr>
          <p:cNvPr id="10" name="Google Shape;470;p9">
            <a:extLst>
              <a:ext uri="{FF2B5EF4-FFF2-40B4-BE49-F238E27FC236}">
                <a16:creationId xmlns:a16="http://schemas.microsoft.com/office/drawing/2014/main" id="{07509EF3-7D95-47DB-B37C-6EF4E0F9EE9D}"/>
              </a:ext>
            </a:extLst>
          </p:cNvPr>
          <p:cNvSpPr txBox="1"/>
          <p:nvPr/>
        </p:nvSpPr>
        <p:spPr>
          <a:xfrm>
            <a:off x="10881407" y="6408650"/>
            <a:ext cx="759418" cy="276959"/>
          </a:xfrm>
          <a:prstGeom prst="rect">
            <a:avLst/>
          </a:prstGeom>
          <a:noFill/>
          <a:ln>
            <a:noFill/>
          </a:ln>
        </p:spPr>
        <p:txBody>
          <a:bodyPr spcFirstLastPara="1" wrap="square" lIns="91425" tIns="45700" rIns="91425" bIns="45700" anchor="t" anchorCtr="0">
            <a:spAutoFit/>
          </a:bodyPr>
          <a:lstStyle/>
          <a:p>
            <a:pPr marL="0" marR="0" lvl="0" indent="0" algn="r" rtl="0">
              <a:spcBef>
                <a:spcPts val="0"/>
              </a:spcBef>
              <a:spcAft>
                <a:spcPts val="0"/>
              </a:spcAft>
              <a:buClr>
                <a:srgbClr val="747C74"/>
              </a:buClr>
              <a:buSzPts val="1200"/>
              <a:buFont typeface="Source Sans Pro"/>
              <a:buNone/>
            </a:pPr>
            <a:r>
              <a:rPr lang="en-US" sz="1200">
                <a:solidFill>
                  <a:srgbClr val="747C74"/>
                </a:solidFill>
                <a:latin typeface="Source Sans Pro"/>
                <a:ea typeface="Source Sans Pro"/>
                <a:cs typeface="Calibri"/>
                <a:sym typeface="Source Sans Pro"/>
              </a:rPr>
              <a:t>Design</a:t>
            </a:r>
            <a:endParaRPr sz="1800" b="0" i="0" u="none" strike="noStrike" cap="none">
              <a:solidFill>
                <a:schemeClr val="dk1"/>
              </a:solidFill>
              <a:latin typeface="Calibri"/>
              <a:ea typeface="Calibri"/>
              <a:cs typeface="Calibri"/>
              <a:sym typeface="Calibri"/>
            </a:endParaRPr>
          </a:p>
        </p:txBody>
      </p:sp>
      <p:sp>
        <p:nvSpPr>
          <p:cNvPr id="12" name="Google Shape;605;p14">
            <a:extLst>
              <a:ext uri="{FF2B5EF4-FFF2-40B4-BE49-F238E27FC236}">
                <a16:creationId xmlns:a16="http://schemas.microsoft.com/office/drawing/2014/main" id="{2A18C4E8-C461-494D-81E4-7EB6C08B7B32}"/>
              </a:ext>
            </a:extLst>
          </p:cNvPr>
          <p:cNvSpPr txBox="1"/>
          <p:nvPr/>
        </p:nvSpPr>
        <p:spPr>
          <a:xfrm>
            <a:off x="415661" y="1777822"/>
            <a:ext cx="11059307" cy="1238801"/>
          </a:xfrm>
          <a:prstGeom prst="rect">
            <a:avLst/>
          </a:prstGeom>
          <a:noFill/>
          <a:ln>
            <a:noFill/>
          </a:ln>
        </p:spPr>
        <p:txBody>
          <a:bodyPr spcFirstLastPara="1" wrap="square" lIns="0" tIns="0" rIns="0" bIns="0" anchor="t" anchorCtr="0">
            <a:spAutoFit/>
          </a:bodyPr>
          <a:lstStyle/>
          <a:p>
            <a:pPr>
              <a:lnSpc>
                <a:spcPct val="115000"/>
              </a:lnSpc>
              <a:buSzPts val="1400"/>
            </a:pPr>
            <a:r>
              <a:rPr lang="en-US" b="0" i="0" strike="noStrike" cap="none">
                <a:solidFill>
                  <a:schemeClr val="tx1"/>
                </a:solidFill>
                <a:latin typeface="PT Serif"/>
                <a:ea typeface="PT Serif"/>
                <a:cs typeface="PT Serif"/>
                <a:sym typeface="PT Serif"/>
                <a:hlinkClick r:id="rId3"/>
              </a:rPr>
              <a:t>User Story</a:t>
            </a:r>
            <a:r>
              <a:rPr lang="en-US" b="0" i="0" strike="noStrike" cap="none">
                <a:solidFill>
                  <a:schemeClr val="tx1"/>
                </a:solidFill>
                <a:latin typeface="PT Serif"/>
                <a:ea typeface="PT Serif"/>
                <a:cs typeface="PT Serif"/>
                <a:sym typeface="PT Serif"/>
              </a:rPr>
              <a:t>:</a:t>
            </a:r>
            <a:r>
              <a:rPr lang="en-US">
                <a:solidFill>
                  <a:schemeClr val="tx1">
                    <a:lumMod val="50000"/>
                    <a:lumOff val="50000"/>
                  </a:schemeClr>
                </a:solidFill>
                <a:latin typeface="PT Serif"/>
                <a:ea typeface="PT Serif"/>
                <a:cs typeface="PT Serif"/>
                <a:sym typeface="PT Serif"/>
              </a:rPr>
              <a:t> Update materials for HEC and contact center to reflect address change using VA profile</a:t>
            </a:r>
            <a:endParaRPr lang="en-US">
              <a:solidFill>
                <a:schemeClr val="tx1">
                  <a:lumMod val="50000"/>
                  <a:lumOff val="50000"/>
                </a:schemeClr>
              </a:solidFill>
              <a:latin typeface="PT Serif"/>
              <a:ea typeface="PT Serif"/>
              <a:cs typeface="PT Serif"/>
            </a:endParaRPr>
          </a:p>
          <a:p>
            <a:pPr>
              <a:lnSpc>
                <a:spcPct val="115000"/>
              </a:lnSpc>
              <a:buSzPts val="1400"/>
            </a:pPr>
            <a:r>
              <a:rPr lang="en-US" b="0" i="0" strike="noStrike" cap="none">
                <a:solidFill>
                  <a:schemeClr val="tx1"/>
                </a:solidFill>
                <a:latin typeface="PT Serif"/>
                <a:ea typeface="PT Serif"/>
                <a:cs typeface="PT Serif"/>
                <a:sym typeface="PT Serif"/>
                <a:hlinkClick r:id="rId4"/>
              </a:rPr>
              <a:t>User Story</a:t>
            </a:r>
            <a:r>
              <a:rPr lang="en-US" b="0" i="0" strike="noStrike" cap="none">
                <a:solidFill>
                  <a:schemeClr val="tx1"/>
                </a:solidFill>
                <a:latin typeface="PT Serif"/>
                <a:ea typeface="PT Serif"/>
                <a:cs typeface="PT Serif"/>
                <a:sym typeface="PT Serif"/>
              </a:rPr>
              <a:t>:</a:t>
            </a:r>
            <a:r>
              <a:rPr lang="en-US">
                <a:solidFill>
                  <a:schemeClr val="tx1">
                    <a:lumMod val="50000"/>
                    <a:lumOff val="50000"/>
                  </a:schemeClr>
                </a:solidFill>
                <a:latin typeface="PT Serif"/>
                <a:ea typeface="PT Serif"/>
                <a:cs typeface="PT Serif"/>
                <a:sym typeface="PT Serif"/>
              </a:rPr>
              <a:t> Iterate designs to include content and address change by sitewide</a:t>
            </a:r>
          </a:p>
          <a:p>
            <a:pPr>
              <a:lnSpc>
                <a:spcPct val="115000"/>
              </a:lnSpc>
              <a:buSzPts val="1400"/>
            </a:pPr>
            <a:r>
              <a:rPr lang="en-US" b="0" i="0" strike="noStrike" cap="none">
                <a:solidFill>
                  <a:schemeClr val="tx1"/>
                </a:solidFill>
                <a:latin typeface="PT Serif"/>
                <a:ea typeface="PT Serif"/>
                <a:cs typeface="PT Serif"/>
                <a:sym typeface="PT Serif"/>
                <a:hlinkClick r:id="rId5"/>
              </a:rPr>
              <a:t>User Story</a:t>
            </a:r>
            <a:r>
              <a:rPr lang="en-US" b="0" i="0" strike="noStrike" cap="none">
                <a:solidFill>
                  <a:schemeClr val="tx1"/>
                </a:solidFill>
                <a:latin typeface="PT Serif"/>
                <a:ea typeface="PT Serif"/>
                <a:cs typeface="PT Serif"/>
                <a:sym typeface="PT Serif"/>
              </a:rPr>
              <a:t>: </a:t>
            </a:r>
            <a:r>
              <a:rPr lang="en-US">
                <a:solidFill>
                  <a:schemeClr val="tx1">
                    <a:lumMod val="50000"/>
                    <a:lumOff val="50000"/>
                  </a:schemeClr>
                </a:solidFill>
                <a:latin typeface="PT Serif"/>
                <a:ea typeface="PT Serif"/>
                <a:cs typeface="PT Serif"/>
                <a:sym typeface="PT Serif"/>
              </a:rPr>
              <a:t>Address change option built into landing page</a:t>
            </a:r>
            <a:endParaRPr lang="en-US">
              <a:solidFill>
                <a:schemeClr val="tx1">
                  <a:lumMod val="50000"/>
                  <a:lumOff val="50000"/>
                </a:schemeClr>
              </a:solidFill>
              <a:latin typeface="PT Serif"/>
              <a:ea typeface="PT Serif"/>
              <a:cs typeface="PT Serif"/>
            </a:endParaRPr>
          </a:p>
          <a:p>
            <a:pPr>
              <a:lnSpc>
                <a:spcPct val="115000"/>
              </a:lnSpc>
              <a:buSzPts val="1400"/>
            </a:pPr>
            <a:r>
              <a:rPr lang="en-US" b="0" i="0" strike="noStrike" cap="none">
                <a:solidFill>
                  <a:schemeClr val="tx1"/>
                </a:solidFill>
                <a:latin typeface="PT Serif"/>
                <a:ea typeface="PT Serif"/>
                <a:cs typeface="PT Serif"/>
                <a:sym typeface="PT Serif"/>
                <a:hlinkClick r:id="rId6"/>
              </a:rPr>
              <a:t>User Story</a:t>
            </a:r>
            <a:r>
              <a:rPr lang="en-US" b="0" i="0" strike="noStrike" cap="none">
                <a:solidFill>
                  <a:schemeClr val="tx1"/>
                </a:solidFill>
                <a:latin typeface="PT Serif"/>
                <a:ea typeface="PT Serif"/>
                <a:cs typeface="PT Serif"/>
                <a:sym typeface="PT Serif"/>
              </a:rPr>
              <a:t>: </a:t>
            </a:r>
            <a:r>
              <a:rPr lang="en-US">
                <a:solidFill>
                  <a:schemeClr val="tx1">
                    <a:lumMod val="50000"/>
                    <a:lumOff val="50000"/>
                  </a:schemeClr>
                </a:solidFill>
                <a:latin typeface="PT Serif"/>
                <a:ea typeface="PT Serif"/>
                <a:cs typeface="PT Serif"/>
                <a:sym typeface="PT Serif"/>
              </a:rPr>
              <a:t>Verify enrollment system address can be updated from profile</a:t>
            </a:r>
          </a:p>
          <a:p>
            <a:pPr>
              <a:lnSpc>
                <a:spcPct val="115000"/>
              </a:lnSpc>
              <a:buSzPts val="1400"/>
            </a:pPr>
            <a:endParaRPr lang="en-US">
              <a:solidFill>
                <a:schemeClr val="tx1">
                  <a:lumMod val="50000"/>
                  <a:lumOff val="50000"/>
                </a:schemeClr>
              </a:solidFill>
              <a:latin typeface="PT Serif"/>
              <a:ea typeface="PT Serif"/>
              <a:cs typeface="PT Serif"/>
            </a:endParaRPr>
          </a:p>
        </p:txBody>
      </p:sp>
      <p:sp>
        <p:nvSpPr>
          <p:cNvPr id="14" name="Google Shape;609;p14">
            <a:extLst>
              <a:ext uri="{FF2B5EF4-FFF2-40B4-BE49-F238E27FC236}">
                <a16:creationId xmlns:a16="http://schemas.microsoft.com/office/drawing/2014/main" id="{59B9098F-2628-4EF5-89DD-EDEFBCFB2940}"/>
              </a:ext>
            </a:extLst>
          </p:cNvPr>
          <p:cNvSpPr txBox="1"/>
          <p:nvPr/>
        </p:nvSpPr>
        <p:spPr>
          <a:xfrm>
            <a:off x="9131193" y="6122168"/>
            <a:ext cx="2743200" cy="276959"/>
          </a:xfrm>
          <a:prstGeom prst="rect">
            <a:avLst/>
          </a:prstGeom>
          <a:noFill/>
          <a:ln>
            <a:noFill/>
          </a:ln>
        </p:spPr>
        <p:txBody>
          <a:bodyPr spcFirstLastPara="1" wrap="square" lIns="91425" tIns="45700" rIns="91425" bIns="45700" anchor="t" anchorCtr="0">
            <a:spAutoFit/>
          </a:bodyPr>
          <a:lstStyle/>
          <a:p>
            <a:pPr marL="0" marR="0" lvl="0" indent="0" algn="r" rtl="0">
              <a:lnSpc>
                <a:spcPct val="100000"/>
              </a:lnSpc>
              <a:spcBef>
                <a:spcPts val="0"/>
              </a:spcBef>
              <a:spcAft>
                <a:spcPts val="0"/>
              </a:spcAft>
              <a:buClr>
                <a:srgbClr val="000000"/>
              </a:buClr>
              <a:buSzPts val="1400"/>
              <a:buFont typeface="Arial"/>
              <a:buNone/>
            </a:pPr>
            <a:r>
              <a:rPr lang="en-US" sz="1200">
                <a:solidFill>
                  <a:srgbClr val="000000"/>
                </a:solidFill>
                <a:latin typeface="Source Sans Pro"/>
                <a:ea typeface="Source Sans Pro"/>
                <a:sym typeface="Arial"/>
              </a:rPr>
              <a:t>Link</a:t>
            </a:r>
            <a:endParaRPr lang="en-US" sz="1200" b="0" i="0" strike="noStrike" cap="none">
              <a:solidFill>
                <a:srgbClr val="000000"/>
              </a:solidFill>
              <a:latin typeface="Source Sans Pro"/>
              <a:ea typeface="Source Sans Pro"/>
            </a:endParaRPr>
          </a:p>
        </p:txBody>
      </p:sp>
      <p:grpSp>
        <p:nvGrpSpPr>
          <p:cNvPr id="22" name="Google Shape;602;p14">
            <a:extLst>
              <a:ext uri="{FF2B5EF4-FFF2-40B4-BE49-F238E27FC236}">
                <a16:creationId xmlns:a16="http://schemas.microsoft.com/office/drawing/2014/main" id="{E4160E5C-A9CF-4FF0-B104-181C5EB04A46}"/>
              </a:ext>
            </a:extLst>
          </p:cNvPr>
          <p:cNvGrpSpPr/>
          <p:nvPr/>
        </p:nvGrpSpPr>
        <p:grpSpPr>
          <a:xfrm>
            <a:off x="410431" y="309109"/>
            <a:ext cx="998938" cy="369094"/>
            <a:chOff x="410431" y="309109"/>
            <a:chExt cx="998938" cy="369094"/>
          </a:xfrm>
        </p:grpSpPr>
        <p:sp>
          <p:nvSpPr>
            <p:cNvPr id="23" name="Google Shape;603;p14">
              <a:extLst>
                <a:ext uri="{FF2B5EF4-FFF2-40B4-BE49-F238E27FC236}">
                  <a16:creationId xmlns:a16="http://schemas.microsoft.com/office/drawing/2014/main" id="{9D228F6C-A9CC-4A23-B9AE-2CB7707DF80F}"/>
                </a:ext>
              </a:extLst>
            </p:cNvPr>
            <p:cNvSpPr/>
            <p:nvPr/>
          </p:nvSpPr>
          <p:spPr>
            <a:xfrm>
              <a:off x="410431" y="313703"/>
              <a:ext cx="255129" cy="263129"/>
            </a:xfrm>
            <a:prstGeom prst="ellipse">
              <a:avLst/>
            </a:prstGeom>
            <a:solidFill>
              <a:srgbClr val="014479"/>
            </a:solidFill>
            <a:ln>
              <a:noFill/>
            </a:ln>
          </p:spPr>
          <p:txBody>
            <a:bodyPr spcFirstLastPara="1" wrap="square" lIns="0" tIns="0" rIns="0" bIns="0" anchor="ctr" anchorCtr="1">
              <a:noAutofit/>
            </a:bodyPr>
            <a:lstStyle/>
            <a:p>
              <a:pPr marL="0" marR="0" lvl="0" indent="0" algn="ctr" rtl="0">
                <a:lnSpc>
                  <a:spcPct val="100000"/>
                </a:lnSpc>
                <a:spcBef>
                  <a:spcPts val="0"/>
                </a:spcBef>
                <a:spcAft>
                  <a:spcPts val="0"/>
                </a:spcAft>
                <a:buClr>
                  <a:srgbClr val="FFFFFF"/>
                </a:buClr>
                <a:buSzPts val="3600"/>
                <a:buFont typeface="PT Serif"/>
                <a:buNone/>
              </a:pPr>
              <a:r>
                <a:rPr lang="en-US" sz="1200">
                  <a:solidFill>
                    <a:srgbClr val="FFFFFF"/>
                  </a:solidFill>
                  <a:latin typeface="PT Serif"/>
                  <a:sym typeface="PT Serif"/>
                </a:rPr>
                <a:t>1</a:t>
              </a:r>
              <a:endParaRPr sz="1200" b="0" i="0" u="none" strike="noStrike" cap="none">
                <a:solidFill>
                  <a:srgbClr val="000000"/>
                </a:solidFill>
                <a:latin typeface="Arial"/>
                <a:ea typeface="Arial"/>
                <a:cs typeface="Arial"/>
                <a:sym typeface="Arial"/>
              </a:endParaRPr>
            </a:p>
          </p:txBody>
        </p:sp>
        <p:sp>
          <p:nvSpPr>
            <p:cNvPr id="24" name="Google Shape;604;p14">
              <a:extLst>
                <a:ext uri="{FF2B5EF4-FFF2-40B4-BE49-F238E27FC236}">
                  <a16:creationId xmlns:a16="http://schemas.microsoft.com/office/drawing/2014/main" id="{3618B1B6-794D-4E00-818D-3429C5DB7D1F}"/>
                </a:ext>
              </a:extLst>
            </p:cNvPr>
            <p:cNvSpPr txBox="1"/>
            <p:nvPr/>
          </p:nvSpPr>
          <p:spPr>
            <a:xfrm>
              <a:off x="736498" y="309109"/>
              <a:ext cx="672871" cy="369094"/>
            </a:xfrm>
            <a:prstGeom prst="rect">
              <a:avLst/>
            </a:prstGeom>
            <a:noFill/>
            <a:ln>
              <a:noFill/>
            </a:ln>
          </p:spPr>
          <p:txBody>
            <a:bodyPr spcFirstLastPara="1" wrap="square" lIns="0" tIns="45700" rIns="0" bIns="45700" anchor="t" anchorCtr="0">
              <a:normAutofit/>
            </a:bodyPr>
            <a:lstStyle/>
            <a:p>
              <a:pPr marL="0" marR="0" lvl="0" indent="0" algn="l" rtl="0">
                <a:lnSpc>
                  <a:spcPct val="100000"/>
                </a:lnSpc>
                <a:spcBef>
                  <a:spcPts val="0"/>
                </a:spcBef>
                <a:spcAft>
                  <a:spcPts val="0"/>
                </a:spcAft>
                <a:buClr>
                  <a:srgbClr val="000000"/>
                </a:buClr>
                <a:buSzPts val="1400"/>
                <a:buFont typeface="Arial"/>
                <a:buNone/>
              </a:pPr>
              <a:r>
                <a:rPr lang="en-US" sz="1400" b="0" i="0" u="none" strike="noStrike" cap="none">
                  <a:solidFill>
                    <a:srgbClr val="0071BF"/>
                  </a:solidFill>
                  <a:latin typeface="Source Sans Pro"/>
                  <a:ea typeface="Source Sans Pro"/>
                  <a:cs typeface="Source Sans Pro"/>
                  <a:sym typeface="Source Sans Pro"/>
                </a:rPr>
                <a:t>DESIGN</a:t>
              </a:r>
              <a:endParaRPr sz="1400" b="0" i="0" u="none" strike="noStrike" cap="none">
                <a:solidFill>
                  <a:srgbClr val="000000"/>
                </a:solidFill>
                <a:latin typeface="Arial"/>
                <a:ea typeface="Arial"/>
                <a:cs typeface="Arial"/>
                <a:sym typeface="Arial"/>
              </a:endParaRPr>
            </a:p>
          </p:txBody>
        </p:sp>
      </p:grpSp>
      <p:grpSp>
        <p:nvGrpSpPr>
          <p:cNvPr id="25" name="Google Shape;602;p14">
            <a:extLst>
              <a:ext uri="{FF2B5EF4-FFF2-40B4-BE49-F238E27FC236}">
                <a16:creationId xmlns:a16="http://schemas.microsoft.com/office/drawing/2014/main" id="{19FA68F1-91E8-41EB-9653-003E63010358}"/>
              </a:ext>
            </a:extLst>
          </p:cNvPr>
          <p:cNvGrpSpPr/>
          <p:nvPr/>
        </p:nvGrpSpPr>
        <p:grpSpPr>
          <a:xfrm>
            <a:off x="1490697" y="289402"/>
            <a:ext cx="1123749" cy="369094"/>
            <a:chOff x="410431" y="309109"/>
            <a:chExt cx="1123749" cy="369094"/>
          </a:xfrm>
        </p:grpSpPr>
        <p:sp>
          <p:nvSpPr>
            <p:cNvPr id="26" name="Google Shape;603;p14">
              <a:extLst>
                <a:ext uri="{FF2B5EF4-FFF2-40B4-BE49-F238E27FC236}">
                  <a16:creationId xmlns:a16="http://schemas.microsoft.com/office/drawing/2014/main" id="{32ECCC79-9515-4A87-AC22-D5CDB6812382}"/>
                </a:ext>
              </a:extLst>
            </p:cNvPr>
            <p:cNvSpPr/>
            <p:nvPr/>
          </p:nvSpPr>
          <p:spPr>
            <a:xfrm>
              <a:off x="410431" y="313703"/>
              <a:ext cx="255129" cy="263129"/>
            </a:xfrm>
            <a:prstGeom prst="ellipse">
              <a:avLst/>
            </a:prstGeom>
            <a:solidFill>
              <a:srgbClr val="014479"/>
            </a:solidFill>
            <a:ln>
              <a:noFill/>
            </a:ln>
          </p:spPr>
          <p:txBody>
            <a:bodyPr spcFirstLastPara="1" wrap="square" lIns="0" tIns="0" rIns="0" bIns="0" anchor="ctr" anchorCtr="1">
              <a:noAutofit/>
            </a:bodyPr>
            <a:lstStyle/>
            <a:p>
              <a:pPr marL="0" marR="0" lvl="0" indent="0" algn="ctr" rtl="0">
                <a:lnSpc>
                  <a:spcPct val="100000"/>
                </a:lnSpc>
                <a:spcBef>
                  <a:spcPts val="0"/>
                </a:spcBef>
                <a:spcAft>
                  <a:spcPts val="0"/>
                </a:spcAft>
                <a:buClr>
                  <a:srgbClr val="FFFFFF"/>
                </a:buClr>
                <a:buSzPts val="3600"/>
                <a:buFont typeface="PT Serif"/>
                <a:buNone/>
              </a:pPr>
              <a:r>
                <a:rPr lang="en-US" sz="1200">
                  <a:solidFill>
                    <a:srgbClr val="FFFFFF"/>
                  </a:solidFill>
                  <a:latin typeface="PT Serif"/>
                </a:rPr>
                <a:t>3</a:t>
              </a:r>
              <a:endParaRPr lang="en-US" sz="1200" b="0" i="0" u="none" strike="noStrike" cap="none">
                <a:solidFill>
                  <a:srgbClr val="FFFFFF"/>
                </a:solidFill>
                <a:latin typeface="PT Serif"/>
                <a:ea typeface="Arial"/>
                <a:cs typeface="Arial"/>
              </a:endParaRPr>
            </a:p>
          </p:txBody>
        </p:sp>
        <p:sp>
          <p:nvSpPr>
            <p:cNvPr id="27" name="Google Shape;604;p14">
              <a:extLst>
                <a:ext uri="{FF2B5EF4-FFF2-40B4-BE49-F238E27FC236}">
                  <a16:creationId xmlns:a16="http://schemas.microsoft.com/office/drawing/2014/main" id="{F1EEA2E4-1754-4C80-882D-8E1233467FCD}"/>
                </a:ext>
              </a:extLst>
            </p:cNvPr>
            <p:cNvSpPr txBox="1"/>
            <p:nvPr/>
          </p:nvSpPr>
          <p:spPr>
            <a:xfrm>
              <a:off x="736498" y="309109"/>
              <a:ext cx="797682" cy="369094"/>
            </a:xfrm>
            <a:prstGeom prst="rect">
              <a:avLst/>
            </a:prstGeom>
            <a:noFill/>
            <a:ln>
              <a:noFill/>
            </a:ln>
          </p:spPr>
          <p:txBody>
            <a:bodyPr spcFirstLastPara="1" wrap="square" lIns="0" tIns="45700" rIns="0" bIns="45700" anchor="t" anchorCtr="0">
              <a:normAutofit/>
            </a:bodyPr>
            <a:lstStyle/>
            <a:p>
              <a:pPr marL="0" marR="0" lvl="0" indent="0" algn="l">
                <a:lnSpc>
                  <a:spcPct val="100000"/>
                </a:lnSpc>
                <a:spcBef>
                  <a:spcPts val="0"/>
                </a:spcBef>
                <a:spcAft>
                  <a:spcPts val="0"/>
                </a:spcAft>
                <a:buNone/>
              </a:pPr>
              <a:r>
                <a:rPr lang="en-US">
                  <a:solidFill>
                    <a:srgbClr val="0071BF"/>
                  </a:solidFill>
                  <a:latin typeface="Source Sans Pro"/>
                  <a:ea typeface="Source Sans Pro"/>
                  <a:sym typeface="Source Sans Pro"/>
                </a:rPr>
                <a:t>PRODUCT</a:t>
              </a:r>
              <a:endParaRPr lang="en-US"/>
            </a:p>
          </p:txBody>
        </p:sp>
      </p:grpSp>
      <p:sp>
        <p:nvSpPr>
          <p:cNvPr id="4" name="TextBox 3">
            <a:extLst>
              <a:ext uri="{FF2B5EF4-FFF2-40B4-BE49-F238E27FC236}">
                <a16:creationId xmlns:a16="http://schemas.microsoft.com/office/drawing/2014/main" id="{B25D378A-79B3-65AA-DC9F-01048A344D42}"/>
              </a:ext>
            </a:extLst>
          </p:cNvPr>
          <p:cNvSpPr txBox="1"/>
          <p:nvPr/>
        </p:nvSpPr>
        <p:spPr>
          <a:xfrm>
            <a:off x="192243" y="3125693"/>
            <a:ext cx="2743199" cy="2462213"/>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5750" indent="-285750">
              <a:buChar char="•"/>
            </a:pPr>
            <a:r>
              <a:rPr lang="en-US">
                <a:latin typeface="PT Serif"/>
              </a:rPr>
              <a:t>Confirmed that if a Veteran updates their address in VA profile, it's reflected in the HEC enrollment system, and vice versa</a:t>
            </a:r>
          </a:p>
          <a:p>
            <a:pPr marL="285750" indent="-285750">
              <a:buChar char="•"/>
            </a:pPr>
            <a:r>
              <a:rPr lang="en-US">
                <a:latin typeface="PT Serif"/>
              </a:rPr>
              <a:t>If a Veteran updates their address on profile, they still must wait up to four days to receive a corrected 1095-B</a:t>
            </a:r>
          </a:p>
          <a:p>
            <a:pPr marL="285750" indent="-285750">
              <a:buChar char="•"/>
            </a:pPr>
            <a:r>
              <a:rPr lang="en-US">
                <a:latin typeface="PT Serif"/>
              </a:rPr>
              <a:t>Communicated changes to sitewide team</a:t>
            </a:r>
          </a:p>
        </p:txBody>
      </p:sp>
      <p:pic>
        <p:nvPicPr>
          <p:cNvPr id="6" name="Picture 3" descr="Graphical user interface, text, application, email&#10;&#10;Description automatically generated">
            <a:extLst>
              <a:ext uri="{FF2B5EF4-FFF2-40B4-BE49-F238E27FC236}">
                <a16:creationId xmlns:a16="http://schemas.microsoft.com/office/drawing/2014/main" id="{AE5C0E55-70AC-1F15-A92B-02C62068F4FC}"/>
              </a:ext>
            </a:extLst>
          </p:cNvPr>
          <p:cNvPicPr>
            <a:picLocks noChangeAspect="1"/>
          </p:cNvPicPr>
          <p:nvPr/>
        </p:nvPicPr>
        <p:blipFill>
          <a:blip r:embed="rId7"/>
          <a:stretch>
            <a:fillRect/>
          </a:stretch>
        </p:blipFill>
        <p:spPr>
          <a:xfrm>
            <a:off x="8803862" y="1341619"/>
            <a:ext cx="3211356" cy="4663458"/>
          </a:xfrm>
          <a:prstGeom prst="rect">
            <a:avLst/>
          </a:prstGeom>
          <a:ln>
            <a:solidFill>
              <a:schemeClr val="tx2">
                <a:lumMod val="90000"/>
              </a:schemeClr>
            </a:solidFill>
          </a:ln>
        </p:spPr>
      </p:pic>
      <p:pic>
        <p:nvPicPr>
          <p:cNvPr id="8" name="Picture 7">
            <a:extLst>
              <a:ext uri="{FF2B5EF4-FFF2-40B4-BE49-F238E27FC236}">
                <a16:creationId xmlns:a16="http://schemas.microsoft.com/office/drawing/2014/main" id="{BC5714B0-CF26-4B11-B42D-0D84AED57A5C}"/>
              </a:ext>
            </a:extLst>
          </p:cNvPr>
          <p:cNvPicPr>
            <a:picLocks noChangeAspect="1"/>
          </p:cNvPicPr>
          <p:nvPr/>
        </p:nvPicPr>
        <p:blipFill>
          <a:blip r:embed="rId8"/>
          <a:stretch>
            <a:fillRect/>
          </a:stretch>
        </p:blipFill>
        <p:spPr>
          <a:xfrm>
            <a:off x="3069390" y="3175480"/>
            <a:ext cx="5734472" cy="2829597"/>
          </a:xfrm>
          <a:prstGeom prst="rect">
            <a:avLst/>
          </a:prstGeom>
          <a:ln>
            <a:solidFill>
              <a:schemeClr val="tx2">
                <a:lumMod val="90000"/>
              </a:schemeClr>
            </a:solidFill>
          </a:ln>
        </p:spPr>
      </p:pic>
    </p:spTree>
    <p:extLst>
      <p:ext uri="{BB962C8B-B14F-4D97-AF65-F5344CB8AC3E}">
        <p14:creationId xmlns:p14="http://schemas.microsoft.com/office/powerpoint/2010/main" val="372067334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Shape 613"/>
        <p:cNvGrpSpPr/>
        <p:nvPr/>
      </p:nvGrpSpPr>
      <p:grpSpPr>
        <a:xfrm>
          <a:off x="0" y="0"/>
          <a:ext cx="0" cy="0"/>
          <a:chOff x="0" y="0"/>
          <a:chExt cx="0" cy="0"/>
        </a:xfrm>
      </p:grpSpPr>
      <p:sp>
        <p:nvSpPr>
          <p:cNvPr id="616" name="Google Shape;616;p15"/>
          <p:cNvSpPr txBox="1"/>
          <p:nvPr/>
        </p:nvSpPr>
        <p:spPr>
          <a:xfrm>
            <a:off x="410079" y="750806"/>
            <a:ext cx="11064890" cy="2035841"/>
          </a:xfrm>
          <a:prstGeom prst="rect">
            <a:avLst/>
          </a:prstGeom>
          <a:noFill/>
          <a:ln>
            <a:noFill/>
          </a:ln>
        </p:spPr>
        <p:txBody>
          <a:bodyPr spcFirstLastPara="1" wrap="square" lIns="0" tIns="0" rIns="0" bIns="0" anchor="t" anchorCtr="0">
            <a:noAutofit/>
          </a:bodyPr>
          <a:lstStyle/>
          <a:p>
            <a:pPr>
              <a:lnSpc>
                <a:spcPct val="90000"/>
              </a:lnSpc>
              <a:buClr>
                <a:schemeClr val="dk1"/>
              </a:buClr>
              <a:buSzPts val="3600"/>
            </a:pPr>
            <a:r>
              <a:rPr lang="en-US" sz="2800">
                <a:solidFill>
                  <a:schemeClr val="dk1"/>
                </a:solidFill>
                <a:latin typeface="PT Serif"/>
                <a:ea typeface="PT Serif"/>
                <a:cs typeface="PT Serif"/>
                <a:sym typeface="PT Serif"/>
              </a:rPr>
              <a:t>We drafted a final confirmation notification for a Veteran who opts-in to digital delivery</a:t>
            </a:r>
            <a:endParaRPr lang="en-US" sz="2800" b="0" i="0" u="none" strike="noStrike" cap="none">
              <a:solidFill>
                <a:schemeClr val="dk1"/>
              </a:solidFill>
              <a:latin typeface="PT Serif"/>
              <a:ea typeface="PT Serif"/>
              <a:cs typeface="PT Serif"/>
            </a:endParaRPr>
          </a:p>
        </p:txBody>
      </p:sp>
      <p:grpSp>
        <p:nvGrpSpPr>
          <p:cNvPr id="9" name="Google Shape;602;p14">
            <a:extLst>
              <a:ext uri="{FF2B5EF4-FFF2-40B4-BE49-F238E27FC236}">
                <a16:creationId xmlns:a16="http://schemas.microsoft.com/office/drawing/2014/main" id="{05E19E48-B4E9-449E-A058-92E5CEAB7640}"/>
              </a:ext>
            </a:extLst>
          </p:cNvPr>
          <p:cNvGrpSpPr/>
          <p:nvPr/>
        </p:nvGrpSpPr>
        <p:grpSpPr>
          <a:xfrm>
            <a:off x="410431" y="309109"/>
            <a:ext cx="5150524" cy="369094"/>
            <a:chOff x="410431" y="309109"/>
            <a:chExt cx="5150524" cy="369094"/>
          </a:xfrm>
        </p:grpSpPr>
        <p:sp>
          <p:nvSpPr>
            <p:cNvPr id="20" name="Google Shape;603;p14">
              <a:extLst>
                <a:ext uri="{FF2B5EF4-FFF2-40B4-BE49-F238E27FC236}">
                  <a16:creationId xmlns:a16="http://schemas.microsoft.com/office/drawing/2014/main" id="{9E7075AF-F616-4520-BC84-0C46B1F8E3E8}"/>
                </a:ext>
              </a:extLst>
            </p:cNvPr>
            <p:cNvSpPr/>
            <p:nvPr/>
          </p:nvSpPr>
          <p:spPr>
            <a:xfrm>
              <a:off x="410431" y="313703"/>
              <a:ext cx="255129" cy="263129"/>
            </a:xfrm>
            <a:prstGeom prst="ellipse">
              <a:avLst/>
            </a:prstGeom>
            <a:solidFill>
              <a:srgbClr val="014479"/>
            </a:solidFill>
            <a:ln>
              <a:noFill/>
            </a:ln>
          </p:spPr>
          <p:txBody>
            <a:bodyPr spcFirstLastPara="1" wrap="square" lIns="0" tIns="0" rIns="0" bIns="0" anchor="ctr" anchorCtr="1">
              <a:noAutofit/>
            </a:bodyPr>
            <a:lstStyle/>
            <a:p>
              <a:pPr marL="0" marR="0" lvl="0" indent="0" algn="ctr" rtl="0">
                <a:lnSpc>
                  <a:spcPct val="100000"/>
                </a:lnSpc>
                <a:spcBef>
                  <a:spcPts val="0"/>
                </a:spcBef>
                <a:spcAft>
                  <a:spcPts val="0"/>
                </a:spcAft>
                <a:buClr>
                  <a:srgbClr val="FFFFFF"/>
                </a:buClr>
                <a:buSzPts val="3600"/>
                <a:buFont typeface="PT Serif"/>
                <a:buNone/>
              </a:pPr>
              <a:r>
                <a:rPr lang="en-US" sz="1200">
                  <a:solidFill>
                    <a:srgbClr val="FFFFFF"/>
                  </a:solidFill>
                  <a:latin typeface="PT Serif"/>
                  <a:sym typeface="PT Serif"/>
                </a:rPr>
                <a:t>1</a:t>
              </a:r>
              <a:endParaRPr sz="1200" b="0" i="0" u="none" strike="noStrike" cap="none">
                <a:solidFill>
                  <a:srgbClr val="000000"/>
                </a:solidFill>
                <a:latin typeface="Arial"/>
                <a:ea typeface="Arial"/>
                <a:cs typeface="Arial"/>
                <a:sym typeface="Arial"/>
              </a:endParaRPr>
            </a:p>
          </p:txBody>
        </p:sp>
        <p:sp>
          <p:nvSpPr>
            <p:cNvPr id="21" name="Google Shape;604;p14">
              <a:extLst>
                <a:ext uri="{FF2B5EF4-FFF2-40B4-BE49-F238E27FC236}">
                  <a16:creationId xmlns:a16="http://schemas.microsoft.com/office/drawing/2014/main" id="{3FF578D4-4FB2-4797-A4AC-7C286ECC3CC1}"/>
                </a:ext>
              </a:extLst>
            </p:cNvPr>
            <p:cNvSpPr txBox="1"/>
            <p:nvPr/>
          </p:nvSpPr>
          <p:spPr>
            <a:xfrm>
              <a:off x="736498" y="309109"/>
              <a:ext cx="4824457" cy="369094"/>
            </a:xfrm>
            <a:prstGeom prst="rect">
              <a:avLst/>
            </a:prstGeom>
            <a:noFill/>
            <a:ln>
              <a:noFill/>
            </a:ln>
          </p:spPr>
          <p:txBody>
            <a:bodyPr spcFirstLastPara="1" wrap="square" lIns="0" tIns="45700" rIns="0" bIns="45700" anchor="t" anchorCtr="0">
              <a:normAutofit/>
            </a:bodyPr>
            <a:lstStyle/>
            <a:p>
              <a:pPr marL="0" marR="0" lvl="0" indent="0" algn="l" rtl="0">
                <a:lnSpc>
                  <a:spcPct val="100000"/>
                </a:lnSpc>
                <a:spcBef>
                  <a:spcPts val="0"/>
                </a:spcBef>
                <a:spcAft>
                  <a:spcPts val="0"/>
                </a:spcAft>
                <a:buClr>
                  <a:srgbClr val="000000"/>
                </a:buClr>
                <a:buSzPts val="1400"/>
                <a:buFont typeface="Arial"/>
                <a:buNone/>
              </a:pPr>
              <a:r>
                <a:rPr lang="en-US" sz="1400" b="0" i="0" u="none" strike="noStrike" cap="none">
                  <a:solidFill>
                    <a:srgbClr val="0071BF"/>
                  </a:solidFill>
                  <a:latin typeface="Source Sans Pro"/>
                  <a:ea typeface="Source Sans Pro"/>
                  <a:cs typeface="Source Sans Pro"/>
                  <a:sym typeface="Source Sans Pro"/>
                </a:rPr>
                <a:t>DESIGN</a:t>
              </a:r>
              <a:endParaRPr sz="1400" b="0" i="0" u="none" strike="noStrike" cap="none">
                <a:solidFill>
                  <a:srgbClr val="000000"/>
                </a:solidFill>
                <a:latin typeface="Arial"/>
                <a:ea typeface="Arial"/>
                <a:cs typeface="Arial"/>
                <a:sym typeface="Arial"/>
              </a:endParaRPr>
            </a:p>
          </p:txBody>
        </p:sp>
      </p:grpSp>
      <p:sp>
        <p:nvSpPr>
          <p:cNvPr id="11" name="Google Shape;337;p6">
            <a:extLst>
              <a:ext uri="{FF2B5EF4-FFF2-40B4-BE49-F238E27FC236}">
                <a16:creationId xmlns:a16="http://schemas.microsoft.com/office/drawing/2014/main" id="{B8747EB6-5160-4889-A9E1-0A810192FC7B}"/>
              </a:ext>
            </a:extLst>
          </p:cNvPr>
          <p:cNvSpPr txBox="1"/>
          <p:nvPr/>
        </p:nvSpPr>
        <p:spPr>
          <a:xfrm>
            <a:off x="419100" y="6408650"/>
            <a:ext cx="2723465" cy="276999"/>
          </a:xfrm>
          <a:prstGeom prst="rect">
            <a:avLst/>
          </a:prstGeom>
          <a:noFill/>
          <a:ln>
            <a:noFill/>
          </a:ln>
        </p:spPr>
        <p:txBody>
          <a:bodyPr spcFirstLastPara="1" wrap="square" lIns="0" tIns="45700" rIns="91425" bIns="45700" anchor="t" anchorCtr="0">
            <a:spAutoFit/>
          </a:bodyPr>
          <a:lstStyle/>
          <a:p>
            <a:pPr marL="0" marR="0" lvl="0" indent="0" algn="l" rtl="0">
              <a:spcBef>
                <a:spcPts val="0"/>
              </a:spcBef>
              <a:spcAft>
                <a:spcPts val="0"/>
              </a:spcAft>
              <a:buNone/>
            </a:pPr>
            <a:r>
              <a:rPr lang="en-US" sz="1200" b="0" i="0" u="none" strike="noStrike" cap="none">
                <a:solidFill>
                  <a:srgbClr val="747C74"/>
                </a:solidFill>
                <a:latin typeface="Source Sans Pro"/>
                <a:ea typeface="Source Sans Pro"/>
                <a:cs typeface="Source Sans Pro"/>
                <a:sym typeface="Source Sans Pro"/>
              </a:rPr>
              <a:t>04-19 Sprint 6 Demo</a:t>
            </a:r>
            <a:endParaRPr sz="1200" b="0" i="0" u="none" strike="noStrike" cap="none">
              <a:solidFill>
                <a:srgbClr val="747C74"/>
              </a:solidFill>
              <a:latin typeface="Calibri"/>
              <a:ea typeface="Calibri"/>
              <a:cs typeface="Calibri"/>
              <a:sym typeface="Calibri"/>
            </a:endParaRPr>
          </a:p>
        </p:txBody>
      </p:sp>
      <p:sp>
        <p:nvSpPr>
          <p:cNvPr id="614" name="Google Shape;614;p15"/>
          <p:cNvSpPr txBox="1"/>
          <p:nvPr/>
        </p:nvSpPr>
        <p:spPr>
          <a:xfrm>
            <a:off x="11474969" y="6356350"/>
            <a:ext cx="406052" cy="365125"/>
          </a:xfrm>
          <a:prstGeom prst="rect">
            <a:avLst/>
          </a:prstGeom>
          <a:noFill/>
          <a:ln>
            <a:noFill/>
          </a:ln>
        </p:spPr>
        <p:txBody>
          <a:bodyPr spcFirstLastPara="1" wrap="square" lIns="91425" tIns="45700" rIns="91425" bIns="45700" anchor="ctr" anchorCtr="0">
            <a:noAutofit/>
          </a:bodyPr>
          <a:lstStyle/>
          <a:p>
            <a:pPr marL="0" marR="0" lvl="0" indent="0" algn="r" rtl="0">
              <a:lnSpc>
                <a:spcPct val="100000"/>
              </a:lnSpc>
              <a:spcBef>
                <a:spcPts val="0"/>
              </a:spcBef>
              <a:spcAft>
                <a:spcPts val="0"/>
              </a:spcAft>
              <a:buClr>
                <a:srgbClr val="8A8A8A"/>
              </a:buClr>
              <a:buSzPts val="1200"/>
              <a:buFont typeface="Arial"/>
              <a:buNone/>
            </a:pPr>
            <a:fld id="{00000000-1234-1234-1234-123412341234}" type="slidenum">
              <a:rPr lang="en-US" sz="1200" b="0" i="0" u="none" strike="noStrike" cap="none">
                <a:solidFill>
                  <a:srgbClr val="8A8A8A"/>
                </a:solidFill>
                <a:latin typeface="Source Sans Pro"/>
                <a:ea typeface="Source Sans Pro"/>
                <a:cs typeface="Source Sans Pro"/>
                <a:sym typeface="Source Sans Pro"/>
              </a:rPr>
              <a:t>11</a:t>
            </a:fld>
            <a:endParaRPr sz="1200" b="0" i="0" u="none" strike="noStrike" cap="none">
              <a:solidFill>
                <a:srgbClr val="8A8A8A"/>
              </a:solidFill>
              <a:latin typeface="Source Sans Pro"/>
              <a:ea typeface="Source Sans Pro"/>
              <a:cs typeface="Source Sans Pro"/>
              <a:sym typeface="Source Sans Pro"/>
            </a:endParaRPr>
          </a:p>
        </p:txBody>
      </p:sp>
      <p:sp>
        <p:nvSpPr>
          <p:cNvPr id="10" name="Google Shape;470;p9">
            <a:extLst>
              <a:ext uri="{FF2B5EF4-FFF2-40B4-BE49-F238E27FC236}">
                <a16:creationId xmlns:a16="http://schemas.microsoft.com/office/drawing/2014/main" id="{07509EF3-7D95-47DB-B37C-6EF4E0F9EE9D}"/>
              </a:ext>
            </a:extLst>
          </p:cNvPr>
          <p:cNvSpPr txBox="1"/>
          <p:nvPr/>
        </p:nvSpPr>
        <p:spPr>
          <a:xfrm>
            <a:off x="10881407" y="6408650"/>
            <a:ext cx="759418" cy="276959"/>
          </a:xfrm>
          <a:prstGeom prst="rect">
            <a:avLst/>
          </a:prstGeom>
          <a:noFill/>
          <a:ln>
            <a:noFill/>
          </a:ln>
        </p:spPr>
        <p:txBody>
          <a:bodyPr spcFirstLastPara="1" wrap="square" lIns="91425" tIns="45700" rIns="91425" bIns="45700" anchor="t" anchorCtr="0">
            <a:spAutoFit/>
          </a:bodyPr>
          <a:lstStyle/>
          <a:p>
            <a:pPr marL="0" marR="0" lvl="0" indent="0" algn="r" rtl="0">
              <a:spcBef>
                <a:spcPts val="0"/>
              </a:spcBef>
              <a:spcAft>
                <a:spcPts val="0"/>
              </a:spcAft>
              <a:buClr>
                <a:srgbClr val="747C74"/>
              </a:buClr>
              <a:buSzPts val="1200"/>
              <a:buFont typeface="Source Sans Pro"/>
              <a:buNone/>
            </a:pPr>
            <a:r>
              <a:rPr lang="en-US" sz="1200">
                <a:solidFill>
                  <a:srgbClr val="747C74"/>
                </a:solidFill>
                <a:latin typeface="Source Sans Pro"/>
                <a:ea typeface="Source Sans Pro"/>
                <a:cs typeface="Calibri"/>
                <a:sym typeface="Source Sans Pro"/>
              </a:rPr>
              <a:t>Design</a:t>
            </a:r>
            <a:endParaRPr sz="1800" b="0" i="0" u="none" strike="noStrike" cap="none">
              <a:solidFill>
                <a:schemeClr val="dk1"/>
              </a:solidFill>
              <a:latin typeface="Calibri"/>
              <a:ea typeface="Calibri"/>
              <a:cs typeface="Calibri"/>
              <a:sym typeface="Calibri"/>
            </a:endParaRPr>
          </a:p>
        </p:txBody>
      </p:sp>
      <p:sp>
        <p:nvSpPr>
          <p:cNvPr id="12" name="Google Shape;605;p14">
            <a:extLst>
              <a:ext uri="{FF2B5EF4-FFF2-40B4-BE49-F238E27FC236}">
                <a16:creationId xmlns:a16="http://schemas.microsoft.com/office/drawing/2014/main" id="{2A18C4E8-C461-494D-81E4-7EB6C08B7B32}"/>
              </a:ext>
            </a:extLst>
          </p:cNvPr>
          <p:cNvSpPr txBox="1"/>
          <p:nvPr/>
        </p:nvSpPr>
        <p:spPr>
          <a:xfrm>
            <a:off x="422230" y="1771254"/>
            <a:ext cx="2687519" cy="991041"/>
          </a:xfrm>
          <a:prstGeom prst="rect">
            <a:avLst/>
          </a:prstGeom>
          <a:noFill/>
          <a:ln>
            <a:noFill/>
          </a:ln>
        </p:spPr>
        <p:txBody>
          <a:bodyPr spcFirstLastPara="1" wrap="square" lIns="0" tIns="0" rIns="0" bIns="0" anchor="t" anchorCtr="0">
            <a:spAutoFit/>
          </a:bodyPr>
          <a:lstStyle/>
          <a:p>
            <a:pPr>
              <a:lnSpc>
                <a:spcPct val="115000"/>
              </a:lnSpc>
              <a:buSzPts val="1400"/>
            </a:pPr>
            <a:r>
              <a:rPr lang="en-US" b="0" i="0" strike="noStrike" cap="none">
                <a:solidFill>
                  <a:schemeClr val="tx1"/>
                </a:solidFill>
                <a:latin typeface="PT Serif"/>
                <a:ea typeface="PT Serif"/>
                <a:cs typeface="PT Serif"/>
                <a:sym typeface="PT Serif"/>
                <a:hlinkClick r:id="rId3"/>
              </a:rPr>
              <a:t>User Story</a:t>
            </a:r>
            <a:r>
              <a:rPr lang="en-US" b="0" i="0" strike="noStrike" cap="none">
                <a:solidFill>
                  <a:schemeClr val="tx1"/>
                </a:solidFill>
                <a:latin typeface="PT Serif"/>
                <a:ea typeface="PT Serif"/>
                <a:cs typeface="PT Serif"/>
                <a:sym typeface="PT Serif"/>
              </a:rPr>
              <a:t>: </a:t>
            </a:r>
            <a:r>
              <a:rPr lang="en-US">
                <a:solidFill>
                  <a:schemeClr val="tx1">
                    <a:lumMod val="50000"/>
                    <a:lumOff val="50000"/>
                  </a:schemeClr>
                </a:solidFill>
                <a:latin typeface="PT Serif"/>
                <a:ea typeface="PT Serif"/>
                <a:cs typeface="PT Serif"/>
                <a:sym typeface="PT Serif"/>
              </a:rPr>
              <a:t>As a Veteran, I want to be informed that my 1095-B will only be delivered digitally when I opt-in to digital delivery</a:t>
            </a:r>
            <a:endParaRPr lang="en-US">
              <a:solidFill>
                <a:schemeClr val="tx1">
                  <a:lumMod val="50000"/>
                  <a:lumOff val="50000"/>
                </a:schemeClr>
              </a:solidFill>
              <a:latin typeface="PT Serif"/>
              <a:ea typeface="PT Serif"/>
              <a:cs typeface="PT Serif"/>
            </a:endParaRPr>
          </a:p>
        </p:txBody>
      </p:sp>
      <p:sp>
        <p:nvSpPr>
          <p:cNvPr id="14" name="Google Shape;609;p14">
            <a:extLst>
              <a:ext uri="{FF2B5EF4-FFF2-40B4-BE49-F238E27FC236}">
                <a16:creationId xmlns:a16="http://schemas.microsoft.com/office/drawing/2014/main" id="{59B9098F-2628-4EF5-89DD-EDEFBCFB2940}"/>
              </a:ext>
            </a:extLst>
          </p:cNvPr>
          <p:cNvSpPr txBox="1"/>
          <p:nvPr/>
        </p:nvSpPr>
        <p:spPr>
          <a:xfrm>
            <a:off x="9131193" y="6122168"/>
            <a:ext cx="2743200" cy="276959"/>
          </a:xfrm>
          <a:prstGeom prst="rect">
            <a:avLst/>
          </a:prstGeom>
          <a:noFill/>
          <a:ln>
            <a:noFill/>
          </a:ln>
        </p:spPr>
        <p:txBody>
          <a:bodyPr spcFirstLastPara="1" wrap="square" lIns="91425" tIns="45700" rIns="91425" bIns="45700" anchor="t" anchorCtr="0">
            <a:spAutoFit/>
          </a:bodyPr>
          <a:lstStyle/>
          <a:p>
            <a:pPr marL="0" marR="0" lvl="0" indent="0" algn="r" rtl="0">
              <a:lnSpc>
                <a:spcPct val="100000"/>
              </a:lnSpc>
              <a:spcBef>
                <a:spcPts val="0"/>
              </a:spcBef>
              <a:spcAft>
                <a:spcPts val="0"/>
              </a:spcAft>
              <a:buClr>
                <a:srgbClr val="000000"/>
              </a:buClr>
              <a:buSzPts val="1400"/>
              <a:buFont typeface="Arial"/>
              <a:buNone/>
            </a:pPr>
            <a:r>
              <a:rPr lang="en-US" sz="1200">
                <a:solidFill>
                  <a:srgbClr val="000000"/>
                </a:solidFill>
                <a:latin typeface="Source Sans Pro"/>
                <a:ea typeface="Source Sans Pro"/>
                <a:sym typeface="Arial"/>
                <a:hlinkClick r:id="rId4"/>
              </a:rPr>
              <a:t>Link</a:t>
            </a:r>
            <a:endParaRPr lang="en-US" sz="1200" b="0" i="0" strike="noStrike" cap="none">
              <a:solidFill>
                <a:srgbClr val="000000"/>
              </a:solidFill>
              <a:latin typeface="Source Sans Pro"/>
              <a:ea typeface="Source Sans Pro"/>
              <a:sym typeface="Arial"/>
            </a:endParaRPr>
          </a:p>
        </p:txBody>
      </p:sp>
      <p:pic>
        <p:nvPicPr>
          <p:cNvPr id="4" name="Picture 3">
            <a:extLst>
              <a:ext uri="{FF2B5EF4-FFF2-40B4-BE49-F238E27FC236}">
                <a16:creationId xmlns:a16="http://schemas.microsoft.com/office/drawing/2014/main" id="{39FD44A5-94D1-4EAA-9D46-3E59703AFA21}"/>
              </a:ext>
            </a:extLst>
          </p:cNvPr>
          <p:cNvPicPr>
            <a:picLocks noChangeAspect="1"/>
          </p:cNvPicPr>
          <p:nvPr/>
        </p:nvPicPr>
        <p:blipFill>
          <a:blip r:embed="rId5"/>
          <a:stretch>
            <a:fillRect/>
          </a:stretch>
        </p:blipFill>
        <p:spPr>
          <a:xfrm>
            <a:off x="4131108" y="1768449"/>
            <a:ext cx="7609052" cy="4292297"/>
          </a:xfrm>
          <a:prstGeom prst="rect">
            <a:avLst/>
          </a:prstGeom>
          <a:ln>
            <a:solidFill>
              <a:schemeClr val="tx2">
                <a:lumMod val="90000"/>
              </a:schemeClr>
            </a:solidFill>
          </a:ln>
        </p:spPr>
      </p:pic>
    </p:spTree>
    <p:extLst>
      <p:ext uri="{BB962C8B-B14F-4D97-AF65-F5344CB8AC3E}">
        <p14:creationId xmlns:p14="http://schemas.microsoft.com/office/powerpoint/2010/main" val="299431406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Shape 613"/>
        <p:cNvGrpSpPr/>
        <p:nvPr/>
      </p:nvGrpSpPr>
      <p:grpSpPr>
        <a:xfrm>
          <a:off x="0" y="0"/>
          <a:ext cx="0" cy="0"/>
          <a:chOff x="0" y="0"/>
          <a:chExt cx="0" cy="0"/>
        </a:xfrm>
      </p:grpSpPr>
      <p:sp>
        <p:nvSpPr>
          <p:cNvPr id="11" name="Google Shape;337;p6">
            <a:extLst>
              <a:ext uri="{FF2B5EF4-FFF2-40B4-BE49-F238E27FC236}">
                <a16:creationId xmlns:a16="http://schemas.microsoft.com/office/drawing/2014/main" id="{B8747EB6-5160-4889-A9E1-0A810192FC7B}"/>
              </a:ext>
            </a:extLst>
          </p:cNvPr>
          <p:cNvSpPr txBox="1"/>
          <p:nvPr/>
        </p:nvSpPr>
        <p:spPr>
          <a:xfrm>
            <a:off x="419100" y="6408650"/>
            <a:ext cx="2723465" cy="276999"/>
          </a:xfrm>
          <a:prstGeom prst="rect">
            <a:avLst/>
          </a:prstGeom>
          <a:noFill/>
          <a:ln>
            <a:noFill/>
          </a:ln>
        </p:spPr>
        <p:txBody>
          <a:bodyPr spcFirstLastPara="1" wrap="square" lIns="0" tIns="45700" rIns="91425" bIns="45700" anchor="t" anchorCtr="0">
            <a:spAutoFit/>
          </a:bodyPr>
          <a:lstStyle/>
          <a:p>
            <a:pPr marL="0" marR="0" lvl="0" indent="0" algn="l" rtl="0">
              <a:spcBef>
                <a:spcPts val="0"/>
              </a:spcBef>
              <a:spcAft>
                <a:spcPts val="0"/>
              </a:spcAft>
              <a:buNone/>
            </a:pPr>
            <a:r>
              <a:rPr lang="en-US" sz="1200" b="0" i="0" u="none" strike="noStrike" cap="none">
                <a:solidFill>
                  <a:srgbClr val="747C74"/>
                </a:solidFill>
                <a:latin typeface="Source Sans Pro"/>
                <a:ea typeface="Source Sans Pro"/>
                <a:cs typeface="Source Sans Pro"/>
                <a:sym typeface="Source Sans Pro"/>
              </a:rPr>
              <a:t>04-19 Sprint 6 Demo</a:t>
            </a:r>
            <a:endParaRPr sz="1200" b="0" i="0" u="none" strike="noStrike" cap="none">
              <a:solidFill>
                <a:srgbClr val="747C74"/>
              </a:solidFill>
              <a:latin typeface="Calibri"/>
              <a:ea typeface="Calibri"/>
              <a:cs typeface="Calibri"/>
              <a:sym typeface="Calibri"/>
            </a:endParaRPr>
          </a:p>
        </p:txBody>
      </p:sp>
      <p:sp>
        <p:nvSpPr>
          <p:cNvPr id="614" name="Google Shape;614;p15"/>
          <p:cNvSpPr txBox="1"/>
          <p:nvPr/>
        </p:nvSpPr>
        <p:spPr>
          <a:xfrm>
            <a:off x="11474969" y="6356350"/>
            <a:ext cx="406052" cy="365125"/>
          </a:xfrm>
          <a:prstGeom prst="rect">
            <a:avLst/>
          </a:prstGeom>
          <a:noFill/>
          <a:ln>
            <a:noFill/>
          </a:ln>
        </p:spPr>
        <p:txBody>
          <a:bodyPr spcFirstLastPara="1" wrap="square" lIns="91425" tIns="45700" rIns="91425" bIns="45700" anchor="ctr" anchorCtr="0">
            <a:noAutofit/>
          </a:bodyPr>
          <a:lstStyle/>
          <a:p>
            <a:pPr marL="0" marR="0" lvl="0" indent="0" algn="r" rtl="0">
              <a:lnSpc>
                <a:spcPct val="100000"/>
              </a:lnSpc>
              <a:spcBef>
                <a:spcPts val="0"/>
              </a:spcBef>
              <a:spcAft>
                <a:spcPts val="0"/>
              </a:spcAft>
              <a:buClr>
                <a:srgbClr val="8A8A8A"/>
              </a:buClr>
              <a:buSzPts val="1200"/>
              <a:buFont typeface="Arial"/>
              <a:buNone/>
            </a:pPr>
            <a:fld id="{00000000-1234-1234-1234-123412341234}" type="slidenum">
              <a:rPr lang="en-US" sz="1200" b="0" i="0" u="none" strike="noStrike" cap="none">
                <a:solidFill>
                  <a:srgbClr val="8A8A8A"/>
                </a:solidFill>
                <a:latin typeface="Source Sans Pro"/>
                <a:ea typeface="Source Sans Pro"/>
                <a:cs typeface="Source Sans Pro"/>
                <a:sym typeface="Source Sans Pro"/>
              </a:rPr>
              <a:t>12</a:t>
            </a:fld>
            <a:endParaRPr sz="1200" b="0" i="0" u="none" strike="noStrike" cap="none">
              <a:solidFill>
                <a:srgbClr val="8A8A8A"/>
              </a:solidFill>
              <a:latin typeface="Source Sans Pro"/>
              <a:ea typeface="Source Sans Pro"/>
              <a:cs typeface="Source Sans Pro"/>
              <a:sym typeface="Source Sans Pro"/>
            </a:endParaRPr>
          </a:p>
        </p:txBody>
      </p:sp>
      <p:sp>
        <p:nvSpPr>
          <p:cNvPr id="10" name="Google Shape;470;p9">
            <a:extLst>
              <a:ext uri="{FF2B5EF4-FFF2-40B4-BE49-F238E27FC236}">
                <a16:creationId xmlns:a16="http://schemas.microsoft.com/office/drawing/2014/main" id="{07509EF3-7D95-47DB-B37C-6EF4E0F9EE9D}"/>
              </a:ext>
            </a:extLst>
          </p:cNvPr>
          <p:cNvSpPr txBox="1"/>
          <p:nvPr/>
        </p:nvSpPr>
        <p:spPr>
          <a:xfrm>
            <a:off x="10881407" y="6408650"/>
            <a:ext cx="759418" cy="276959"/>
          </a:xfrm>
          <a:prstGeom prst="rect">
            <a:avLst/>
          </a:prstGeom>
          <a:noFill/>
          <a:ln>
            <a:noFill/>
          </a:ln>
        </p:spPr>
        <p:txBody>
          <a:bodyPr spcFirstLastPara="1" wrap="square" lIns="91425" tIns="45700" rIns="91425" bIns="45700" anchor="t" anchorCtr="0">
            <a:spAutoFit/>
          </a:bodyPr>
          <a:lstStyle/>
          <a:p>
            <a:pPr marL="0" marR="0" lvl="0" indent="0" algn="r">
              <a:spcBef>
                <a:spcPts val="0"/>
              </a:spcBef>
              <a:spcAft>
                <a:spcPts val="0"/>
              </a:spcAft>
              <a:buNone/>
            </a:pPr>
            <a:r>
              <a:rPr lang="en-US" sz="1200">
                <a:solidFill>
                  <a:srgbClr val="747C74"/>
                </a:solidFill>
                <a:latin typeface="Source Sans Pro"/>
                <a:ea typeface="Source Sans Pro"/>
                <a:cs typeface="Calibri"/>
                <a:sym typeface="Source Sans Pro"/>
              </a:rPr>
              <a:t>Product</a:t>
            </a:r>
            <a:endParaRPr lang="en-US"/>
          </a:p>
        </p:txBody>
      </p:sp>
      <p:sp>
        <p:nvSpPr>
          <p:cNvPr id="2" name="Google Shape;601;p14">
            <a:extLst>
              <a:ext uri="{FF2B5EF4-FFF2-40B4-BE49-F238E27FC236}">
                <a16:creationId xmlns:a16="http://schemas.microsoft.com/office/drawing/2014/main" id="{B4057D92-4F64-61C1-385C-3E2266153120}"/>
              </a:ext>
            </a:extLst>
          </p:cNvPr>
          <p:cNvSpPr txBox="1"/>
          <p:nvPr/>
        </p:nvSpPr>
        <p:spPr>
          <a:xfrm>
            <a:off x="410079" y="750806"/>
            <a:ext cx="10177710" cy="1012585"/>
          </a:xfrm>
          <a:prstGeom prst="rect">
            <a:avLst/>
          </a:prstGeom>
          <a:noFill/>
          <a:ln>
            <a:noFill/>
          </a:ln>
        </p:spPr>
        <p:txBody>
          <a:bodyPr spcFirstLastPara="1" wrap="square" lIns="0" tIns="0" rIns="0" bIns="0" anchor="t" anchorCtr="0">
            <a:noAutofit/>
          </a:bodyPr>
          <a:lstStyle/>
          <a:p>
            <a:pPr>
              <a:lnSpc>
                <a:spcPct val="90000"/>
              </a:lnSpc>
              <a:buClr>
                <a:schemeClr val="dk1"/>
              </a:buClr>
              <a:buSzPts val="3600"/>
            </a:pPr>
            <a:r>
              <a:rPr lang="en-US" sz="2800">
                <a:solidFill>
                  <a:schemeClr val="dk1"/>
                </a:solidFill>
                <a:latin typeface="PT Serif"/>
                <a:ea typeface="PT Serif"/>
                <a:cs typeface="PT Serif"/>
                <a:sym typeface="PT Serif"/>
              </a:rPr>
              <a:t>We started the process of getting all required 1095-B documents translated into Spanish</a:t>
            </a:r>
            <a:endParaRPr lang="en-US" sz="2800" b="0" i="0" u="none" strike="noStrike" cap="none">
              <a:solidFill>
                <a:schemeClr val="dk1"/>
              </a:solidFill>
              <a:latin typeface="PT Serif"/>
              <a:ea typeface="PT Serif"/>
              <a:cs typeface="PT Serif"/>
            </a:endParaRPr>
          </a:p>
        </p:txBody>
      </p:sp>
      <p:grpSp>
        <p:nvGrpSpPr>
          <p:cNvPr id="3" name="Google Shape;602;p14">
            <a:extLst>
              <a:ext uri="{FF2B5EF4-FFF2-40B4-BE49-F238E27FC236}">
                <a16:creationId xmlns:a16="http://schemas.microsoft.com/office/drawing/2014/main" id="{873BC796-A2F1-EBDD-6A64-1B92F2B5CCE8}"/>
              </a:ext>
            </a:extLst>
          </p:cNvPr>
          <p:cNvGrpSpPr/>
          <p:nvPr/>
        </p:nvGrpSpPr>
        <p:grpSpPr>
          <a:xfrm>
            <a:off x="410431" y="309109"/>
            <a:ext cx="5150524" cy="369094"/>
            <a:chOff x="410431" y="309109"/>
            <a:chExt cx="5150524" cy="369094"/>
          </a:xfrm>
        </p:grpSpPr>
        <p:sp>
          <p:nvSpPr>
            <p:cNvPr id="16" name="Google Shape;603;p14">
              <a:extLst>
                <a:ext uri="{FF2B5EF4-FFF2-40B4-BE49-F238E27FC236}">
                  <a16:creationId xmlns:a16="http://schemas.microsoft.com/office/drawing/2014/main" id="{D19CA1F4-8C66-C3D9-3A4E-301E483A8EFF}"/>
                </a:ext>
              </a:extLst>
            </p:cNvPr>
            <p:cNvSpPr/>
            <p:nvPr/>
          </p:nvSpPr>
          <p:spPr>
            <a:xfrm>
              <a:off x="410431" y="313703"/>
              <a:ext cx="255129" cy="263129"/>
            </a:xfrm>
            <a:prstGeom prst="ellipse">
              <a:avLst/>
            </a:prstGeom>
            <a:solidFill>
              <a:srgbClr val="014479"/>
            </a:solidFill>
            <a:ln>
              <a:noFill/>
            </a:ln>
          </p:spPr>
          <p:txBody>
            <a:bodyPr spcFirstLastPara="1" wrap="square" lIns="0" tIns="0" rIns="0" bIns="0" anchor="ctr" anchorCtr="1">
              <a:noAutofit/>
            </a:bodyPr>
            <a:lstStyle/>
            <a:p>
              <a:pPr marL="0" marR="0" lvl="0" indent="0" algn="ctr" rtl="0">
                <a:lnSpc>
                  <a:spcPct val="100000"/>
                </a:lnSpc>
                <a:spcBef>
                  <a:spcPts val="0"/>
                </a:spcBef>
                <a:spcAft>
                  <a:spcPts val="0"/>
                </a:spcAft>
                <a:buClr>
                  <a:srgbClr val="FFFFFF"/>
                </a:buClr>
                <a:buSzPts val="3600"/>
                <a:buFont typeface="PT Serif"/>
                <a:buNone/>
              </a:pPr>
              <a:r>
                <a:rPr lang="en-US" sz="1200">
                  <a:solidFill>
                    <a:srgbClr val="FFFFFF"/>
                  </a:solidFill>
                  <a:latin typeface="PT Serif"/>
                </a:rPr>
                <a:t>3</a:t>
              </a:r>
              <a:endParaRPr lang="en-US" sz="1200" b="0" i="0" u="none" strike="noStrike" cap="none">
                <a:solidFill>
                  <a:srgbClr val="FFFFFF"/>
                </a:solidFill>
                <a:latin typeface="PT Serif"/>
                <a:ea typeface="Arial"/>
                <a:cs typeface="Arial"/>
              </a:endParaRPr>
            </a:p>
          </p:txBody>
        </p:sp>
        <p:sp>
          <p:nvSpPr>
            <p:cNvPr id="17" name="Google Shape;604;p14">
              <a:extLst>
                <a:ext uri="{FF2B5EF4-FFF2-40B4-BE49-F238E27FC236}">
                  <a16:creationId xmlns:a16="http://schemas.microsoft.com/office/drawing/2014/main" id="{46F67101-2934-C503-3B13-01ED211C6F72}"/>
                </a:ext>
              </a:extLst>
            </p:cNvPr>
            <p:cNvSpPr txBox="1"/>
            <p:nvPr/>
          </p:nvSpPr>
          <p:spPr>
            <a:xfrm>
              <a:off x="736498" y="309109"/>
              <a:ext cx="4824457" cy="369094"/>
            </a:xfrm>
            <a:prstGeom prst="rect">
              <a:avLst/>
            </a:prstGeom>
            <a:noFill/>
            <a:ln>
              <a:noFill/>
            </a:ln>
          </p:spPr>
          <p:txBody>
            <a:bodyPr spcFirstLastPara="1" wrap="square" lIns="0" tIns="45700" rIns="0" bIns="45700" anchor="t" anchorCtr="0">
              <a:normAutofit/>
            </a:bodyPr>
            <a:lstStyle/>
            <a:p>
              <a:pPr marL="0" marR="0" lvl="0" indent="0" algn="l">
                <a:lnSpc>
                  <a:spcPct val="100000"/>
                </a:lnSpc>
                <a:spcBef>
                  <a:spcPts val="0"/>
                </a:spcBef>
                <a:spcAft>
                  <a:spcPts val="0"/>
                </a:spcAft>
                <a:buNone/>
              </a:pPr>
              <a:r>
                <a:rPr lang="en-US">
                  <a:solidFill>
                    <a:srgbClr val="0071BF"/>
                  </a:solidFill>
                  <a:latin typeface="Source Sans Pro"/>
                  <a:ea typeface="Source Sans Pro"/>
                  <a:sym typeface="Source Sans Pro"/>
                </a:rPr>
                <a:t>PRODUCT</a:t>
              </a:r>
              <a:endParaRPr lang="en-US"/>
            </a:p>
          </p:txBody>
        </p:sp>
      </p:grpSp>
      <p:sp>
        <p:nvSpPr>
          <p:cNvPr id="5" name="Google Shape;605;p14">
            <a:extLst>
              <a:ext uri="{FF2B5EF4-FFF2-40B4-BE49-F238E27FC236}">
                <a16:creationId xmlns:a16="http://schemas.microsoft.com/office/drawing/2014/main" id="{BB82F581-24BE-AE8D-F31B-3850ADB9D836}"/>
              </a:ext>
            </a:extLst>
          </p:cNvPr>
          <p:cNvSpPr txBox="1"/>
          <p:nvPr/>
        </p:nvSpPr>
        <p:spPr>
          <a:xfrm>
            <a:off x="407625" y="1762583"/>
            <a:ext cx="2792118" cy="991041"/>
          </a:xfrm>
          <a:prstGeom prst="rect">
            <a:avLst/>
          </a:prstGeom>
          <a:noFill/>
          <a:ln>
            <a:noFill/>
          </a:ln>
        </p:spPr>
        <p:txBody>
          <a:bodyPr spcFirstLastPara="1" wrap="square" lIns="0" tIns="0" rIns="0" bIns="0" anchor="t" anchorCtr="0">
            <a:spAutoFit/>
          </a:bodyPr>
          <a:lstStyle/>
          <a:p>
            <a:pPr>
              <a:lnSpc>
                <a:spcPct val="115000"/>
              </a:lnSpc>
              <a:buSzPts val="1400"/>
            </a:pPr>
            <a:r>
              <a:rPr lang="en-US" b="0" i="0" strike="noStrike" cap="none">
                <a:solidFill>
                  <a:schemeClr val="tx1"/>
                </a:solidFill>
                <a:latin typeface="PT Serif"/>
                <a:ea typeface="PT Serif"/>
                <a:cs typeface="PT Serif"/>
                <a:sym typeface="PT Serif"/>
                <a:hlinkClick r:id="rId3"/>
              </a:rPr>
              <a:t>User Story</a:t>
            </a:r>
            <a:r>
              <a:rPr lang="en-US" b="0" i="0" strike="noStrike" cap="none">
                <a:solidFill>
                  <a:schemeClr val="tx1"/>
                </a:solidFill>
                <a:latin typeface="PT Serif"/>
                <a:ea typeface="PT Serif"/>
                <a:cs typeface="PT Serif"/>
                <a:sym typeface="PT Serif"/>
              </a:rPr>
              <a:t>: </a:t>
            </a:r>
            <a:r>
              <a:rPr lang="en-US">
                <a:solidFill>
                  <a:schemeClr val="tx1">
                    <a:lumMod val="50000"/>
                    <a:lumOff val="50000"/>
                  </a:schemeClr>
                </a:solidFill>
                <a:latin typeface="PT Serif"/>
                <a:ea typeface="PT Serif"/>
                <a:cs typeface="PT Serif"/>
                <a:sym typeface="PT Serif"/>
              </a:rPr>
              <a:t>Understand what is needed to translate HEC documents into Spanish and the impact on timeline</a:t>
            </a:r>
            <a:endParaRPr lang="en-US" b="0" i="0" strike="noStrike" cap="none">
              <a:solidFill>
                <a:schemeClr val="tx1">
                  <a:lumMod val="50000"/>
                  <a:lumOff val="50000"/>
                </a:schemeClr>
              </a:solidFill>
              <a:latin typeface="PT Serif"/>
              <a:ea typeface="PT Serif"/>
              <a:cs typeface="PT Serif"/>
              <a:sym typeface="PT Serif"/>
            </a:endParaRPr>
          </a:p>
        </p:txBody>
      </p:sp>
      <p:pic>
        <p:nvPicPr>
          <p:cNvPr id="6" name="Picture 5">
            <a:extLst>
              <a:ext uri="{FF2B5EF4-FFF2-40B4-BE49-F238E27FC236}">
                <a16:creationId xmlns:a16="http://schemas.microsoft.com/office/drawing/2014/main" id="{8CCF07AE-EDEF-4ED4-876A-64DDB84AA943}"/>
              </a:ext>
            </a:extLst>
          </p:cNvPr>
          <p:cNvPicPr>
            <a:picLocks noChangeAspect="1"/>
          </p:cNvPicPr>
          <p:nvPr/>
        </p:nvPicPr>
        <p:blipFill rotWithShape="1">
          <a:blip r:embed="rId4"/>
          <a:srcRect l="-15" t="1550" r="19501" b="7558"/>
          <a:stretch/>
        </p:blipFill>
        <p:spPr>
          <a:xfrm>
            <a:off x="3764366" y="1802417"/>
            <a:ext cx="7980042" cy="3047331"/>
          </a:xfrm>
          <a:prstGeom prst="rect">
            <a:avLst/>
          </a:prstGeom>
        </p:spPr>
      </p:pic>
      <p:sp>
        <p:nvSpPr>
          <p:cNvPr id="7" name="Google Shape;609;p14">
            <a:extLst>
              <a:ext uri="{FF2B5EF4-FFF2-40B4-BE49-F238E27FC236}">
                <a16:creationId xmlns:a16="http://schemas.microsoft.com/office/drawing/2014/main" id="{C551C554-E71D-1901-59AF-845BE238C04B}"/>
              </a:ext>
            </a:extLst>
          </p:cNvPr>
          <p:cNvSpPr txBox="1"/>
          <p:nvPr/>
        </p:nvSpPr>
        <p:spPr>
          <a:xfrm>
            <a:off x="9131193" y="6122168"/>
            <a:ext cx="2743200" cy="276959"/>
          </a:xfrm>
          <a:prstGeom prst="rect">
            <a:avLst/>
          </a:prstGeom>
          <a:noFill/>
          <a:ln>
            <a:noFill/>
          </a:ln>
        </p:spPr>
        <p:txBody>
          <a:bodyPr spcFirstLastPara="1" wrap="square" lIns="91425" tIns="45700" rIns="91425" bIns="45700" anchor="t" anchorCtr="0">
            <a:spAutoFit/>
          </a:bodyPr>
          <a:lstStyle/>
          <a:p>
            <a:pPr marL="0" marR="0" lvl="0" indent="0" algn="r" rtl="0">
              <a:lnSpc>
                <a:spcPct val="100000"/>
              </a:lnSpc>
              <a:spcBef>
                <a:spcPts val="0"/>
              </a:spcBef>
              <a:spcAft>
                <a:spcPts val="0"/>
              </a:spcAft>
              <a:buClr>
                <a:srgbClr val="000000"/>
              </a:buClr>
              <a:buSzPts val="1400"/>
              <a:buFont typeface="Arial"/>
              <a:buNone/>
            </a:pPr>
            <a:r>
              <a:rPr lang="en-US" sz="1200">
                <a:solidFill>
                  <a:srgbClr val="000000"/>
                </a:solidFill>
                <a:latin typeface="Source Sans Pro"/>
                <a:ea typeface="Source Sans Pro"/>
                <a:sym typeface="Arial"/>
                <a:hlinkClick r:id="rId5"/>
              </a:rPr>
              <a:t>Transmittal link</a:t>
            </a:r>
            <a:endParaRPr lang="en-US" sz="1200" b="0" i="0" strike="noStrike" cap="none">
              <a:solidFill>
                <a:srgbClr val="000000"/>
              </a:solidFill>
              <a:latin typeface="Source Sans Pro"/>
              <a:ea typeface="Source Sans Pro"/>
              <a:sym typeface="Arial"/>
            </a:endParaRPr>
          </a:p>
        </p:txBody>
      </p:sp>
    </p:spTree>
    <p:extLst>
      <p:ext uri="{BB962C8B-B14F-4D97-AF65-F5344CB8AC3E}">
        <p14:creationId xmlns:p14="http://schemas.microsoft.com/office/powerpoint/2010/main" val="383088843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Shape 571"/>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710A9AC-54F5-49DC-A7BD-C965E66336EB}"/>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225" name="think-cell Slide" r:id="rId5" imgW="395" imgH="396" progId="TCLayout.ActiveDocument.1">
                  <p:embed/>
                </p:oleObj>
              </mc:Choice>
              <mc:Fallback>
                <p:oleObj name="think-cell Slide" r:id="rId5" imgW="395" imgH="396" progId="TCLayout.ActiveDocument.1">
                  <p:embed/>
                  <p:pic>
                    <p:nvPicPr>
                      <p:cNvPr id="5" name="Object 4" hidden="1">
                        <a:extLst>
                          <a:ext uri="{FF2B5EF4-FFF2-40B4-BE49-F238E27FC236}">
                            <a16:creationId xmlns:a16="http://schemas.microsoft.com/office/drawing/2014/main" id="{3710A9AC-54F5-49DC-A7BD-C965E66336E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72" name="Google Shape;572;p12"/>
          <p:cNvSpPr txBox="1">
            <a:spLocks noGrp="1"/>
          </p:cNvSpPr>
          <p:nvPr>
            <p:ph type="title"/>
          </p:nvPr>
        </p:nvSpPr>
        <p:spPr>
          <a:xfrm>
            <a:off x="416520" y="750806"/>
            <a:ext cx="6103490" cy="1012585"/>
          </a:xfrm>
          <a:prstGeom prst="rect">
            <a:avLst/>
          </a:prstGeom>
          <a:noFill/>
          <a:ln>
            <a:noFill/>
          </a:ln>
        </p:spPr>
        <p:txBody>
          <a:bodyPr spcFirstLastPara="1" wrap="square" lIns="0" tIns="0" rIns="0" bIns="0" anchor="t" anchorCtr="0">
            <a:noAutofit/>
          </a:bodyPr>
          <a:lstStyle/>
          <a:p>
            <a:r>
              <a:rPr lang="en-US" sz="2800"/>
              <a:t>Follow up on outstanding external tickets for 508 assistance and VA Profile Opt-in</a:t>
            </a:r>
          </a:p>
        </p:txBody>
      </p:sp>
      <p:sp>
        <p:nvSpPr>
          <p:cNvPr id="573" name="Google Shape;573;p12"/>
          <p:cNvSpPr txBox="1"/>
          <p:nvPr/>
        </p:nvSpPr>
        <p:spPr>
          <a:xfrm>
            <a:off x="11474969" y="6356350"/>
            <a:ext cx="406052" cy="365125"/>
          </a:xfrm>
          <a:prstGeom prst="rect">
            <a:avLst/>
          </a:prstGeom>
          <a:noFill/>
          <a:ln>
            <a:noFill/>
          </a:ln>
        </p:spPr>
        <p:txBody>
          <a:bodyPr spcFirstLastPara="1" wrap="square" lIns="91425" tIns="45700" rIns="91425" bIns="45700" anchor="ctr" anchorCtr="0">
            <a:noAutofit/>
          </a:bodyPr>
          <a:lstStyle/>
          <a:p>
            <a:pPr marL="0" marR="0" lvl="0" indent="0" algn="r" rtl="0">
              <a:lnSpc>
                <a:spcPct val="100000"/>
              </a:lnSpc>
              <a:spcBef>
                <a:spcPts val="0"/>
              </a:spcBef>
              <a:spcAft>
                <a:spcPts val="0"/>
              </a:spcAft>
              <a:buClr>
                <a:srgbClr val="8A8A8A"/>
              </a:buClr>
              <a:buSzPts val="1200"/>
              <a:buFont typeface="Arial"/>
              <a:buNone/>
            </a:pPr>
            <a:fld id="{00000000-1234-1234-1234-123412341234}" type="slidenum">
              <a:rPr lang="en-US" sz="1200" b="0" i="0" u="none" strike="noStrike" cap="none">
                <a:solidFill>
                  <a:srgbClr val="8A8A8A"/>
                </a:solidFill>
                <a:latin typeface="Source Sans Pro"/>
                <a:ea typeface="Source Sans Pro"/>
                <a:cs typeface="Source Sans Pro"/>
                <a:sym typeface="Source Sans Pro"/>
              </a:rPr>
              <a:t>13</a:t>
            </a:fld>
            <a:endParaRPr sz="1200" b="0" i="0" u="none" strike="noStrike" cap="none">
              <a:solidFill>
                <a:srgbClr val="8A8A8A"/>
              </a:solidFill>
              <a:latin typeface="Source Sans Pro"/>
              <a:ea typeface="Source Sans Pro"/>
              <a:cs typeface="Source Sans Pro"/>
              <a:sym typeface="Source Sans Pro"/>
            </a:endParaRPr>
          </a:p>
        </p:txBody>
      </p:sp>
      <p:sp>
        <p:nvSpPr>
          <p:cNvPr id="579" name="Google Shape;579;p12"/>
          <p:cNvSpPr txBox="1"/>
          <p:nvPr/>
        </p:nvSpPr>
        <p:spPr>
          <a:xfrm>
            <a:off x="438912" y="2012334"/>
            <a:ext cx="4909125" cy="424732"/>
          </a:xfrm>
          <a:prstGeom prst="rect">
            <a:avLst/>
          </a:prstGeom>
          <a:noFill/>
          <a:ln>
            <a:noFill/>
          </a:ln>
        </p:spPr>
        <p:txBody>
          <a:bodyPr spcFirstLastPara="1" wrap="square" lIns="0" tIns="0" rIns="0" bIns="0" anchor="t" anchorCtr="0">
            <a:spAutoFit/>
          </a:bodyPr>
          <a:lstStyle/>
          <a:p>
            <a:pPr>
              <a:lnSpc>
                <a:spcPct val="115000"/>
              </a:lnSpc>
              <a:buClr>
                <a:schemeClr val="dk2"/>
              </a:buClr>
              <a:buSzPts val="1400"/>
            </a:pPr>
            <a:r>
              <a:rPr lang="en-US" sz="1200" b="0" i="0" strike="noStrike" cap="none">
                <a:solidFill>
                  <a:schemeClr val="tx1"/>
                </a:solidFill>
                <a:latin typeface="PT Serif"/>
                <a:ea typeface="PT Serif"/>
                <a:cs typeface="PT Serif"/>
                <a:sym typeface="PT Serif"/>
                <a:hlinkClick r:id="rId7"/>
              </a:rPr>
              <a:t>User Story</a:t>
            </a:r>
            <a:r>
              <a:rPr lang="en-US" sz="1200" b="0" i="0" strike="noStrike" cap="none">
                <a:solidFill>
                  <a:schemeClr val="tx1"/>
                </a:solidFill>
                <a:latin typeface="PT Serif"/>
                <a:ea typeface="PT Serif"/>
                <a:cs typeface="PT Serif"/>
                <a:sym typeface="PT Serif"/>
              </a:rPr>
              <a:t>: </a:t>
            </a:r>
            <a:r>
              <a:rPr lang="en-US" sz="1200" b="0" i="0" strike="noStrike" cap="none">
                <a:solidFill>
                  <a:srgbClr val="8F8F8F"/>
                </a:solidFill>
                <a:latin typeface="PT Serif"/>
                <a:ea typeface="PT Serif"/>
                <a:cs typeface="PT Serif"/>
                <a:sym typeface="PT Serif"/>
              </a:rPr>
              <a:t>PM team to f/u on VA 508 </a:t>
            </a:r>
            <a:r>
              <a:rPr lang="en-US" sz="1200">
                <a:solidFill>
                  <a:srgbClr val="8F8F8F"/>
                </a:solidFill>
                <a:latin typeface="PT Serif"/>
                <a:ea typeface="PT Serif"/>
                <a:cs typeface="PT Serif"/>
                <a:sym typeface="PT Serif"/>
              </a:rPr>
              <a:t>a</a:t>
            </a:r>
            <a:r>
              <a:rPr lang="en-US" sz="1200" b="0" i="0" strike="noStrike" cap="none">
                <a:solidFill>
                  <a:srgbClr val="8F8F8F"/>
                </a:solidFill>
                <a:latin typeface="PT Serif"/>
                <a:ea typeface="PT Serif"/>
                <a:cs typeface="PT Serif"/>
                <a:sym typeface="PT Serif"/>
              </a:rPr>
              <a:t>ccessibility ticket</a:t>
            </a:r>
            <a:endParaRPr lang="en-US" sz="1200" b="0" i="0" strike="noStrike" cap="none">
              <a:solidFill>
                <a:srgbClr val="8F8F8F"/>
              </a:solidFill>
              <a:latin typeface="PT Serif"/>
              <a:ea typeface="PT Serif"/>
              <a:cs typeface="PT Serif"/>
            </a:endParaRPr>
          </a:p>
          <a:p>
            <a:pPr>
              <a:lnSpc>
                <a:spcPct val="115000"/>
              </a:lnSpc>
              <a:buClr>
                <a:schemeClr val="dk2"/>
              </a:buClr>
              <a:buSzPts val="1400"/>
            </a:pPr>
            <a:r>
              <a:rPr lang="en-US" sz="1200" b="0" i="0" strike="noStrike" cap="none">
                <a:solidFill>
                  <a:schemeClr val="tx1"/>
                </a:solidFill>
                <a:latin typeface="PT Serif"/>
                <a:ea typeface="PT Serif"/>
                <a:cs typeface="PT Serif"/>
                <a:sym typeface="PT Serif"/>
                <a:hlinkClick r:id="rId8"/>
              </a:rPr>
              <a:t>User Story</a:t>
            </a:r>
            <a:r>
              <a:rPr lang="en-US" sz="1200" b="0" i="0" strike="noStrike" cap="none">
                <a:solidFill>
                  <a:schemeClr val="tx1"/>
                </a:solidFill>
                <a:latin typeface="PT Serif"/>
                <a:ea typeface="PT Serif"/>
                <a:cs typeface="PT Serif"/>
                <a:sym typeface="PT Serif"/>
              </a:rPr>
              <a:t>: </a:t>
            </a:r>
            <a:r>
              <a:rPr lang="en-US" sz="1200">
                <a:solidFill>
                  <a:srgbClr val="8F8F8F"/>
                </a:solidFill>
                <a:latin typeface="PT Serif"/>
                <a:ea typeface="PT Serif"/>
                <a:cs typeface="PT Serif"/>
                <a:sym typeface="PT Serif"/>
              </a:rPr>
              <a:t>PM team to f/u on VA notify ticket for opt-in</a:t>
            </a:r>
          </a:p>
        </p:txBody>
      </p:sp>
      <p:grpSp>
        <p:nvGrpSpPr>
          <p:cNvPr id="2" name="Google Shape;602;p14">
            <a:extLst>
              <a:ext uri="{FF2B5EF4-FFF2-40B4-BE49-F238E27FC236}">
                <a16:creationId xmlns:a16="http://schemas.microsoft.com/office/drawing/2014/main" id="{E445D490-D726-40C5-B04D-B87A388E9339}"/>
              </a:ext>
            </a:extLst>
          </p:cNvPr>
          <p:cNvGrpSpPr/>
          <p:nvPr/>
        </p:nvGrpSpPr>
        <p:grpSpPr>
          <a:xfrm>
            <a:off x="410431" y="309109"/>
            <a:ext cx="5150524" cy="369094"/>
            <a:chOff x="410431" y="309109"/>
            <a:chExt cx="5150524" cy="369094"/>
          </a:xfrm>
        </p:grpSpPr>
        <p:sp>
          <p:nvSpPr>
            <p:cNvPr id="13" name="Google Shape;603;p14">
              <a:extLst>
                <a:ext uri="{FF2B5EF4-FFF2-40B4-BE49-F238E27FC236}">
                  <a16:creationId xmlns:a16="http://schemas.microsoft.com/office/drawing/2014/main" id="{8589A355-6709-46C4-9E8D-20EBC64C96B2}"/>
                </a:ext>
              </a:extLst>
            </p:cNvPr>
            <p:cNvSpPr/>
            <p:nvPr/>
          </p:nvSpPr>
          <p:spPr>
            <a:xfrm>
              <a:off x="410431" y="313703"/>
              <a:ext cx="255129" cy="263129"/>
            </a:xfrm>
            <a:prstGeom prst="ellipse">
              <a:avLst/>
            </a:prstGeom>
            <a:solidFill>
              <a:srgbClr val="014479"/>
            </a:solidFill>
            <a:ln>
              <a:noFill/>
            </a:ln>
          </p:spPr>
          <p:txBody>
            <a:bodyPr spcFirstLastPara="1" wrap="square" lIns="0" tIns="0" rIns="0" bIns="0" anchor="ctr" anchorCtr="1">
              <a:noAutofit/>
            </a:bodyPr>
            <a:lstStyle/>
            <a:p>
              <a:pPr marL="0" marR="0" lvl="0" indent="0" algn="ctr" rtl="0">
                <a:lnSpc>
                  <a:spcPct val="100000"/>
                </a:lnSpc>
                <a:spcBef>
                  <a:spcPts val="0"/>
                </a:spcBef>
                <a:spcAft>
                  <a:spcPts val="0"/>
                </a:spcAft>
                <a:buClr>
                  <a:srgbClr val="FFFFFF"/>
                </a:buClr>
                <a:buSzPts val="3600"/>
                <a:buFont typeface="PT Serif"/>
                <a:buNone/>
              </a:pPr>
              <a:r>
                <a:rPr lang="en-US" sz="1200">
                  <a:solidFill>
                    <a:srgbClr val="FFFFFF"/>
                  </a:solidFill>
                  <a:latin typeface="PT Serif"/>
                </a:rPr>
                <a:t>3</a:t>
              </a:r>
              <a:endParaRPr lang="en-US" sz="1200" b="0" i="0" u="none" strike="noStrike" cap="none">
                <a:solidFill>
                  <a:srgbClr val="FFFFFF"/>
                </a:solidFill>
                <a:latin typeface="PT Serif"/>
                <a:ea typeface="Arial"/>
                <a:cs typeface="Arial"/>
              </a:endParaRPr>
            </a:p>
          </p:txBody>
        </p:sp>
        <p:sp>
          <p:nvSpPr>
            <p:cNvPr id="14" name="Google Shape;604;p14">
              <a:extLst>
                <a:ext uri="{FF2B5EF4-FFF2-40B4-BE49-F238E27FC236}">
                  <a16:creationId xmlns:a16="http://schemas.microsoft.com/office/drawing/2014/main" id="{8A017AD3-D1D6-485C-A326-F88A08E5D18A}"/>
                </a:ext>
              </a:extLst>
            </p:cNvPr>
            <p:cNvSpPr txBox="1"/>
            <p:nvPr/>
          </p:nvSpPr>
          <p:spPr>
            <a:xfrm>
              <a:off x="736498" y="309109"/>
              <a:ext cx="4824457" cy="369094"/>
            </a:xfrm>
            <a:prstGeom prst="rect">
              <a:avLst/>
            </a:prstGeom>
            <a:noFill/>
            <a:ln>
              <a:noFill/>
            </a:ln>
          </p:spPr>
          <p:txBody>
            <a:bodyPr spcFirstLastPara="1" wrap="square" lIns="0" tIns="45700" rIns="0" bIns="45700" anchor="t" anchorCtr="0">
              <a:normAutofit/>
            </a:bodyPr>
            <a:lstStyle/>
            <a:p>
              <a:pPr marL="0" marR="0" lvl="0" indent="0" algn="l">
                <a:lnSpc>
                  <a:spcPct val="100000"/>
                </a:lnSpc>
                <a:spcBef>
                  <a:spcPts val="0"/>
                </a:spcBef>
                <a:spcAft>
                  <a:spcPts val="0"/>
                </a:spcAft>
                <a:buNone/>
              </a:pPr>
              <a:r>
                <a:rPr lang="en-US">
                  <a:solidFill>
                    <a:srgbClr val="0071BF"/>
                  </a:solidFill>
                  <a:latin typeface="Source Sans Pro"/>
                  <a:ea typeface="Source Sans Pro"/>
                  <a:sym typeface="Source Sans Pro"/>
                </a:rPr>
                <a:t>PRODUCT</a:t>
              </a:r>
              <a:endParaRPr lang="en-US"/>
            </a:p>
          </p:txBody>
        </p:sp>
      </p:grpSp>
      <p:sp>
        <p:nvSpPr>
          <p:cNvPr id="3" name="Google Shape;470;p9">
            <a:extLst>
              <a:ext uri="{FF2B5EF4-FFF2-40B4-BE49-F238E27FC236}">
                <a16:creationId xmlns:a16="http://schemas.microsoft.com/office/drawing/2014/main" id="{70028C8A-C6FA-4CD2-92DD-340A37231D5E}"/>
              </a:ext>
            </a:extLst>
          </p:cNvPr>
          <p:cNvSpPr txBox="1"/>
          <p:nvPr/>
        </p:nvSpPr>
        <p:spPr>
          <a:xfrm>
            <a:off x="10862275" y="6408650"/>
            <a:ext cx="778550" cy="276959"/>
          </a:xfrm>
          <a:prstGeom prst="rect">
            <a:avLst/>
          </a:prstGeom>
          <a:noFill/>
          <a:ln>
            <a:noFill/>
          </a:ln>
        </p:spPr>
        <p:txBody>
          <a:bodyPr spcFirstLastPara="1" wrap="square" lIns="91425" tIns="45700" rIns="91425" bIns="45700" anchor="t" anchorCtr="0">
            <a:spAutoFit/>
          </a:bodyPr>
          <a:lstStyle/>
          <a:p>
            <a:pPr marL="0" marR="0" lvl="0" indent="0" algn="r">
              <a:spcBef>
                <a:spcPts val="0"/>
              </a:spcBef>
              <a:spcAft>
                <a:spcPts val="0"/>
              </a:spcAft>
              <a:buNone/>
            </a:pPr>
            <a:r>
              <a:rPr lang="en-US" sz="1200">
                <a:solidFill>
                  <a:srgbClr val="747C74"/>
                </a:solidFill>
                <a:latin typeface="Source Sans Pro"/>
                <a:ea typeface="Source Sans Pro"/>
                <a:cs typeface="Calibri"/>
                <a:sym typeface="Source Sans Pro"/>
              </a:rPr>
              <a:t>Product</a:t>
            </a:r>
            <a:endParaRPr lang="en-US"/>
          </a:p>
        </p:txBody>
      </p:sp>
      <p:sp>
        <p:nvSpPr>
          <p:cNvPr id="7" name="Google Shape;337;p6">
            <a:extLst>
              <a:ext uri="{FF2B5EF4-FFF2-40B4-BE49-F238E27FC236}">
                <a16:creationId xmlns:a16="http://schemas.microsoft.com/office/drawing/2014/main" id="{C840A1AA-DEE9-4A69-BC08-B46800497F9A}"/>
              </a:ext>
            </a:extLst>
          </p:cNvPr>
          <p:cNvSpPr txBox="1"/>
          <p:nvPr/>
        </p:nvSpPr>
        <p:spPr>
          <a:xfrm>
            <a:off x="419100" y="6408650"/>
            <a:ext cx="2723465" cy="276999"/>
          </a:xfrm>
          <a:prstGeom prst="rect">
            <a:avLst/>
          </a:prstGeom>
          <a:noFill/>
          <a:ln>
            <a:noFill/>
          </a:ln>
        </p:spPr>
        <p:txBody>
          <a:bodyPr spcFirstLastPara="1" wrap="square" lIns="0" tIns="45700" rIns="91425" bIns="45700" anchor="t" anchorCtr="0">
            <a:spAutoFit/>
          </a:bodyPr>
          <a:lstStyle/>
          <a:p>
            <a:pPr marL="0" marR="0" lvl="0" indent="0" algn="l" rtl="0">
              <a:spcBef>
                <a:spcPts val="0"/>
              </a:spcBef>
              <a:spcAft>
                <a:spcPts val="0"/>
              </a:spcAft>
              <a:buNone/>
            </a:pPr>
            <a:r>
              <a:rPr lang="en-US" sz="1200" b="0" i="0" u="none" strike="noStrike" cap="none">
                <a:solidFill>
                  <a:srgbClr val="747C74"/>
                </a:solidFill>
                <a:latin typeface="Source Sans Pro"/>
                <a:ea typeface="Source Sans Pro"/>
                <a:cs typeface="Source Sans Pro"/>
                <a:sym typeface="Source Sans Pro"/>
              </a:rPr>
              <a:t>04-19 Sprint 6 Demo</a:t>
            </a:r>
            <a:endParaRPr sz="1200" b="0" i="0" u="none" strike="noStrike" cap="none">
              <a:solidFill>
                <a:srgbClr val="747C74"/>
              </a:solidFill>
              <a:latin typeface="Calibri"/>
              <a:ea typeface="Calibri"/>
              <a:cs typeface="Calibri"/>
              <a:sym typeface="Calibri"/>
            </a:endParaRPr>
          </a:p>
        </p:txBody>
      </p:sp>
      <p:sp>
        <p:nvSpPr>
          <p:cNvPr id="18" name="Google Shape;641;p16">
            <a:extLst>
              <a:ext uri="{FF2B5EF4-FFF2-40B4-BE49-F238E27FC236}">
                <a16:creationId xmlns:a16="http://schemas.microsoft.com/office/drawing/2014/main" id="{A4455F1E-5439-4739-93B5-E2C39007984E}"/>
              </a:ext>
            </a:extLst>
          </p:cNvPr>
          <p:cNvSpPr txBox="1"/>
          <p:nvPr/>
        </p:nvSpPr>
        <p:spPr>
          <a:xfrm>
            <a:off x="8425546" y="6109251"/>
            <a:ext cx="3445011" cy="276959"/>
          </a:xfrm>
          <a:prstGeom prst="rect">
            <a:avLst/>
          </a:prstGeom>
          <a:noFill/>
          <a:ln>
            <a:noFill/>
          </a:ln>
        </p:spPr>
        <p:txBody>
          <a:bodyPr spcFirstLastPara="1" wrap="square" lIns="91425" tIns="45700" rIns="91425" bIns="45700" anchor="t" anchorCtr="0">
            <a:spAutoFit/>
          </a:bodyPr>
          <a:lstStyle/>
          <a:p>
            <a:pPr lvl="1" algn="r">
              <a:buSzPts val="1400"/>
            </a:pPr>
            <a:r>
              <a:rPr lang="en-US" sz="1200">
                <a:latin typeface="Source Sans Pro"/>
                <a:ea typeface="Source Sans Pro"/>
                <a:hlinkClick r:id="rId9"/>
              </a:rPr>
              <a:t>508 Ticket </a:t>
            </a:r>
            <a:r>
              <a:rPr lang="en-US" sz="1200">
                <a:latin typeface="Source Sans Pro"/>
                <a:ea typeface="Source Sans Pro"/>
              </a:rPr>
              <a:t> &amp; </a:t>
            </a:r>
            <a:r>
              <a:rPr lang="en-US" sz="1200">
                <a:latin typeface="Source Sans Pro"/>
                <a:ea typeface="Source Sans Pro"/>
                <a:hlinkClick r:id="rId10"/>
              </a:rPr>
              <a:t>VA Profile opt-in ticket </a:t>
            </a:r>
            <a:endParaRPr lang="en-US" sz="1200" b="0" i="0" strike="noStrike" cap="none">
              <a:solidFill>
                <a:srgbClr val="000000"/>
              </a:solidFill>
              <a:latin typeface="Source Sans Pro"/>
              <a:ea typeface="Source Sans Pro"/>
              <a:sym typeface="Arial"/>
            </a:endParaRPr>
          </a:p>
        </p:txBody>
      </p:sp>
      <p:pic>
        <p:nvPicPr>
          <p:cNvPr id="6" name="Picture 5">
            <a:extLst>
              <a:ext uri="{FF2B5EF4-FFF2-40B4-BE49-F238E27FC236}">
                <a16:creationId xmlns:a16="http://schemas.microsoft.com/office/drawing/2014/main" id="{748600B8-95F8-4BFF-B919-6F2ECB69D2DC}"/>
              </a:ext>
            </a:extLst>
          </p:cNvPr>
          <p:cNvPicPr>
            <a:picLocks noChangeAspect="1"/>
          </p:cNvPicPr>
          <p:nvPr/>
        </p:nvPicPr>
        <p:blipFill>
          <a:blip r:embed="rId11"/>
          <a:stretch>
            <a:fillRect/>
          </a:stretch>
        </p:blipFill>
        <p:spPr>
          <a:xfrm>
            <a:off x="461922" y="2635242"/>
            <a:ext cx="6005823" cy="3249713"/>
          </a:xfrm>
          <a:prstGeom prst="rect">
            <a:avLst/>
          </a:prstGeom>
          <a:ln>
            <a:solidFill>
              <a:schemeClr val="tx2">
                <a:lumMod val="90000"/>
              </a:schemeClr>
            </a:solidFill>
          </a:ln>
        </p:spPr>
      </p:pic>
      <p:pic>
        <p:nvPicPr>
          <p:cNvPr id="9" name="Picture 8">
            <a:extLst>
              <a:ext uri="{FF2B5EF4-FFF2-40B4-BE49-F238E27FC236}">
                <a16:creationId xmlns:a16="http://schemas.microsoft.com/office/drawing/2014/main" id="{20507644-0564-4CCF-BAC6-C05F3AB27ACB}"/>
              </a:ext>
            </a:extLst>
          </p:cNvPr>
          <p:cNvPicPr>
            <a:picLocks noChangeAspect="1"/>
          </p:cNvPicPr>
          <p:nvPr/>
        </p:nvPicPr>
        <p:blipFill rotWithShape="1">
          <a:blip r:embed="rId12"/>
          <a:srcRect t="650" r="-158" b="64"/>
          <a:stretch/>
        </p:blipFill>
        <p:spPr>
          <a:xfrm>
            <a:off x="6897555" y="871400"/>
            <a:ext cx="4860226" cy="5016910"/>
          </a:xfrm>
          <a:prstGeom prst="rect">
            <a:avLst/>
          </a:prstGeom>
          <a:ln>
            <a:solidFill>
              <a:schemeClr val="tx2">
                <a:lumMod val="90000"/>
              </a:schemeClr>
            </a:solidFill>
          </a:ln>
        </p:spPr>
      </p:pic>
    </p:spTree>
    <p:extLst>
      <p:ext uri="{BB962C8B-B14F-4D97-AF65-F5344CB8AC3E}">
        <p14:creationId xmlns:p14="http://schemas.microsoft.com/office/powerpoint/2010/main" val="17030824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9944BA5-58B4-490C-B2A2-09063358B27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4273"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09944BA5-58B4-490C-B2A2-09063358B27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D5921D8-9182-46DA-BF73-3160B3589AF0}"/>
              </a:ext>
            </a:extLst>
          </p:cNvPr>
          <p:cNvSpPr>
            <a:spLocks noGrp="1"/>
          </p:cNvSpPr>
          <p:nvPr>
            <p:ph type="title"/>
          </p:nvPr>
        </p:nvSpPr>
        <p:spPr>
          <a:xfrm>
            <a:off x="302632" y="372559"/>
            <a:ext cx="8057103" cy="1325563"/>
          </a:xfrm>
          <a:noFill/>
        </p:spPr>
        <p:txBody>
          <a:bodyPr vert="horz"/>
          <a:lstStyle/>
          <a:p>
            <a:r>
              <a:rPr lang="en-GB"/>
              <a:t>Blockers for 1095-B launch</a:t>
            </a:r>
          </a:p>
        </p:txBody>
      </p:sp>
      <p:graphicFrame>
        <p:nvGraphicFramePr>
          <p:cNvPr id="23" name="Google Shape;930;p28">
            <a:extLst>
              <a:ext uri="{FF2B5EF4-FFF2-40B4-BE49-F238E27FC236}">
                <a16:creationId xmlns:a16="http://schemas.microsoft.com/office/drawing/2014/main" id="{F4A84191-3BFB-48AA-A343-19DE4EA3891C}"/>
              </a:ext>
            </a:extLst>
          </p:cNvPr>
          <p:cNvGraphicFramePr/>
          <p:nvPr>
            <p:extLst>
              <p:ext uri="{D42A27DB-BD31-4B8C-83A1-F6EECF244321}">
                <p14:modId xmlns:p14="http://schemas.microsoft.com/office/powerpoint/2010/main" val="2801763719"/>
              </p:ext>
            </p:extLst>
          </p:nvPr>
        </p:nvGraphicFramePr>
        <p:xfrm>
          <a:off x="407023" y="1041535"/>
          <a:ext cx="11360001" cy="4314787"/>
        </p:xfrm>
        <a:graphic>
          <a:graphicData uri="http://schemas.openxmlformats.org/drawingml/2006/table">
            <a:tbl>
              <a:tblPr>
                <a:noFill/>
                <a:tableStyleId>{1F4BC13E-62C9-4DB2-9D77-78E559E1D0AC}</a:tableStyleId>
              </a:tblPr>
              <a:tblGrid>
                <a:gridCol w="1102731">
                  <a:extLst>
                    <a:ext uri="{9D8B030D-6E8A-4147-A177-3AD203B41FA5}">
                      <a16:colId xmlns:a16="http://schemas.microsoft.com/office/drawing/2014/main" val="20000"/>
                    </a:ext>
                  </a:extLst>
                </a:gridCol>
                <a:gridCol w="1337243">
                  <a:extLst>
                    <a:ext uri="{9D8B030D-6E8A-4147-A177-3AD203B41FA5}">
                      <a16:colId xmlns:a16="http://schemas.microsoft.com/office/drawing/2014/main" val="20001"/>
                    </a:ext>
                  </a:extLst>
                </a:gridCol>
                <a:gridCol w="3656770">
                  <a:extLst>
                    <a:ext uri="{9D8B030D-6E8A-4147-A177-3AD203B41FA5}">
                      <a16:colId xmlns:a16="http://schemas.microsoft.com/office/drawing/2014/main" val="1745807836"/>
                    </a:ext>
                  </a:extLst>
                </a:gridCol>
                <a:gridCol w="1086580">
                  <a:extLst>
                    <a:ext uri="{9D8B030D-6E8A-4147-A177-3AD203B41FA5}">
                      <a16:colId xmlns:a16="http://schemas.microsoft.com/office/drawing/2014/main" val="20002"/>
                    </a:ext>
                  </a:extLst>
                </a:gridCol>
                <a:gridCol w="626873">
                  <a:extLst>
                    <a:ext uri="{9D8B030D-6E8A-4147-A177-3AD203B41FA5}">
                      <a16:colId xmlns:a16="http://schemas.microsoft.com/office/drawing/2014/main" val="20004"/>
                    </a:ext>
                  </a:extLst>
                </a:gridCol>
                <a:gridCol w="3549804">
                  <a:extLst>
                    <a:ext uri="{9D8B030D-6E8A-4147-A177-3AD203B41FA5}">
                      <a16:colId xmlns:a16="http://schemas.microsoft.com/office/drawing/2014/main" val="20005"/>
                    </a:ext>
                  </a:extLst>
                </a:gridCol>
              </a:tblGrid>
              <a:tr h="401289">
                <a:tc>
                  <a:txBody>
                    <a:bodyPr/>
                    <a:lstStyle/>
                    <a:p>
                      <a:pPr marL="0" marR="0" lvl="0" indent="0" algn="l">
                        <a:lnSpc>
                          <a:spcPct val="114999"/>
                        </a:lnSpc>
                        <a:spcBef>
                          <a:spcPts val="0"/>
                        </a:spcBef>
                        <a:spcAft>
                          <a:spcPts val="0"/>
                        </a:spcAft>
                        <a:buNone/>
                      </a:pPr>
                      <a:r>
                        <a:rPr lang="en-US" sz="1100" b="1" i="0" u="none" strike="noStrike" cap="none">
                          <a:solidFill>
                            <a:schemeClr val="accent1"/>
                          </a:solidFill>
                          <a:latin typeface="Source Sans Pro Semibold"/>
                          <a:ea typeface="Source Sans Pro Semibold"/>
                        </a:rPr>
                        <a:t>BLOCKER</a:t>
                      </a:r>
                      <a:endParaRPr/>
                    </a:p>
                  </a:txBody>
                  <a:tcPr marL="24375" marR="91450" marT="24375" marB="2437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a:lnSpc>
                          <a:spcPct val="114999"/>
                        </a:lnSpc>
                        <a:spcBef>
                          <a:spcPts val="0"/>
                        </a:spcBef>
                        <a:spcAft>
                          <a:spcPts val="0"/>
                        </a:spcAft>
                        <a:buNone/>
                      </a:pPr>
                      <a:r>
                        <a:rPr lang="en-US" sz="1100" b="1" i="0" u="none" strike="noStrike" cap="none">
                          <a:solidFill>
                            <a:schemeClr val="accent1"/>
                          </a:solidFill>
                          <a:latin typeface="Source Sans Pro Semibold"/>
                          <a:ea typeface="Source Sans Pro Semibold"/>
                        </a:rPr>
                        <a:t>OWNED BY</a:t>
                      </a:r>
                      <a:endParaRPr/>
                    </a:p>
                  </a:txBody>
                  <a:tcPr marL="24375" marR="24375" marT="24375" marB="2437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a:lnSpc>
                          <a:spcPct val="114999"/>
                        </a:lnSpc>
                        <a:spcBef>
                          <a:spcPts val="0"/>
                        </a:spcBef>
                        <a:spcAft>
                          <a:spcPts val="0"/>
                        </a:spcAft>
                        <a:buNone/>
                      </a:pPr>
                      <a:r>
                        <a:rPr lang="en-US" sz="1100" b="1" i="0" u="none" strike="noStrike" cap="none">
                          <a:solidFill>
                            <a:schemeClr val="accent1"/>
                          </a:solidFill>
                          <a:latin typeface="Source Sans Pro Semibold"/>
                          <a:ea typeface="Source Sans Pro Semibold"/>
                        </a:rPr>
                        <a:t>ACTION NEEDED</a:t>
                      </a:r>
                      <a:endParaRPr sz="1100" b="1" i="0" u="none" strike="noStrike" cap="none">
                        <a:solidFill>
                          <a:schemeClr val="accent1"/>
                        </a:solidFill>
                        <a:latin typeface="Source Sans Pro Semibold"/>
                        <a:ea typeface="Source Sans Pro Semibold"/>
                        <a:sym typeface="Arial"/>
                      </a:endParaRPr>
                    </a:p>
                  </a:txBody>
                  <a:tcPr marL="24375" marR="24375" marT="24375" marB="2437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rtl="0">
                        <a:lnSpc>
                          <a:spcPct val="100000"/>
                        </a:lnSpc>
                        <a:spcBef>
                          <a:spcPts val="0"/>
                        </a:spcBef>
                        <a:spcAft>
                          <a:spcPts val="0"/>
                        </a:spcAft>
                        <a:buClr>
                          <a:srgbClr val="000000"/>
                        </a:buClr>
                        <a:buSzPts val="800"/>
                        <a:buFont typeface="Arial"/>
                        <a:buNone/>
                      </a:pPr>
                      <a:r>
                        <a:rPr lang="en-US" sz="1100" b="1" i="0" u="none" strike="noStrike" cap="none">
                          <a:solidFill>
                            <a:schemeClr val="accent1"/>
                          </a:solidFill>
                          <a:latin typeface="Source Sans Pro Semibold"/>
                          <a:ea typeface="Source Sans Pro Semibold"/>
                          <a:cs typeface="Source Sans Pro Semibold"/>
                          <a:sym typeface="Source Sans Pro SemiBold"/>
                        </a:rPr>
                        <a:t>DATE</a:t>
                      </a:r>
                    </a:p>
                    <a:p>
                      <a:pPr marL="0" marR="0" lvl="0" indent="0" algn="l" rtl="0">
                        <a:lnSpc>
                          <a:spcPct val="100000"/>
                        </a:lnSpc>
                        <a:spcBef>
                          <a:spcPts val="0"/>
                        </a:spcBef>
                        <a:spcAft>
                          <a:spcPts val="0"/>
                        </a:spcAft>
                        <a:buSzPts val="900"/>
                        <a:buFont typeface="Arial"/>
                        <a:buNone/>
                      </a:pPr>
                      <a:r>
                        <a:rPr lang="en-US" sz="1100" b="1" i="0" u="none" strike="noStrike" cap="none">
                          <a:solidFill>
                            <a:schemeClr val="accent1"/>
                          </a:solidFill>
                          <a:latin typeface="Source Sans Pro Semibold"/>
                          <a:ea typeface="Source Sans Pro Semibold"/>
                        </a:rPr>
                        <a:t>ENTERED</a:t>
                      </a:r>
                      <a:endParaRPr lang="en-US" sz="1100"/>
                    </a:p>
                  </a:txBody>
                  <a:tcPr marL="24375" marR="24375" marT="24375" marB="24375">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rtl="0">
                        <a:lnSpc>
                          <a:spcPct val="100000"/>
                        </a:lnSpc>
                        <a:spcBef>
                          <a:spcPts val="0"/>
                        </a:spcBef>
                        <a:spcAft>
                          <a:spcPts val="0"/>
                        </a:spcAft>
                        <a:buClr>
                          <a:srgbClr val="000000"/>
                        </a:buClr>
                        <a:buSzPts val="800"/>
                        <a:buFont typeface="Arial"/>
                        <a:buNone/>
                      </a:pPr>
                      <a:r>
                        <a:rPr lang="en-US" sz="1100" b="1" i="0" u="none" strike="noStrike" cap="none">
                          <a:solidFill>
                            <a:schemeClr val="accent1"/>
                          </a:solidFill>
                          <a:latin typeface="Source Sans Pro Semibold"/>
                          <a:ea typeface="Source Sans Pro Semibold"/>
                          <a:cs typeface="Source Sans Pro Semibold"/>
                          <a:sym typeface="Source Sans Pro SemiBold"/>
                        </a:rPr>
                        <a:t>STATUS</a:t>
                      </a:r>
                      <a:endParaRPr sz="1100"/>
                    </a:p>
                  </a:txBody>
                  <a:tcPr marL="24375" marR="24375" marT="24375" marB="2437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rtl="0">
                        <a:lnSpc>
                          <a:spcPct val="100000"/>
                        </a:lnSpc>
                        <a:spcBef>
                          <a:spcPts val="0"/>
                        </a:spcBef>
                        <a:spcAft>
                          <a:spcPts val="0"/>
                        </a:spcAft>
                        <a:buClr>
                          <a:srgbClr val="000000"/>
                        </a:buClr>
                        <a:buSzPts val="800"/>
                        <a:buFont typeface="Arial"/>
                        <a:buNone/>
                      </a:pPr>
                      <a:r>
                        <a:rPr lang="en-US" sz="1100" b="1" i="0" u="none" strike="noStrike" cap="none">
                          <a:solidFill>
                            <a:schemeClr val="accent1"/>
                          </a:solidFill>
                          <a:latin typeface="Source Sans Pro Semibold"/>
                          <a:ea typeface="Source Sans Pro Semibold"/>
                          <a:cs typeface="Source Sans Pro Semibold"/>
                          <a:sym typeface="Source Sans Pro SemiBold"/>
                        </a:rPr>
                        <a:t>NOTES</a:t>
                      </a:r>
                      <a:endParaRPr sz="1100"/>
                    </a:p>
                  </a:txBody>
                  <a:tcPr marL="91450" marR="24375" marT="24375" marB="2437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941658">
                <a:tc>
                  <a:txBody>
                    <a:bodyPr/>
                    <a:lstStyle/>
                    <a:p>
                      <a:pPr marL="0" lvl="0" indent="0" algn="l">
                        <a:lnSpc>
                          <a:spcPct val="100000"/>
                        </a:lnSpc>
                        <a:spcBef>
                          <a:spcPts val="0"/>
                        </a:spcBef>
                        <a:spcAft>
                          <a:spcPts val="0"/>
                        </a:spcAft>
                        <a:buNone/>
                      </a:pPr>
                      <a:r>
                        <a:rPr lang="en-US" sz="1200" b="0" u="none" strike="noStrike" cap="none">
                          <a:solidFill>
                            <a:schemeClr val="dk2"/>
                          </a:solidFill>
                          <a:latin typeface="Source Sans Pro Semibold"/>
                          <a:ea typeface="Source Sans Pro"/>
                          <a:cs typeface="Source Sans Pro"/>
                        </a:rPr>
                        <a:t>Legal review</a:t>
                      </a:r>
                      <a:endParaRPr sz="1200" b="0" u="none" strike="noStrike" cap="none">
                        <a:solidFill>
                          <a:schemeClr val="dk2"/>
                        </a:solidFill>
                        <a:latin typeface="Source Sans Pro Semibold"/>
                        <a:ea typeface="Source Sans Pro"/>
                        <a:cs typeface="Source Sans Pro"/>
                        <a:sym typeface="Source Sans Pro"/>
                      </a:endParaRPr>
                    </a:p>
                  </a:txBody>
                  <a:tcPr marL="24375" marR="182875" marT="91450" marB="914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lumMod val="25000"/>
                          <a:lumOff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gn="l">
                        <a:lnSpc>
                          <a:spcPct val="100000"/>
                        </a:lnSpc>
                        <a:spcBef>
                          <a:spcPts val="0"/>
                        </a:spcBef>
                        <a:spcAft>
                          <a:spcPts val="0"/>
                        </a:spcAft>
                        <a:buNone/>
                      </a:pPr>
                      <a:r>
                        <a:rPr lang="en-US" sz="1200" u="none" strike="noStrike" cap="none">
                          <a:solidFill>
                            <a:schemeClr val="dk2"/>
                          </a:solidFill>
                          <a:latin typeface="Source Sans Pro"/>
                          <a:ea typeface="Source Sans Pro"/>
                          <a:cs typeface="Source Sans Pro"/>
                        </a:rPr>
                        <a:t>Tarsha Tremble (Business Owner)</a:t>
                      </a:r>
                      <a:endParaRPr sz="1200" u="none" strike="noStrike" cap="none">
                        <a:solidFill>
                          <a:schemeClr val="dk2"/>
                        </a:solidFill>
                        <a:latin typeface="Source Sans Pro"/>
                        <a:ea typeface="Source Sans Pro"/>
                        <a:cs typeface="Source Sans Pro"/>
                        <a:sym typeface="Source Sans Pro"/>
                      </a:endParaRPr>
                    </a:p>
                  </a:txBody>
                  <a:tcPr marL="24375" marR="182875" marT="91450" marB="914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lumMod val="25000"/>
                          <a:lumOff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lvl="0" indent="-171450" algn="l" defTabSz="914400" rtl="0" eaLnBrk="1" fontAlgn="auto" latinLnBrk="0" hangingPunct="1">
                        <a:lnSpc>
                          <a:spcPct val="100000"/>
                        </a:lnSpc>
                        <a:spcBef>
                          <a:spcPts val="0"/>
                        </a:spcBef>
                        <a:spcAft>
                          <a:spcPts val="600"/>
                        </a:spcAft>
                        <a:buClr>
                          <a:srgbClr val="000000"/>
                        </a:buClr>
                        <a:buSzTx/>
                        <a:buFont typeface="Wingdings" panose="020B0604020202020204" pitchFamily="34" charset="0"/>
                        <a:buChar char="§"/>
                        <a:tabLst/>
                        <a:defRPr/>
                      </a:pPr>
                      <a:r>
                        <a:rPr lang="en-US" sz="1200" u="none" strike="noStrike" cap="none">
                          <a:solidFill>
                            <a:schemeClr val="dk2"/>
                          </a:solidFill>
                          <a:latin typeface="Source Sans Pro"/>
                          <a:ea typeface="Source Sans Pro"/>
                          <a:cs typeface="Source Sans Pro"/>
                        </a:rPr>
                        <a:t>Business Owner is seeking a POC with the Office of General Counsel to understand requirements for legal review and timeline</a:t>
                      </a:r>
                      <a:endParaRPr lang="en-US" sz="1200" u="none" strike="noStrike" cap="none">
                        <a:solidFill>
                          <a:schemeClr val="dk2"/>
                        </a:solidFill>
                        <a:latin typeface="Source Sans Pro"/>
                        <a:ea typeface="Source Sans Pro"/>
                        <a:cs typeface="Source Sans Pro"/>
                        <a:sym typeface="Source Sans Pro"/>
                      </a:endParaRPr>
                    </a:p>
                  </a:txBody>
                  <a:tcPr marL="24375" marR="182875" marT="91450" marB="914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lumMod val="25000"/>
                          <a:lumOff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gn="l">
                        <a:lnSpc>
                          <a:spcPct val="100000"/>
                        </a:lnSpc>
                        <a:spcBef>
                          <a:spcPts val="0"/>
                        </a:spcBef>
                        <a:spcAft>
                          <a:spcPts val="0"/>
                        </a:spcAft>
                        <a:buNone/>
                      </a:pPr>
                      <a:r>
                        <a:rPr lang="en-US" sz="1200" u="none" strike="noStrike" cap="none">
                          <a:solidFill>
                            <a:schemeClr val="dk2"/>
                          </a:solidFill>
                          <a:latin typeface="Source Sans Pro"/>
                          <a:ea typeface="Source Sans Pro"/>
                          <a:cs typeface="Source Sans Pro"/>
                        </a:rPr>
                        <a:t>Sprint 3 - </a:t>
                      </a:r>
                    </a:p>
                    <a:p>
                      <a:pPr marL="0" lvl="0" indent="0" algn="l">
                        <a:lnSpc>
                          <a:spcPct val="100000"/>
                        </a:lnSpc>
                        <a:spcBef>
                          <a:spcPts val="0"/>
                        </a:spcBef>
                        <a:spcAft>
                          <a:spcPts val="0"/>
                        </a:spcAft>
                        <a:buNone/>
                      </a:pPr>
                      <a:r>
                        <a:rPr lang="en-US" sz="1200" u="none" strike="noStrike" cap="none">
                          <a:solidFill>
                            <a:schemeClr val="dk2"/>
                          </a:solidFill>
                          <a:latin typeface="Source Sans Pro"/>
                          <a:ea typeface="Source Sans Pro"/>
                          <a:cs typeface="Source Sans Pro"/>
                        </a:rPr>
                        <a:t>3/2/22</a:t>
                      </a:r>
                      <a:endParaRPr sz="1200" u="none" strike="noStrike" cap="none">
                        <a:solidFill>
                          <a:schemeClr val="dk2"/>
                        </a:solidFill>
                        <a:latin typeface="Source Sans Pro"/>
                        <a:ea typeface="Source Sans Pro"/>
                        <a:cs typeface="Source Sans Pro"/>
                        <a:sym typeface="Source Sans Pro"/>
                      </a:endParaRPr>
                    </a:p>
                  </a:txBody>
                  <a:tcPr marL="24375" marR="24375" marT="91450" marB="914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lumMod val="25000"/>
                          <a:lumOff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gn="l">
                        <a:lnSpc>
                          <a:spcPct val="100000"/>
                        </a:lnSpc>
                        <a:spcBef>
                          <a:spcPts val="0"/>
                        </a:spcBef>
                        <a:spcAft>
                          <a:spcPts val="0"/>
                        </a:spcAft>
                        <a:buNone/>
                      </a:pPr>
                      <a:endParaRPr sz="1200" u="none" strike="noStrike" cap="none">
                        <a:solidFill>
                          <a:schemeClr val="dk2"/>
                        </a:solidFill>
                        <a:latin typeface="Source Sans Pro"/>
                        <a:ea typeface="Source Sans Pro"/>
                        <a:cs typeface="Source Sans Pro"/>
                        <a:sym typeface="Source Sans Pro"/>
                      </a:endParaRPr>
                    </a:p>
                  </a:txBody>
                  <a:tcPr marL="24375" marR="24375" marT="91450" marB="914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lumMod val="25000"/>
                          <a:lumOff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rtl="0" eaLnBrk="1" fontAlgn="auto" latinLnBrk="0" hangingPunct="1">
                        <a:lnSpc>
                          <a:spcPct val="100000"/>
                        </a:lnSpc>
                        <a:spcBef>
                          <a:spcPts val="0"/>
                        </a:spcBef>
                        <a:spcAft>
                          <a:spcPts val="0"/>
                        </a:spcAft>
                        <a:buClr>
                          <a:srgbClr val="000000"/>
                        </a:buClr>
                        <a:buSzTx/>
                        <a:buFont typeface="Arial"/>
                        <a:buNone/>
                      </a:pPr>
                      <a:r>
                        <a:rPr lang="en-US" sz="1200" u="none" strike="noStrike" cap="none">
                          <a:solidFill>
                            <a:schemeClr val="dk2"/>
                          </a:solidFill>
                          <a:latin typeface="Source Sans Pro"/>
                          <a:ea typeface="Source Sans Pro"/>
                          <a:cs typeface="Source Sans Pro"/>
                        </a:rPr>
                        <a:t>Team is awaiting further word on legal review after follow up from Chris Johnson</a:t>
                      </a:r>
                      <a:endParaRPr lang="en-US" sz="1200" u="none" strike="noStrike" cap="none">
                        <a:solidFill>
                          <a:schemeClr val="dk2"/>
                        </a:solidFill>
                        <a:latin typeface="Source Sans Pro"/>
                        <a:ea typeface="Source Sans Pro"/>
                        <a:cs typeface="Source Sans Pro"/>
                        <a:sym typeface="Source Sans Pro"/>
                      </a:endParaRPr>
                    </a:p>
                  </a:txBody>
                  <a:tcPr marL="91450" marR="24375" marT="91450" marB="914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lumMod val="25000"/>
                          <a:lumOff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653591679"/>
                  </a:ext>
                </a:extLst>
              </a:tr>
              <a:tr h="1852099">
                <a:tc>
                  <a:txBody>
                    <a:bodyPr/>
                    <a:lstStyle/>
                    <a:p>
                      <a:pPr marL="0" lvl="0" indent="0" algn="l">
                        <a:lnSpc>
                          <a:spcPct val="100000"/>
                        </a:lnSpc>
                        <a:spcBef>
                          <a:spcPts val="0"/>
                        </a:spcBef>
                        <a:spcAft>
                          <a:spcPts val="0"/>
                        </a:spcAft>
                        <a:buNone/>
                      </a:pPr>
                      <a:r>
                        <a:rPr lang="en-US" sz="1200" b="0" u="none" strike="noStrike" cap="none">
                          <a:solidFill>
                            <a:schemeClr val="dk2"/>
                          </a:solidFill>
                          <a:latin typeface="Source Sans Pro Semibold"/>
                          <a:ea typeface="Source Sans Pro"/>
                          <a:cs typeface="Source Sans Pro"/>
                          <a:sym typeface="Source Sans Pro"/>
                        </a:rPr>
                        <a:t>Frontend</a:t>
                      </a:r>
                      <a:r>
                        <a:rPr lang="en-US" sz="1200" b="0" u="none" strike="noStrike" cap="none">
                          <a:solidFill>
                            <a:schemeClr val="dk2"/>
                          </a:solidFill>
                          <a:latin typeface="Source Sans Pro Semibold"/>
                          <a:ea typeface="Source Sans Pro"/>
                          <a:cs typeface="Source Sans Pro"/>
                        </a:rPr>
                        <a:t> </a:t>
                      </a:r>
                    </a:p>
                    <a:p>
                      <a:pPr marL="0" lvl="0" indent="0" algn="l">
                        <a:lnSpc>
                          <a:spcPct val="100000"/>
                        </a:lnSpc>
                        <a:spcBef>
                          <a:spcPts val="0"/>
                        </a:spcBef>
                        <a:spcAft>
                          <a:spcPts val="0"/>
                        </a:spcAft>
                        <a:buNone/>
                      </a:pPr>
                      <a:r>
                        <a:rPr lang="en-US" sz="1200" b="0" u="none" strike="noStrike" cap="none">
                          <a:solidFill>
                            <a:schemeClr val="dk2"/>
                          </a:solidFill>
                          <a:latin typeface="Source Sans Pro Semibold"/>
                          <a:ea typeface="Source Sans Pro"/>
                          <a:cs typeface="Source Sans Pro"/>
                        </a:rPr>
                        <a:t>re-design</a:t>
                      </a:r>
                      <a:r>
                        <a:rPr lang="en-US" sz="1200" b="0" u="none" strike="noStrike" cap="none">
                          <a:solidFill>
                            <a:schemeClr val="dk2"/>
                          </a:solidFill>
                          <a:latin typeface="Source Sans Pro Semibold"/>
                          <a:ea typeface="Source Sans Pro"/>
                          <a:cs typeface="Source Sans Pro"/>
                          <a:sym typeface="Source Sans Pro"/>
                        </a:rPr>
                        <a:t> by </a:t>
                      </a:r>
                      <a:r>
                        <a:rPr lang="en-US" sz="1200" b="0" u="none" strike="noStrike" cap="none">
                          <a:solidFill>
                            <a:schemeClr val="dk2"/>
                          </a:solidFill>
                          <a:latin typeface="Source Sans Pro Semibold"/>
                          <a:ea typeface="Source Sans Pro"/>
                          <a:cs typeface="Source Sans Pro"/>
                        </a:rPr>
                        <a:t>sitewide</a:t>
                      </a:r>
                      <a:r>
                        <a:rPr lang="en-US" sz="1200" b="0" u="none" strike="noStrike" cap="none">
                          <a:solidFill>
                            <a:schemeClr val="dk2"/>
                          </a:solidFill>
                          <a:latin typeface="Source Sans Pro Semibold"/>
                          <a:ea typeface="Source Sans Pro"/>
                          <a:cs typeface="Source Sans Pro"/>
                          <a:sym typeface="Source Sans Pro"/>
                        </a:rPr>
                        <a:t> content team</a:t>
                      </a:r>
                      <a:endParaRPr sz="1200" b="0" u="none" strike="noStrike" cap="none">
                        <a:solidFill>
                          <a:schemeClr val="dk2"/>
                        </a:solidFill>
                        <a:latin typeface="Source Sans Pro Semibold"/>
                        <a:ea typeface="Source Sans Pro"/>
                        <a:cs typeface="Source Sans Pro"/>
                        <a:sym typeface="Source Sans Pro"/>
                      </a:endParaRPr>
                    </a:p>
                  </a:txBody>
                  <a:tcPr marL="24375" marR="182875" marT="91450" marB="914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25000"/>
                          <a:lumOff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gn="l">
                        <a:lnSpc>
                          <a:spcPct val="100000"/>
                        </a:lnSpc>
                        <a:spcBef>
                          <a:spcPts val="0"/>
                        </a:spcBef>
                        <a:spcAft>
                          <a:spcPts val="0"/>
                        </a:spcAft>
                        <a:buNone/>
                      </a:pPr>
                      <a:r>
                        <a:rPr lang="en-US" sz="1200" u="none" strike="noStrike" cap="none">
                          <a:solidFill>
                            <a:schemeClr val="dk2"/>
                          </a:solidFill>
                          <a:latin typeface="Source Sans Pro"/>
                          <a:ea typeface="Source Sans Pro"/>
                          <a:cs typeface="Source Sans Pro"/>
                          <a:sym typeface="Source Sans Pro"/>
                        </a:rPr>
                        <a:t>Danielle Theirry, Sitewide Content Team</a:t>
                      </a:r>
                      <a:endParaRPr sz="1200" u="none" strike="noStrike" cap="none">
                        <a:solidFill>
                          <a:schemeClr val="dk2"/>
                        </a:solidFill>
                        <a:latin typeface="Source Sans Pro"/>
                        <a:ea typeface="Source Sans Pro"/>
                        <a:cs typeface="Source Sans Pro"/>
                        <a:sym typeface="Source Sans Pro"/>
                      </a:endParaRPr>
                    </a:p>
                  </a:txBody>
                  <a:tcPr marL="24375" marR="182875" marT="91450" marB="914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25000"/>
                          <a:lumOff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lvl="0" indent="-171450" algn="l">
                        <a:lnSpc>
                          <a:spcPct val="100000"/>
                        </a:lnSpc>
                        <a:spcBef>
                          <a:spcPts val="0"/>
                        </a:spcBef>
                        <a:spcAft>
                          <a:spcPts val="600"/>
                        </a:spcAft>
                        <a:buFont typeface="Wingdings" panose="020B0604020202020204" pitchFamily="34" charset="0"/>
                        <a:buChar char="§"/>
                      </a:pPr>
                      <a:r>
                        <a:rPr lang="en-US" sz="1200" u="none" strike="noStrike" cap="none">
                          <a:solidFill>
                            <a:schemeClr val="dk2"/>
                          </a:solidFill>
                          <a:latin typeface="Source Sans Pro"/>
                          <a:ea typeface="Source Sans Pro"/>
                          <a:cs typeface="Source Sans Pro"/>
                          <a:sym typeface="Source Sans Pro"/>
                        </a:rPr>
                        <a:t>Sitewide Content has redesigned our front-end designs when building it in Drupal to comply with Drupal standards</a:t>
                      </a:r>
                    </a:p>
                    <a:p>
                      <a:pPr marL="171450" lvl="0" indent="-171450" algn="l">
                        <a:lnSpc>
                          <a:spcPct val="100000"/>
                        </a:lnSpc>
                        <a:spcBef>
                          <a:spcPts val="0"/>
                        </a:spcBef>
                        <a:spcAft>
                          <a:spcPts val="600"/>
                        </a:spcAft>
                        <a:buFont typeface="Wingdings" panose="020B0604020202020204" pitchFamily="34" charset="0"/>
                        <a:buChar char="§"/>
                      </a:pPr>
                      <a:r>
                        <a:rPr lang="en-US" sz="1200" u="none" strike="noStrike" cap="none">
                          <a:solidFill>
                            <a:schemeClr val="dk2"/>
                          </a:solidFill>
                          <a:latin typeface="Source Sans Pro"/>
                          <a:ea typeface="Source Sans Pro"/>
                          <a:cs typeface="Source Sans Pro"/>
                          <a:sym typeface="Source Sans Pro"/>
                        </a:rPr>
                        <a:t>1095-B team to handoff the download button </a:t>
                      </a:r>
                      <a:r>
                        <a:rPr lang="en-US" sz="1200" u="none" strike="noStrike" cap="none">
                          <a:solidFill>
                            <a:schemeClr val="dk2"/>
                          </a:solidFill>
                          <a:latin typeface="Source Sans Pro"/>
                          <a:ea typeface="Source Sans Pro"/>
                          <a:cs typeface="Source Sans Pro"/>
                        </a:rPr>
                        <a:t>in widget to</a:t>
                      </a:r>
                      <a:r>
                        <a:rPr lang="en-US" sz="1200" u="none" strike="noStrike" cap="none">
                          <a:solidFill>
                            <a:schemeClr val="dk2"/>
                          </a:solidFill>
                          <a:latin typeface="Source Sans Pro"/>
                          <a:ea typeface="Source Sans Pro"/>
                          <a:cs typeface="Source Sans Pro"/>
                          <a:sym typeface="Source Sans Pro"/>
                        </a:rPr>
                        <a:t> Sitewide content, then Sitewide content team will </a:t>
                      </a:r>
                      <a:r>
                        <a:rPr lang="en-US" sz="1200" u="none" strike="noStrike" cap="none">
                          <a:solidFill>
                            <a:schemeClr val="dk2"/>
                          </a:solidFill>
                          <a:latin typeface="Source Sans Pro"/>
                          <a:ea typeface="Source Sans Pro"/>
                          <a:cs typeface="Source Sans Pro"/>
                        </a:rPr>
                        <a:t>pull in the widget to the front end and own the full front end</a:t>
                      </a:r>
                    </a:p>
                    <a:p>
                      <a:pPr marL="171450" lvl="0" indent="-171450" algn="l">
                        <a:lnSpc>
                          <a:spcPct val="100000"/>
                        </a:lnSpc>
                        <a:spcBef>
                          <a:spcPts val="0"/>
                        </a:spcBef>
                        <a:spcAft>
                          <a:spcPts val="600"/>
                        </a:spcAft>
                        <a:buFont typeface="Wingdings" panose="020B0604020202020204" pitchFamily="34" charset="0"/>
                        <a:buChar char="§"/>
                      </a:pPr>
                      <a:r>
                        <a:rPr lang="en-US" sz="1200" u="none" strike="noStrike" cap="none">
                          <a:solidFill>
                            <a:schemeClr val="dk2"/>
                          </a:solidFill>
                          <a:latin typeface="Source Sans Pro"/>
                          <a:ea typeface="Source Sans Pro"/>
                          <a:cs typeface="Source Sans Pro"/>
                        </a:rPr>
                        <a:t>Sitewide Content to own and manage </a:t>
                      </a:r>
                      <a:r>
                        <a:rPr lang="en-US" sz="1200" u="none" strike="noStrike" cap="none">
                          <a:solidFill>
                            <a:schemeClr val="dk2"/>
                          </a:solidFill>
                          <a:latin typeface="Source Sans Pro"/>
                          <a:ea typeface="Source Sans Pro"/>
                          <a:cs typeface="Source Sans Pro"/>
                          <a:sym typeface="Source Sans Pro"/>
                        </a:rPr>
                        <a:t>any changes on the front end as part of their timeline</a:t>
                      </a:r>
                    </a:p>
                    <a:p>
                      <a:pPr marL="171450" lvl="0" indent="-171450" algn="l">
                        <a:lnSpc>
                          <a:spcPct val="100000"/>
                        </a:lnSpc>
                        <a:spcBef>
                          <a:spcPts val="0"/>
                        </a:spcBef>
                        <a:spcAft>
                          <a:spcPts val="600"/>
                        </a:spcAft>
                        <a:buFont typeface="Wingdings" panose="020B0604020202020204" pitchFamily="34" charset="0"/>
                        <a:buChar char="§"/>
                      </a:pPr>
                      <a:r>
                        <a:rPr lang="en-US" sz="1200" u="none" strike="noStrike" cap="none">
                          <a:solidFill>
                            <a:schemeClr val="dk2"/>
                          </a:solidFill>
                          <a:latin typeface="Source Sans Pro"/>
                          <a:ea typeface="Source Sans Pro"/>
                          <a:cs typeface="Source Sans Pro"/>
                        </a:rPr>
                        <a:t>Sitewide Content to define launch date, since they own front end</a:t>
                      </a:r>
                    </a:p>
                  </a:txBody>
                  <a:tcPr marL="24375" marR="182875" marT="91450" marB="914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25000"/>
                          <a:lumOff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gn="l">
                        <a:lnSpc>
                          <a:spcPct val="100000"/>
                        </a:lnSpc>
                        <a:spcBef>
                          <a:spcPts val="0"/>
                        </a:spcBef>
                        <a:spcAft>
                          <a:spcPts val="0"/>
                        </a:spcAft>
                        <a:buNone/>
                      </a:pPr>
                      <a:r>
                        <a:rPr lang="en-US" sz="1200" u="none" strike="noStrike" cap="none">
                          <a:solidFill>
                            <a:schemeClr val="dk2"/>
                          </a:solidFill>
                          <a:latin typeface="Source Sans Pro"/>
                          <a:ea typeface="Source Sans Pro"/>
                          <a:cs typeface="Source Sans Pro"/>
                          <a:sym typeface="Source Sans Pro"/>
                        </a:rPr>
                        <a:t>Sprint 4 – 3/15/22</a:t>
                      </a:r>
                      <a:endParaRPr sz="1200" u="none" strike="noStrike" cap="none">
                        <a:solidFill>
                          <a:schemeClr val="dk2"/>
                        </a:solidFill>
                        <a:latin typeface="Source Sans Pro"/>
                        <a:ea typeface="Source Sans Pro"/>
                        <a:cs typeface="Source Sans Pro"/>
                        <a:sym typeface="Source Sans Pro"/>
                      </a:endParaRPr>
                    </a:p>
                  </a:txBody>
                  <a:tcPr marL="24375" marR="24375" marT="91450" marB="914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25000"/>
                          <a:lumOff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gn="l">
                        <a:lnSpc>
                          <a:spcPct val="100000"/>
                        </a:lnSpc>
                        <a:spcBef>
                          <a:spcPts val="0"/>
                        </a:spcBef>
                        <a:spcAft>
                          <a:spcPts val="0"/>
                        </a:spcAft>
                        <a:buNone/>
                      </a:pPr>
                      <a:endParaRPr sz="1200" u="none" strike="noStrike" cap="none">
                        <a:solidFill>
                          <a:schemeClr val="dk2"/>
                        </a:solidFill>
                        <a:latin typeface="Source Sans Pro"/>
                        <a:ea typeface="Source Sans Pro"/>
                        <a:cs typeface="Source Sans Pro"/>
                        <a:sym typeface="Source Sans Pro"/>
                      </a:endParaRPr>
                    </a:p>
                  </a:txBody>
                  <a:tcPr marL="24375" marR="24375" marT="91450" marB="914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25000"/>
                          <a:lumOff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gn="l">
                        <a:lnSpc>
                          <a:spcPct val="100000"/>
                        </a:lnSpc>
                        <a:spcBef>
                          <a:spcPts val="0"/>
                        </a:spcBef>
                        <a:spcAft>
                          <a:spcPts val="600"/>
                        </a:spcAft>
                        <a:buNone/>
                      </a:pPr>
                      <a:r>
                        <a:rPr lang="en-US" sz="1200" u="none" strike="noStrike" cap="none">
                          <a:solidFill>
                            <a:schemeClr val="dk2"/>
                          </a:solidFill>
                          <a:latin typeface="Source Sans Pro"/>
                          <a:ea typeface="Source Sans Pro"/>
                          <a:cs typeface="Source Sans Pro"/>
                          <a:sym typeface="Source Sans Pro"/>
                        </a:rPr>
                        <a:t>Team passed the following Collaboration Cycle milestones, with our version of designs:</a:t>
                      </a:r>
                      <a:r>
                        <a:rPr lang="en-US" sz="1200" u="none" strike="noStrike" cap="none">
                          <a:solidFill>
                            <a:schemeClr val="dk2"/>
                          </a:solidFill>
                          <a:latin typeface="Source Sans Pro"/>
                          <a:ea typeface="Source Sans Pro"/>
                          <a:cs typeface="Source Sans Pro"/>
                        </a:rPr>
                        <a:t>  </a:t>
                      </a:r>
                    </a:p>
                    <a:p>
                      <a:pPr marL="365760" lvl="0" indent="-182880" algn="l">
                        <a:lnSpc>
                          <a:spcPct val="100000"/>
                        </a:lnSpc>
                        <a:spcBef>
                          <a:spcPts val="0"/>
                        </a:spcBef>
                        <a:spcAft>
                          <a:spcPts val="600"/>
                        </a:spcAft>
                        <a:buFont typeface="Wingdings"/>
                        <a:buChar char="§"/>
                      </a:pPr>
                      <a:r>
                        <a:rPr lang="en-US" sz="1200" u="none" strike="noStrike" cap="none">
                          <a:solidFill>
                            <a:schemeClr val="dk2"/>
                          </a:solidFill>
                          <a:latin typeface="Source Sans Pro"/>
                          <a:ea typeface="Source Sans Pro"/>
                          <a:cs typeface="Source Sans Pro"/>
                          <a:sym typeface="Source Sans Pro"/>
                        </a:rPr>
                        <a:t>Midpoint Review on</a:t>
                      </a:r>
                      <a:r>
                        <a:rPr lang="en-US" sz="1200" u="none" strike="noStrike" cap="none">
                          <a:solidFill>
                            <a:schemeClr val="dk2"/>
                          </a:solidFill>
                          <a:latin typeface="Source Sans Pro"/>
                          <a:ea typeface="Source Sans Pro"/>
                          <a:cs typeface="Source Sans Pro"/>
                        </a:rPr>
                        <a:t> 3/04/22</a:t>
                      </a:r>
                    </a:p>
                    <a:p>
                      <a:pPr marL="365760" lvl="0" indent="-182880" algn="l">
                        <a:lnSpc>
                          <a:spcPct val="100000"/>
                        </a:lnSpc>
                        <a:spcBef>
                          <a:spcPts val="0"/>
                        </a:spcBef>
                        <a:spcAft>
                          <a:spcPts val="600"/>
                        </a:spcAft>
                        <a:buFont typeface="Wingdings"/>
                        <a:buChar char="§"/>
                      </a:pPr>
                      <a:r>
                        <a:rPr lang="en-US" sz="1200" u="none" strike="noStrike" cap="none">
                          <a:solidFill>
                            <a:schemeClr val="dk2"/>
                          </a:solidFill>
                          <a:latin typeface="Source Sans Pro"/>
                          <a:ea typeface="Source Sans Pro"/>
                          <a:cs typeface="Source Sans Pro"/>
                        </a:rPr>
                        <a:t>Content</a:t>
                      </a:r>
                      <a:r>
                        <a:rPr lang="en-US" sz="1200" u="none" strike="noStrike" cap="none">
                          <a:solidFill>
                            <a:schemeClr val="dk2"/>
                          </a:solidFill>
                          <a:latin typeface="Source Sans Pro"/>
                          <a:ea typeface="Source Sans Pro"/>
                          <a:cs typeface="Source Sans Pro"/>
                          <a:sym typeface="Source Sans Pro"/>
                        </a:rPr>
                        <a:t> &amp; IA Review on 3/09/22 (finalized URL)</a:t>
                      </a:r>
                      <a:endParaRPr sz="1200" u="none" strike="noStrike" cap="none">
                        <a:solidFill>
                          <a:schemeClr val="dk2"/>
                        </a:solidFill>
                        <a:latin typeface="Source Sans Pro"/>
                        <a:ea typeface="Source Sans Pro"/>
                        <a:cs typeface="Source Sans Pro"/>
                        <a:sym typeface="Source Sans Pro"/>
                      </a:endParaRPr>
                    </a:p>
                  </a:txBody>
                  <a:tcPr marL="91450" marR="24375" marT="91450" marB="914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25000"/>
                          <a:lumOff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674001478"/>
                  </a:ext>
                </a:extLst>
              </a:tr>
              <a:tr h="0">
                <a:tc>
                  <a:txBody>
                    <a:bodyPr/>
                    <a:lstStyle/>
                    <a:p>
                      <a:pPr marL="0" lvl="0" indent="0" algn="l">
                        <a:lnSpc>
                          <a:spcPct val="100000"/>
                        </a:lnSpc>
                        <a:spcBef>
                          <a:spcPts val="0"/>
                        </a:spcBef>
                        <a:spcAft>
                          <a:spcPts val="0"/>
                        </a:spcAft>
                        <a:buNone/>
                      </a:pPr>
                      <a:r>
                        <a:rPr lang="en-US" sz="1200" u="none" strike="noStrike" cap="none">
                          <a:solidFill>
                            <a:schemeClr val="dk2"/>
                          </a:solidFill>
                          <a:latin typeface="Source Sans Pro"/>
                          <a:ea typeface="Source Sans Pro"/>
                          <a:cs typeface="Source Sans Pro"/>
                        </a:rPr>
                        <a:t>PDF Accessibility </a:t>
                      </a:r>
                      <a:endParaRPr sz="1200" u="none" strike="noStrike" cap="none">
                        <a:solidFill>
                          <a:schemeClr val="dk2"/>
                        </a:solidFill>
                        <a:latin typeface="Source Sans Pro"/>
                        <a:ea typeface="Source Sans Pro"/>
                        <a:cs typeface="Source Sans Pro"/>
                        <a:sym typeface="Source Sans Pro"/>
                      </a:endParaRPr>
                    </a:p>
                  </a:txBody>
                  <a:tcPr marL="24375" marR="182875" marT="91450" marB="914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gn="l">
                        <a:lnSpc>
                          <a:spcPct val="100000"/>
                        </a:lnSpc>
                        <a:spcBef>
                          <a:spcPts val="0"/>
                        </a:spcBef>
                        <a:spcAft>
                          <a:spcPts val="0"/>
                        </a:spcAft>
                        <a:buNone/>
                      </a:pPr>
                      <a:r>
                        <a:rPr lang="en-US" sz="1200" u="none" strike="noStrike" cap="none">
                          <a:solidFill>
                            <a:schemeClr val="dk2"/>
                          </a:solidFill>
                          <a:latin typeface="Source Sans Pro"/>
                          <a:ea typeface="Source Sans Pro"/>
                          <a:cs typeface="Source Sans Pro"/>
                        </a:rPr>
                        <a:t>Tarsha Tremble (Business Owner)</a:t>
                      </a:r>
                      <a:endParaRPr lang="en-US" sz="1200" u="none" strike="noStrike" cap="none">
                        <a:solidFill>
                          <a:schemeClr val="dk2"/>
                        </a:solidFill>
                        <a:latin typeface="Source Sans Pro"/>
                        <a:ea typeface="Source Sans Pro"/>
                        <a:cs typeface="Source Sans Pro"/>
                        <a:sym typeface="Source Sans Pro"/>
                      </a:endParaRPr>
                    </a:p>
                  </a:txBody>
                  <a:tcPr marL="24375" marR="182875" marT="91450" marB="914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171450" lvl="0" indent="-171450" algn="l">
                        <a:lnSpc>
                          <a:spcPct val="100000"/>
                        </a:lnSpc>
                        <a:spcBef>
                          <a:spcPts val="0"/>
                        </a:spcBef>
                        <a:spcAft>
                          <a:spcPts val="0"/>
                        </a:spcAft>
                        <a:buFont typeface="Arial"/>
                        <a:buChar char="•"/>
                      </a:pPr>
                      <a:r>
                        <a:rPr lang="en-US" sz="1200" b="0" i="0" u="none" strike="noStrike" cap="none" noProof="0">
                          <a:solidFill>
                            <a:schemeClr val="dk2"/>
                          </a:solidFill>
                        </a:rPr>
                        <a:t>Team received PDF from IRS, but PDF is still not accessible once it is populated with data</a:t>
                      </a:r>
                      <a:endParaRPr sz="1200" b="0" i="0" u="none" strike="noStrike" cap="none" noProof="0">
                        <a:solidFill>
                          <a:schemeClr val="dk2"/>
                        </a:solidFill>
                        <a:sym typeface="Source Sans Pro"/>
                      </a:endParaRPr>
                    </a:p>
                  </a:txBody>
                  <a:tcPr marL="24375" marR="182875" marT="91450" marB="914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gn="l">
                        <a:lnSpc>
                          <a:spcPct val="100000"/>
                        </a:lnSpc>
                        <a:spcBef>
                          <a:spcPts val="0"/>
                        </a:spcBef>
                        <a:spcAft>
                          <a:spcPts val="0"/>
                        </a:spcAft>
                        <a:buNone/>
                      </a:pPr>
                      <a:r>
                        <a:rPr lang="en-US" sz="1200" u="none" strike="noStrike" cap="none">
                          <a:solidFill>
                            <a:schemeClr val="dk2"/>
                          </a:solidFill>
                          <a:latin typeface="Source Sans Pro"/>
                          <a:ea typeface="Source Sans Pro"/>
                          <a:cs typeface="Source Sans Pro"/>
                        </a:rPr>
                        <a:t>Sprint 3 – 3/3/22</a:t>
                      </a:r>
                      <a:endParaRPr sz="1200" u="none" strike="noStrike" cap="none">
                        <a:solidFill>
                          <a:schemeClr val="dk2"/>
                        </a:solidFill>
                        <a:latin typeface="Source Sans Pro"/>
                        <a:ea typeface="Source Sans Pro"/>
                        <a:cs typeface="Source Sans Pro"/>
                        <a:sym typeface="Source Sans Pro"/>
                      </a:endParaRPr>
                    </a:p>
                  </a:txBody>
                  <a:tcPr marL="24375" marR="24375" marT="91450" marB="914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gn="l">
                        <a:lnSpc>
                          <a:spcPct val="100000"/>
                        </a:lnSpc>
                        <a:spcBef>
                          <a:spcPts val="0"/>
                        </a:spcBef>
                        <a:spcAft>
                          <a:spcPts val="0"/>
                        </a:spcAft>
                        <a:buNone/>
                      </a:pPr>
                      <a:endParaRPr sz="1200" u="none" strike="noStrike" cap="none">
                        <a:solidFill>
                          <a:schemeClr val="dk2"/>
                        </a:solidFill>
                        <a:latin typeface="Source Sans Pro"/>
                        <a:ea typeface="Source Sans Pro"/>
                        <a:cs typeface="Source Sans Pro"/>
                        <a:sym typeface="Source Sans Pro"/>
                      </a:endParaRPr>
                    </a:p>
                  </a:txBody>
                  <a:tcPr marL="24375" marR="24375" marT="91450" marB="914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91440" marR="0" lvl="0" indent="0" algn="l">
                        <a:lnSpc>
                          <a:spcPct val="100000"/>
                        </a:lnSpc>
                        <a:spcBef>
                          <a:spcPts val="1000"/>
                        </a:spcBef>
                        <a:spcAft>
                          <a:spcPts val="0"/>
                        </a:spcAft>
                        <a:buClr>
                          <a:srgbClr val="000000"/>
                        </a:buClr>
                        <a:buNone/>
                      </a:pPr>
                      <a:r>
                        <a:rPr lang="en-US" sz="1200" b="0" i="0" u="none" strike="noStrike" cap="none" noProof="0">
                          <a:solidFill>
                            <a:schemeClr val="dk2"/>
                          </a:solidFill>
                        </a:rPr>
                        <a:t>Team is awaiting further word from 508 office</a:t>
                      </a:r>
                      <a:endParaRPr lang="en-US" sz="1200" b="0" i="0" u="none" strike="noStrike" cap="none" noProof="0">
                        <a:solidFill>
                          <a:schemeClr val="dk2"/>
                        </a:solidFill>
                        <a:sym typeface="Source Sans Pro"/>
                      </a:endParaRPr>
                    </a:p>
                  </a:txBody>
                  <a:tcPr marL="91450" marR="24375" marT="91450" marB="914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158798524"/>
                  </a:ext>
                </a:extLst>
              </a:tr>
            </a:tbl>
          </a:graphicData>
        </a:graphic>
      </p:graphicFrame>
      <p:sp>
        <p:nvSpPr>
          <p:cNvPr id="28" name="Oval 27">
            <a:extLst>
              <a:ext uri="{FF2B5EF4-FFF2-40B4-BE49-F238E27FC236}">
                <a16:creationId xmlns:a16="http://schemas.microsoft.com/office/drawing/2014/main" id="{6C1475B9-0D65-4E9C-A1BE-5280DA459F1D}"/>
              </a:ext>
            </a:extLst>
          </p:cNvPr>
          <p:cNvSpPr/>
          <p:nvPr/>
        </p:nvSpPr>
        <p:spPr>
          <a:xfrm>
            <a:off x="7739276" y="1627427"/>
            <a:ext cx="176721" cy="183419"/>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9" name="Oval 28">
            <a:extLst>
              <a:ext uri="{FF2B5EF4-FFF2-40B4-BE49-F238E27FC236}">
                <a16:creationId xmlns:a16="http://schemas.microsoft.com/office/drawing/2014/main" id="{76F8C6E7-F209-41F4-BEFF-E33A2664F7DA}"/>
              </a:ext>
            </a:extLst>
          </p:cNvPr>
          <p:cNvSpPr/>
          <p:nvPr/>
        </p:nvSpPr>
        <p:spPr>
          <a:xfrm>
            <a:off x="7737751" y="2480197"/>
            <a:ext cx="176721" cy="183419"/>
          </a:xfrm>
          <a:prstGeom prst="ellipse">
            <a:avLst/>
          </a:prstGeom>
          <a:solidFill>
            <a:schemeClr val="bg1">
              <a:lumMod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Google Shape;693;p20">
            <a:extLst>
              <a:ext uri="{FF2B5EF4-FFF2-40B4-BE49-F238E27FC236}">
                <a16:creationId xmlns:a16="http://schemas.microsoft.com/office/drawing/2014/main" id="{F173D14F-C60A-49C7-A3F4-A50D97410ED9}"/>
              </a:ext>
            </a:extLst>
          </p:cNvPr>
          <p:cNvSpPr txBox="1">
            <a:spLocks noGrp="1"/>
          </p:cNvSpPr>
          <p:nvPr>
            <p:ph type="sldNum" idx="12"/>
          </p:nvPr>
        </p:nvSpPr>
        <p:spPr>
          <a:xfrm>
            <a:off x="11474969" y="6363970"/>
            <a:ext cx="406052" cy="365125"/>
          </a:xfrm>
          <a:prstGeom prst="rect">
            <a:avLst/>
          </a:prstGeom>
          <a:noFill/>
          <a:ln>
            <a:noFill/>
          </a:ln>
        </p:spPr>
        <p:txBody>
          <a:bodyPr spcFirstLastPara="1" wrap="square" lIns="91425" tIns="45700" rIns="91425" bIns="45700" anchor="ctr" anchorCtr="0">
            <a:noAutofit/>
          </a:bodyPr>
          <a:lstStyle/>
          <a:p>
            <a:pPr marL="0" lvl="0" indent="0" algn="r" rtl="0">
              <a:spcBef>
                <a:spcPts val="0"/>
              </a:spcBef>
              <a:spcAft>
                <a:spcPts val="0"/>
              </a:spcAft>
              <a:buNone/>
            </a:pPr>
            <a:fld id="{00000000-1234-1234-1234-123412341234}" type="slidenum">
              <a:rPr lang="en-US">
                <a:latin typeface="Source Sans Pro"/>
                <a:ea typeface="Source Sans Pro"/>
                <a:cs typeface="Source Sans Pro"/>
                <a:sym typeface="Source Sans Pro"/>
              </a:rPr>
              <a:t>14</a:t>
            </a:fld>
            <a:endParaRPr>
              <a:latin typeface="Source Sans Pro"/>
              <a:ea typeface="Source Sans Pro"/>
              <a:cs typeface="Source Sans Pro"/>
              <a:sym typeface="Source Sans Pro"/>
            </a:endParaRPr>
          </a:p>
        </p:txBody>
      </p:sp>
      <p:sp>
        <p:nvSpPr>
          <p:cNvPr id="6" name="Google Shape;695;p20">
            <a:extLst>
              <a:ext uri="{FF2B5EF4-FFF2-40B4-BE49-F238E27FC236}">
                <a16:creationId xmlns:a16="http://schemas.microsoft.com/office/drawing/2014/main" id="{27A3C5F9-CE7F-4416-9B0D-9A54A7CAF05D}"/>
              </a:ext>
            </a:extLst>
          </p:cNvPr>
          <p:cNvSpPr txBox="1"/>
          <p:nvPr/>
        </p:nvSpPr>
        <p:spPr>
          <a:xfrm>
            <a:off x="10140593" y="6408650"/>
            <a:ext cx="1500232" cy="276959"/>
          </a:xfrm>
          <a:prstGeom prst="rect">
            <a:avLst/>
          </a:prstGeom>
          <a:noFill/>
          <a:ln>
            <a:noFill/>
          </a:ln>
        </p:spPr>
        <p:txBody>
          <a:bodyPr spcFirstLastPara="1" wrap="square" lIns="91425" tIns="45700" rIns="91425" bIns="45700" anchor="t" anchorCtr="0">
            <a:spAutoFit/>
          </a:bodyPr>
          <a:lstStyle/>
          <a:p>
            <a:pPr algn="r"/>
            <a:r>
              <a:rPr lang="en-US" sz="1200">
                <a:solidFill>
                  <a:srgbClr val="747C74"/>
                </a:solidFill>
                <a:latin typeface="Source Sans Pro"/>
                <a:ea typeface="Source Sans Pro"/>
              </a:rPr>
              <a:t>1095-B Blockers</a:t>
            </a:r>
          </a:p>
        </p:txBody>
      </p:sp>
      <p:sp>
        <p:nvSpPr>
          <p:cNvPr id="7" name="Google Shape;471;p9">
            <a:extLst>
              <a:ext uri="{FF2B5EF4-FFF2-40B4-BE49-F238E27FC236}">
                <a16:creationId xmlns:a16="http://schemas.microsoft.com/office/drawing/2014/main" id="{3A459B18-D705-4DD6-8A98-83D381B62CE4}"/>
              </a:ext>
            </a:extLst>
          </p:cNvPr>
          <p:cNvSpPr txBox="1"/>
          <p:nvPr/>
        </p:nvSpPr>
        <p:spPr>
          <a:xfrm>
            <a:off x="419100" y="6408650"/>
            <a:ext cx="2723465" cy="276999"/>
          </a:xfrm>
          <a:prstGeom prst="rect">
            <a:avLst/>
          </a:prstGeom>
          <a:noFill/>
          <a:ln>
            <a:noFill/>
          </a:ln>
        </p:spPr>
        <p:txBody>
          <a:bodyPr spcFirstLastPara="1" wrap="square" lIns="0" tIns="45700" rIns="91425" bIns="45700" anchor="t" anchorCtr="0">
            <a:spAutoFit/>
          </a:bodyPr>
          <a:lstStyle/>
          <a:p>
            <a:pPr marL="0" marR="0" lvl="0" indent="0" algn="l" rtl="0">
              <a:spcBef>
                <a:spcPts val="0"/>
              </a:spcBef>
              <a:spcAft>
                <a:spcPts val="0"/>
              </a:spcAft>
              <a:buNone/>
            </a:pPr>
            <a:r>
              <a:rPr lang="en-US" sz="1200">
                <a:solidFill>
                  <a:srgbClr val="747C74"/>
                </a:solidFill>
                <a:latin typeface="Source Sans Pro"/>
                <a:ea typeface="Source Sans Pro"/>
                <a:cs typeface="Source Sans Pro"/>
                <a:sym typeface="Source Sans Pro"/>
              </a:rPr>
              <a:t>04-19</a:t>
            </a:r>
            <a:r>
              <a:rPr lang="en-US" sz="1200" b="0" i="0" u="none" strike="noStrike" cap="none">
                <a:solidFill>
                  <a:srgbClr val="747C74"/>
                </a:solidFill>
                <a:latin typeface="Source Sans Pro"/>
                <a:ea typeface="Source Sans Pro"/>
                <a:cs typeface="Source Sans Pro"/>
                <a:sym typeface="Source Sans Pro"/>
              </a:rPr>
              <a:t> Sprint 6 Demo</a:t>
            </a:r>
            <a:endParaRPr sz="1200" b="0" i="0" u="none" strike="noStrike" cap="none">
              <a:solidFill>
                <a:srgbClr val="747C74"/>
              </a:solidFill>
              <a:latin typeface="Calibri"/>
              <a:ea typeface="Calibri"/>
              <a:cs typeface="Calibri"/>
              <a:sym typeface="Calibri"/>
            </a:endParaRPr>
          </a:p>
        </p:txBody>
      </p:sp>
      <p:sp>
        <p:nvSpPr>
          <p:cNvPr id="10" name="Oval 9">
            <a:extLst>
              <a:ext uri="{FF2B5EF4-FFF2-40B4-BE49-F238E27FC236}">
                <a16:creationId xmlns:a16="http://schemas.microsoft.com/office/drawing/2014/main" id="{1E2A4B75-E524-EFA9-4532-F0B3FBEAAAA7}"/>
              </a:ext>
            </a:extLst>
          </p:cNvPr>
          <p:cNvSpPr/>
          <p:nvPr/>
        </p:nvSpPr>
        <p:spPr>
          <a:xfrm>
            <a:off x="7739276" y="4941595"/>
            <a:ext cx="176721" cy="183419"/>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411442401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9944BA5-58B4-490C-B2A2-09063358B27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5297"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09944BA5-58B4-490C-B2A2-09063358B27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D5921D8-9182-46DA-BF73-3160B3589AF0}"/>
              </a:ext>
            </a:extLst>
          </p:cNvPr>
          <p:cNvSpPr>
            <a:spLocks noGrp="1"/>
          </p:cNvSpPr>
          <p:nvPr>
            <p:ph type="title"/>
          </p:nvPr>
        </p:nvSpPr>
        <p:spPr>
          <a:xfrm>
            <a:off x="252781" y="372559"/>
            <a:ext cx="11889369" cy="613124"/>
          </a:xfrm>
        </p:spPr>
        <p:txBody>
          <a:bodyPr vert="horz"/>
          <a:lstStyle/>
          <a:p>
            <a:r>
              <a:rPr lang="en-GB"/>
              <a:t>1095-B Remaining actions, with external dependencies</a:t>
            </a:r>
          </a:p>
        </p:txBody>
      </p:sp>
      <p:sp>
        <p:nvSpPr>
          <p:cNvPr id="3" name="Slide Number Placeholder 2">
            <a:extLst>
              <a:ext uri="{FF2B5EF4-FFF2-40B4-BE49-F238E27FC236}">
                <a16:creationId xmlns:a16="http://schemas.microsoft.com/office/drawing/2014/main" id="{C21DDB4A-434A-49A0-BBD9-20F3079D2A8B}"/>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US" smtClean="0"/>
              <a:t>15</a:t>
            </a:fld>
            <a:endParaRPr lang="en-US"/>
          </a:p>
        </p:txBody>
      </p:sp>
      <p:graphicFrame>
        <p:nvGraphicFramePr>
          <p:cNvPr id="23" name="Google Shape;930;p28">
            <a:extLst>
              <a:ext uri="{FF2B5EF4-FFF2-40B4-BE49-F238E27FC236}">
                <a16:creationId xmlns:a16="http://schemas.microsoft.com/office/drawing/2014/main" id="{F4A84191-3BFB-48AA-A343-19DE4EA3891C}"/>
              </a:ext>
            </a:extLst>
          </p:cNvPr>
          <p:cNvGraphicFramePr/>
          <p:nvPr>
            <p:extLst>
              <p:ext uri="{D42A27DB-BD31-4B8C-83A1-F6EECF244321}">
                <p14:modId xmlns:p14="http://schemas.microsoft.com/office/powerpoint/2010/main" val="2338904281"/>
              </p:ext>
            </p:extLst>
          </p:nvPr>
        </p:nvGraphicFramePr>
        <p:xfrm>
          <a:off x="427741" y="938708"/>
          <a:ext cx="11357557" cy="5347449"/>
        </p:xfrm>
        <a:graphic>
          <a:graphicData uri="http://schemas.openxmlformats.org/drawingml/2006/table">
            <a:tbl>
              <a:tblPr>
                <a:noFill/>
                <a:tableStyleId>{1F4BC13E-62C9-4DB2-9D77-78E559E1D0AC}</a:tableStyleId>
              </a:tblPr>
              <a:tblGrid>
                <a:gridCol w="1453564">
                  <a:extLst>
                    <a:ext uri="{9D8B030D-6E8A-4147-A177-3AD203B41FA5}">
                      <a16:colId xmlns:a16="http://schemas.microsoft.com/office/drawing/2014/main" val="20000"/>
                    </a:ext>
                  </a:extLst>
                </a:gridCol>
                <a:gridCol w="860533">
                  <a:extLst>
                    <a:ext uri="{9D8B030D-6E8A-4147-A177-3AD203B41FA5}">
                      <a16:colId xmlns:a16="http://schemas.microsoft.com/office/drawing/2014/main" val="20001"/>
                    </a:ext>
                  </a:extLst>
                </a:gridCol>
                <a:gridCol w="5209189">
                  <a:extLst>
                    <a:ext uri="{9D8B030D-6E8A-4147-A177-3AD203B41FA5}">
                      <a16:colId xmlns:a16="http://schemas.microsoft.com/office/drawing/2014/main" val="1745807836"/>
                    </a:ext>
                  </a:extLst>
                </a:gridCol>
                <a:gridCol w="1202120">
                  <a:extLst>
                    <a:ext uri="{9D8B030D-6E8A-4147-A177-3AD203B41FA5}">
                      <a16:colId xmlns:a16="http://schemas.microsoft.com/office/drawing/2014/main" val="2769067313"/>
                    </a:ext>
                  </a:extLst>
                </a:gridCol>
                <a:gridCol w="2632151">
                  <a:extLst>
                    <a:ext uri="{9D8B030D-6E8A-4147-A177-3AD203B41FA5}">
                      <a16:colId xmlns:a16="http://schemas.microsoft.com/office/drawing/2014/main" val="2844485727"/>
                    </a:ext>
                  </a:extLst>
                </a:gridCol>
              </a:tblGrid>
              <a:tr h="421417">
                <a:tc>
                  <a:txBody>
                    <a:bodyPr/>
                    <a:lstStyle/>
                    <a:p>
                      <a:pPr marL="0" marR="0" lvl="0" indent="0" algn="l">
                        <a:lnSpc>
                          <a:spcPct val="114999"/>
                        </a:lnSpc>
                        <a:spcBef>
                          <a:spcPts val="0"/>
                        </a:spcBef>
                        <a:spcAft>
                          <a:spcPts val="0"/>
                        </a:spcAft>
                        <a:buNone/>
                      </a:pPr>
                      <a:r>
                        <a:rPr lang="en-US" sz="1100" b="1" i="0" u="none" strike="noStrike" cap="none">
                          <a:solidFill>
                            <a:schemeClr val="accent1"/>
                          </a:solidFill>
                          <a:latin typeface="Source Sans Pro Semibold"/>
                          <a:ea typeface="Source Sans Pro Semibold"/>
                        </a:rPr>
                        <a:t>ITEM</a:t>
                      </a:r>
                      <a:endParaRPr sz="1100"/>
                    </a:p>
                  </a:txBody>
                  <a:tcPr marL="0" marR="91450" marT="2437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rtl="0">
                        <a:lnSpc>
                          <a:spcPct val="80000"/>
                        </a:lnSpc>
                        <a:spcBef>
                          <a:spcPts val="0"/>
                        </a:spcBef>
                        <a:spcAft>
                          <a:spcPts val="0"/>
                        </a:spcAft>
                        <a:buClr>
                          <a:srgbClr val="000000"/>
                        </a:buClr>
                        <a:buSzPts val="800"/>
                        <a:buFont typeface="Arial"/>
                        <a:buNone/>
                      </a:pPr>
                      <a:r>
                        <a:rPr lang="en-US" sz="1100" b="1" i="0" u="none" strike="noStrike" cap="none">
                          <a:solidFill>
                            <a:schemeClr val="accent1"/>
                          </a:solidFill>
                          <a:latin typeface="Source Sans Pro Semibold"/>
                          <a:ea typeface="Source Sans Pro Semibold"/>
                        </a:rPr>
                        <a:t>WORK STREAM</a:t>
                      </a:r>
                      <a:endParaRPr sz="1100" b="1" i="0" u="none" strike="noStrike" cap="none">
                        <a:solidFill>
                          <a:schemeClr val="accent1"/>
                        </a:solidFill>
                        <a:latin typeface="Source Sans Pro Semibold"/>
                        <a:ea typeface="Source Sans Pro Semibold"/>
                      </a:endParaRPr>
                    </a:p>
                  </a:txBody>
                  <a:tcPr marL="0" marR="24375" marT="2437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a:lnSpc>
                          <a:spcPct val="114999"/>
                        </a:lnSpc>
                        <a:spcBef>
                          <a:spcPts val="0"/>
                        </a:spcBef>
                        <a:spcAft>
                          <a:spcPts val="0"/>
                        </a:spcAft>
                        <a:buNone/>
                      </a:pPr>
                      <a:r>
                        <a:rPr lang="en-US" sz="1100" b="1" i="0" u="none" strike="noStrike" cap="none">
                          <a:solidFill>
                            <a:schemeClr val="accent1"/>
                          </a:solidFill>
                          <a:latin typeface="Source Sans Pro Semibold"/>
                          <a:ea typeface="Source Sans Pro Semibold"/>
                        </a:rPr>
                        <a:t>ACTION NEEDED</a:t>
                      </a:r>
                      <a:endParaRPr sz="1100" b="1" i="0" u="none" strike="noStrike" cap="none">
                        <a:solidFill>
                          <a:schemeClr val="accent1"/>
                        </a:solidFill>
                        <a:latin typeface="Source Sans Pro Semibold"/>
                        <a:ea typeface="Source Sans Pro Semibold"/>
                        <a:sym typeface="Arial"/>
                      </a:endParaRPr>
                    </a:p>
                  </a:txBody>
                  <a:tcPr marL="0" marR="24375" marT="2437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a:lnSpc>
                          <a:spcPct val="80000"/>
                        </a:lnSpc>
                        <a:spcBef>
                          <a:spcPts val="0"/>
                        </a:spcBef>
                        <a:spcAft>
                          <a:spcPts val="0"/>
                        </a:spcAft>
                        <a:buNone/>
                      </a:pPr>
                      <a:r>
                        <a:rPr lang="en-US" sz="1100" b="1" i="0" u="none" strike="noStrike" cap="none">
                          <a:solidFill>
                            <a:schemeClr val="accent1"/>
                          </a:solidFill>
                          <a:latin typeface="Source Sans Pro Semibold"/>
                          <a:ea typeface="Source Sans Pro Semibold"/>
                        </a:rPr>
                        <a:t>TARGET </a:t>
                      </a:r>
                    </a:p>
                    <a:p>
                      <a:pPr marL="0" marR="0" lvl="0" indent="0" algn="l">
                        <a:lnSpc>
                          <a:spcPct val="80000"/>
                        </a:lnSpc>
                        <a:spcBef>
                          <a:spcPts val="0"/>
                        </a:spcBef>
                        <a:spcAft>
                          <a:spcPts val="0"/>
                        </a:spcAft>
                        <a:buNone/>
                      </a:pPr>
                      <a:r>
                        <a:rPr lang="en-US" sz="1100" b="1" i="0" u="none" strike="noStrike" cap="none">
                          <a:solidFill>
                            <a:schemeClr val="accent1"/>
                          </a:solidFill>
                          <a:latin typeface="Source Sans Pro Semibold"/>
                          <a:ea typeface="Source Sans Pro Semibold"/>
                        </a:rPr>
                        <a:t>COMPLETE DATE</a:t>
                      </a:r>
                      <a:endParaRPr sz="1100" b="1" i="0" u="none" strike="noStrike" cap="none">
                        <a:solidFill>
                          <a:schemeClr val="accent1"/>
                        </a:solidFill>
                        <a:latin typeface="Source Sans Pro Semibold"/>
                        <a:ea typeface="Source Sans Pro Semibold"/>
                        <a:sym typeface="Arial"/>
                      </a:endParaRPr>
                    </a:p>
                  </a:txBody>
                  <a:tcPr marL="0" marR="24375" marT="2437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a:lnSpc>
                          <a:spcPct val="114999"/>
                        </a:lnSpc>
                        <a:spcBef>
                          <a:spcPts val="0"/>
                        </a:spcBef>
                        <a:spcAft>
                          <a:spcPts val="0"/>
                        </a:spcAft>
                        <a:buNone/>
                      </a:pPr>
                      <a:r>
                        <a:rPr lang="en-US" sz="1100" b="1" i="0" u="none" strike="noStrike" cap="none">
                          <a:solidFill>
                            <a:schemeClr val="accent1"/>
                          </a:solidFill>
                          <a:latin typeface="Source Sans Pro Semibold"/>
                          <a:ea typeface="Source Sans Pro Semibold"/>
                        </a:rPr>
                        <a:t>PREREQUISITE</a:t>
                      </a:r>
                      <a:endParaRPr sz="1100" b="1" i="0" u="none" strike="noStrike" cap="none">
                        <a:solidFill>
                          <a:schemeClr val="accent1"/>
                        </a:solidFill>
                        <a:latin typeface="Source Sans Pro Semibold"/>
                        <a:ea typeface="Source Sans Pro Semibold"/>
                        <a:sym typeface="Arial"/>
                      </a:endParaRPr>
                    </a:p>
                  </a:txBody>
                  <a:tcPr marL="0" marR="24375" marT="2437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661304">
                <a:tc>
                  <a:txBody>
                    <a:bodyPr/>
                    <a:lstStyle/>
                    <a:p>
                      <a:pPr marL="0" lvl="0" indent="0" algn="l">
                        <a:lnSpc>
                          <a:spcPct val="100000"/>
                        </a:lnSpc>
                        <a:spcBef>
                          <a:spcPts val="0"/>
                        </a:spcBef>
                        <a:spcAft>
                          <a:spcPts val="0"/>
                        </a:spcAft>
                        <a:buNone/>
                      </a:pPr>
                      <a:r>
                        <a:rPr lang="en-US" sz="1050" b="0" u="none" strike="noStrike" cap="none">
                          <a:solidFill>
                            <a:schemeClr val="dk2"/>
                          </a:solidFill>
                          <a:latin typeface="Source Sans Pro Semibold"/>
                          <a:ea typeface="Source Sans Pro"/>
                          <a:cs typeface="Source Sans Pro"/>
                          <a:sym typeface="Source Sans Pro"/>
                        </a:rPr>
                        <a:t>Tech refinements</a:t>
                      </a:r>
                      <a:r>
                        <a:rPr lang="en-US" sz="1050" b="0" u="none" strike="noStrike" cap="none">
                          <a:solidFill>
                            <a:schemeClr val="dk2"/>
                          </a:solidFill>
                          <a:latin typeface="Source Sans Pro Semibold"/>
                          <a:ea typeface="Source Sans Pro"/>
                          <a:cs typeface="Source Sans Pro"/>
                        </a:rPr>
                        <a:t> </a:t>
                      </a:r>
                    </a:p>
                    <a:p>
                      <a:pPr marL="0" lvl="0" indent="0" algn="l">
                        <a:lnSpc>
                          <a:spcPct val="100000"/>
                        </a:lnSpc>
                        <a:spcBef>
                          <a:spcPts val="0"/>
                        </a:spcBef>
                        <a:spcAft>
                          <a:spcPts val="0"/>
                        </a:spcAft>
                        <a:buNone/>
                      </a:pPr>
                      <a:r>
                        <a:rPr lang="en-US" sz="1050" b="0" u="none" strike="noStrike" cap="none">
                          <a:solidFill>
                            <a:schemeClr val="dk2"/>
                          </a:solidFill>
                          <a:latin typeface="Source Sans Pro Semibold"/>
                          <a:ea typeface="Source Sans Pro"/>
                          <a:cs typeface="Source Sans Pro"/>
                          <a:sym typeface="Source Sans Pro"/>
                        </a:rPr>
                        <a:t>&amp; testing</a:t>
                      </a:r>
                      <a:endParaRPr sz="1050" b="0" u="none" strike="noStrike" cap="none">
                        <a:solidFill>
                          <a:schemeClr val="dk2"/>
                        </a:solidFill>
                        <a:latin typeface="Source Sans Pro Semibold"/>
                        <a:ea typeface="Source Sans Pro"/>
                        <a:cs typeface="Source Sans Pro"/>
                        <a:sym typeface="Source Sans Pro"/>
                      </a:endParaRPr>
                    </a:p>
                  </a:txBody>
                  <a:tcPr marL="0" marR="182875" marT="91450" marB="91450">
                    <a:lnL w="12700" cap="flat" cmpd="sng" algn="ctr">
                      <a:noFill/>
                      <a:prstDash val="solid"/>
                      <a:round/>
                      <a:headEnd type="none" w="med" len="med"/>
                      <a:tailEnd type="none" w="med" len="med"/>
                    </a:lnL>
                    <a:lnR w="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tx1">
                          <a:lumMod val="25000"/>
                          <a:lumOff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gn="l">
                        <a:lnSpc>
                          <a:spcPct val="100000"/>
                        </a:lnSpc>
                        <a:spcBef>
                          <a:spcPts val="0"/>
                        </a:spcBef>
                        <a:spcAft>
                          <a:spcPts val="0"/>
                        </a:spcAft>
                        <a:buNone/>
                      </a:pPr>
                      <a:r>
                        <a:rPr lang="en-US" sz="1050" u="none" strike="noStrike" cap="none">
                          <a:solidFill>
                            <a:schemeClr val="dk2"/>
                          </a:solidFill>
                          <a:latin typeface="Source Sans Pro"/>
                          <a:ea typeface="Source Sans Pro"/>
                          <a:cs typeface="Source Sans Pro"/>
                          <a:sym typeface="Source Sans Pro"/>
                        </a:rPr>
                        <a:t>Tech</a:t>
                      </a:r>
                      <a:endParaRPr sz="1050" u="none" strike="noStrike" cap="none">
                        <a:solidFill>
                          <a:schemeClr val="dk2"/>
                        </a:solidFill>
                        <a:latin typeface="Source Sans Pro"/>
                        <a:ea typeface="Source Sans Pro"/>
                        <a:cs typeface="Source Sans Pro"/>
                        <a:sym typeface="Source Sans Pro"/>
                      </a:endParaRPr>
                    </a:p>
                  </a:txBody>
                  <a:tcPr marL="0" marR="182875" marT="91450" marB="91450">
                    <a:lnL w="0" cap="flat" cmpd="sng" algn="ctr">
                      <a:noFill/>
                      <a:prstDash val="solid"/>
                      <a:round/>
                      <a:headEnd type="none" w="med" len="med"/>
                      <a:tailEnd type="none" w="med" len="med"/>
                    </a:lnL>
                    <a:lnR w="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tx1">
                          <a:lumMod val="25000"/>
                          <a:lumOff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lvl="0" indent="-171450" algn="l">
                        <a:lnSpc>
                          <a:spcPct val="100000"/>
                        </a:lnSpc>
                        <a:spcBef>
                          <a:spcPts val="0"/>
                        </a:spcBef>
                        <a:spcAft>
                          <a:spcPts val="0"/>
                        </a:spcAft>
                        <a:buFont typeface="Wingdings" panose="020B0604020202020204" pitchFamily="34" charset="0"/>
                        <a:buChar char="§"/>
                      </a:pPr>
                      <a:r>
                        <a:rPr lang="en-US" sz="1050" u="none" strike="noStrike" cap="none">
                          <a:solidFill>
                            <a:schemeClr val="dk2"/>
                          </a:solidFill>
                          <a:latin typeface="Source Sans Pro"/>
                          <a:ea typeface="Source Sans Pro"/>
                          <a:cs typeface="Source Sans Pro"/>
                          <a:sym typeface="Source Sans Pro"/>
                        </a:rPr>
                        <a:t>Update backend and react widget as needed based on staging review and UAT feedback</a:t>
                      </a:r>
                    </a:p>
                    <a:p>
                      <a:pPr marL="171450" lvl="0" indent="-171450" algn="l">
                        <a:lnSpc>
                          <a:spcPct val="100000"/>
                        </a:lnSpc>
                        <a:spcBef>
                          <a:spcPts val="0"/>
                        </a:spcBef>
                        <a:spcAft>
                          <a:spcPts val="0"/>
                        </a:spcAft>
                        <a:buFont typeface="Wingdings" panose="020B0604020202020204" pitchFamily="34" charset="0"/>
                        <a:buChar char="§"/>
                      </a:pPr>
                      <a:r>
                        <a:rPr lang="en-US" sz="1050" u="none" strike="noStrike" cap="none">
                          <a:solidFill>
                            <a:schemeClr val="dk2"/>
                          </a:solidFill>
                          <a:latin typeface="Source Sans Pro"/>
                          <a:ea typeface="Source Sans Pro"/>
                          <a:cs typeface="Source Sans Pro"/>
                          <a:sym typeface="Source Sans Pro"/>
                        </a:rPr>
                        <a:t>Build out and conduct testing</a:t>
                      </a:r>
                      <a:endParaRPr sz="1050" u="none" strike="noStrike" cap="none">
                        <a:solidFill>
                          <a:schemeClr val="dk2"/>
                        </a:solidFill>
                        <a:latin typeface="Source Sans Pro"/>
                        <a:ea typeface="Source Sans Pro"/>
                        <a:cs typeface="Source Sans Pro"/>
                        <a:sym typeface="Source Sans Pro"/>
                      </a:endParaRPr>
                    </a:p>
                  </a:txBody>
                  <a:tcPr marL="0" marR="182875" marT="91450" marB="91450">
                    <a:lnL w="0" cap="flat" cmpd="sng" algn="ctr">
                      <a:noFill/>
                      <a:prstDash val="solid"/>
                      <a:round/>
                      <a:headEnd type="none" w="med" len="med"/>
                      <a:tailEnd type="none" w="med" len="med"/>
                    </a:lnL>
                    <a:lnR w="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tx1">
                          <a:lumMod val="25000"/>
                          <a:lumOff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gn="l">
                        <a:lnSpc>
                          <a:spcPct val="100000"/>
                        </a:lnSpc>
                        <a:spcBef>
                          <a:spcPts val="0"/>
                        </a:spcBef>
                        <a:spcAft>
                          <a:spcPts val="0"/>
                        </a:spcAft>
                        <a:buFont typeface="Arial" panose="020B0604020202020204" pitchFamily="34" charset="0"/>
                        <a:buNone/>
                      </a:pPr>
                      <a:r>
                        <a:rPr lang="en-US" sz="1050" u="none" strike="noStrike" cap="none">
                          <a:solidFill>
                            <a:schemeClr val="dk2"/>
                          </a:solidFill>
                          <a:latin typeface="Source Sans Pro"/>
                          <a:ea typeface="Source Sans Pro"/>
                          <a:cs typeface="Source Sans Pro"/>
                          <a:sym typeface="Source Sans Pro"/>
                        </a:rPr>
                        <a:t>March – end of</a:t>
                      </a:r>
                      <a:r>
                        <a:rPr lang="en-US" sz="1050" u="none" strike="noStrike" cap="none">
                          <a:solidFill>
                            <a:schemeClr val="dk2"/>
                          </a:solidFill>
                          <a:latin typeface="Source Sans Pro"/>
                          <a:ea typeface="Source Sans Pro"/>
                          <a:cs typeface="Source Sans Pro"/>
                        </a:rPr>
                        <a:t> </a:t>
                      </a:r>
                    </a:p>
                    <a:p>
                      <a:pPr marL="0" lvl="0" indent="0" algn="l">
                        <a:lnSpc>
                          <a:spcPct val="100000"/>
                        </a:lnSpc>
                        <a:spcBef>
                          <a:spcPts val="0"/>
                        </a:spcBef>
                        <a:spcAft>
                          <a:spcPts val="0"/>
                        </a:spcAft>
                        <a:buFont typeface="Arial" panose="020B0604020202020204" pitchFamily="34" charset="0"/>
                        <a:buNone/>
                      </a:pPr>
                      <a:r>
                        <a:rPr lang="en-US" sz="1050" u="none" strike="noStrike" cap="none">
                          <a:solidFill>
                            <a:schemeClr val="dk2"/>
                          </a:solidFill>
                          <a:latin typeface="Source Sans Pro"/>
                          <a:ea typeface="Source Sans Pro"/>
                          <a:cs typeface="Source Sans Pro"/>
                          <a:sym typeface="Source Sans Pro"/>
                        </a:rPr>
                        <a:t>Sprint 5</a:t>
                      </a:r>
                      <a:endParaRPr sz="1050" u="none" strike="noStrike" cap="none">
                        <a:solidFill>
                          <a:schemeClr val="dk2"/>
                        </a:solidFill>
                        <a:latin typeface="Source Sans Pro"/>
                        <a:ea typeface="Source Sans Pro"/>
                        <a:cs typeface="Source Sans Pro"/>
                        <a:sym typeface="Source Sans Pro"/>
                      </a:endParaRPr>
                    </a:p>
                  </a:txBody>
                  <a:tcPr marL="0" marR="182875" marT="91450" marB="91450">
                    <a:lnL w="0" cap="flat" cmpd="sng" algn="ctr">
                      <a:noFill/>
                      <a:prstDash val="solid"/>
                      <a:round/>
                      <a:headEnd type="none" w="med" len="med"/>
                      <a:tailEnd type="none" w="med" len="med"/>
                    </a:lnL>
                    <a:lnR w="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tx1">
                          <a:lumMod val="25000"/>
                          <a:lumOff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gn="l">
                        <a:lnSpc>
                          <a:spcPct val="100000"/>
                        </a:lnSpc>
                        <a:spcBef>
                          <a:spcPts val="0"/>
                        </a:spcBef>
                        <a:spcAft>
                          <a:spcPts val="0"/>
                        </a:spcAft>
                        <a:buFont typeface="Arial" panose="020B0604020202020204" pitchFamily="34" charset="0"/>
                        <a:buNone/>
                      </a:pPr>
                      <a:r>
                        <a:rPr lang="en-US" sz="1050" u="none" strike="noStrike" cap="none">
                          <a:solidFill>
                            <a:schemeClr val="dk2"/>
                          </a:solidFill>
                          <a:latin typeface="Source Sans Pro"/>
                          <a:ea typeface="Source Sans Pro"/>
                          <a:cs typeface="Source Sans Pro"/>
                          <a:sym typeface="Source Sans Pro"/>
                        </a:rPr>
                        <a:t>Product complete in staging</a:t>
                      </a:r>
                      <a:endParaRPr sz="1050" u="none" strike="noStrike" cap="none">
                        <a:solidFill>
                          <a:schemeClr val="dk2"/>
                        </a:solidFill>
                        <a:latin typeface="Source Sans Pro"/>
                        <a:ea typeface="Source Sans Pro"/>
                        <a:cs typeface="Source Sans Pro"/>
                        <a:sym typeface="Source Sans Pro"/>
                      </a:endParaRPr>
                    </a:p>
                  </a:txBody>
                  <a:tcPr marL="0" marR="182875" marT="91450" marB="91450">
                    <a:lnL w="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tx1">
                          <a:lumMod val="25000"/>
                          <a:lumOff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91501705"/>
                  </a:ext>
                </a:extLst>
              </a:tr>
              <a:tr h="816903">
                <a:tc>
                  <a:txBody>
                    <a:bodyPr/>
                    <a:lstStyle/>
                    <a:p>
                      <a:pPr marL="0" lvl="0" indent="0" algn="l">
                        <a:lnSpc>
                          <a:spcPct val="100000"/>
                        </a:lnSpc>
                        <a:spcBef>
                          <a:spcPts val="0"/>
                        </a:spcBef>
                        <a:spcAft>
                          <a:spcPts val="0"/>
                        </a:spcAft>
                        <a:buNone/>
                      </a:pPr>
                      <a:r>
                        <a:rPr lang="en-US" sz="1050" b="0" u="none" strike="noStrike" cap="none">
                          <a:solidFill>
                            <a:schemeClr val="dk2"/>
                          </a:solidFill>
                          <a:latin typeface="Source Sans Pro Semibold"/>
                          <a:ea typeface="Source Sans Pro"/>
                          <a:cs typeface="Source Sans Pro"/>
                          <a:sym typeface="Source Sans Pro"/>
                        </a:rPr>
                        <a:t>UAT</a:t>
                      </a:r>
                      <a:endParaRPr sz="1050" b="0" u="none" strike="noStrike" cap="none">
                        <a:solidFill>
                          <a:schemeClr val="dk2"/>
                        </a:solidFill>
                        <a:latin typeface="Source Sans Pro Semibold"/>
                        <a:ea typeface="Source Sans Pro"/>
                        <a:cs typeface="Source Sans Pro"/>
                        <a:sym typeface="Source Sans Pro"/>
                      </a:endParaRPr>
                    </a:p>
                  </a:txBody>
                  <a:tcPr marL="0" marR="182875" marT="91450" marB="91450">
                    <a:lnL w="12700" cap="flat" cmpd="sng" algn="ctr">
                      <a:noFill/>
                      <a:prstDash val="solid"/>
                      <a:round/>
                      <a:headEnd type="none" w="med" len="med"/>
                      <a:tailEnd type="none" w="med" len="med"/>
                    </a:lnL>
                    <a:lnR w="0" cap="flat" cmpd="sng" algn="ctr">
                      <a:noFill/>
                      <a:prstDash val="solid"/>
                      <a:round/>
                      <a:headEnd type="none" w="med" len="med"/>
                      <a:tailEnd type="none" w="med" len="med"/>
                    </a:lnR>
                    <a:lnT w="12700" cap="flat" cmpd="sng" algn="ctr">
                      <a:solidFill>
                        <a:schemeClr val="tx1">
                          <a:lumMod val="25000"/>
                          <a:lumOff val="75000"/>
                        </a:schemeClr>
                      </a:solidFill>
                      <a:prstDash val="solid"/>
                      <a:round/>
                      <a:headEnd type="none" w="med" len="med"/>
                      <a:tailEnd type="none" w="med" len="med"/>
                    </a:lnT>
                    <a:lnB w="12700" cap="flat" cmpd="sng" algn="ctr">
                      <a:solidFill>
                        <a:schemeClr val="tx1">
                          <a:lumMod val="25000"/>
                          <a:lumOff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gn="l">
                        <a:lnSpc>
                          <a:spcPct val="100000"/>
                        </a:lnSpc>
                        <a:spcBef>
                          <a:spcPts val="0"/>
                        </a:spcBef>
                        <a:spcAft>
                          <a:spcPts val="0"/>
                        </a:spcAft>
                        <a:buNone/>
                      </a:pPr>
                      <a:r>
                        <a:rPr lang="en-US" sz="1050" u="none" strike="noStrike" cap="none">
                          <a:solidFill>
                            <a:schemeClr val="dk2"/>
                          </a:solidFill>
                          <a:latin typeface="Source Sans Pro"/>
                          <a:ea typeface="Source Sans Pro"/>
                          <a:cs typeface="Source Sans Pro"/>
                          <a:sym typeface="Source Sans Pro"/>
                        </a:rPr>
                        <a:t>Product &amp; Tech</a:t>
                      </a:r>
                      <a:endParaRPr sz="1050" u="none" strike="noStrike" cap="none">
                        <a:solidFill>
                          <a:schemeClr val="dk2"/>
                        </a:solidFill>
                        <a:latin typeface="Source Sans Pro"/>
                        <a:ea typeface="Source Sans Pro"/>
                        <a:cs typeface="Source Sans Pro"/>
                        <a:sym typeface="Source Sans Pro"/>
                      </a:endParaRPr>
                    </a:p>
                  </a:txBody>
                  <a:tcPr marL="0" marR="182875" marT="91450" marB="91450">
                    <a:lnL w="0" cap="flat" cmpd="sng" algn="ctr">
                      <a:noFill/>
                      <a:prstDash val="solid"/>
                      <a:round/>
                      <a:headEnd type="none" w="med" len="med"/>
                      <a:tailEnd type="none" w="med" len="med"/>
                    </a:lnL>
                    <a:lnR w="0" cap="flat" cmpd="sng" algn="ctr">
                      <a:noFill/>
                      <a:prstDash val="solid"/>
                      <a:round/>
                      <a:headEnd type="none" w="med" len="med"/>
                      <a:tailEnd type="none" w="med" len="med"/>
                    </a:lnR>
                    <a:lnT w="12700" cap="flat" cmpd="sng" algn="ctr">
                      <a:solidFill>
                        <a:schemeClr val="tx1">
                          <a:lumMod val="25000"/>
                          <a:lumOff val="75000"/>
                        </a:schemeClr>
                      </a:solidFill>
                      <a:prstDash val="solid"/>
                      <a:round/>
                      <a:headEnd type="none" w="med" len="med"/>
                      <a:tailEnd type="none" w="med" len="med"/>
                    </a:lnT>
                    <a:lnB w="12700" cap="flat" cmpd="sng" algn="ctr">
                      <a:solidFill>
                        <a:schemeClr val="tx1">
                          <a:lumMod val="25000"/>
                          <a:lumOff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lvl="0" indent="-171450" algn="l">
                        <a:lnSpc>
                          <a:spcPct val="100000"/>
                        </a:lnSpc>
                        <a:spcBef>
                          <a:spcPts val="0"/>
                        </a:spcBef>
                        <a:spcAft>
                          <a:spcPts val="0"/>
                        </a:spcAft>
                        <a:buFont typeface="Wingdings" panose="020B0604020202020204" pitchFamily="34" charset="0"/>
                        <a:buChar char="§"/>
                      </a:pPr>
                      <a:r>
                        <a:rPr lang="en-US" sz="1050" u="none" strike="noStrike" cap="none">
                          <a:solidFill>
                            <a:schemeClr val="dk2"/>
                          </a:solidFill>
                          <a:latin typeface="Source Sans Pro"/>
                          <a:ea typeface="Source Sans Pro"/>
                          <a:cs typeface="Source Sans Pro"/>
                        </a:rPr>
                        <a:t>Follow Collaboration Cycle guidelines for UAT</a:t>
                      </a:r>
                      <a:endParaRPr lang="en-US" sz="1050" u="none" strike="noStrike" cap="none">
                        <a:solidFill>
                          <a:schemeClr val="dk2"/>
                        </a:solidFill>
                        <a:latin typeface="Source Sans Pro"/>
                        <a:ea typeface="Source Sans Pro"/>
                        <a:cs typeface="Source Sans Pro"/>
                        <a:sym typeface="Source Sans Pro"/>
                      </a:endParaRPr>
                    </a:p>
                    <a:p>
                      <a:pPr marL="171450" lvl="0" indent="-171450" algn="l">
                        <a:lnSpc>
                          <a:spcPct val="100000"/>
                        </a:lnSpc>
                        <a:spcBef>
                          <a:spcPts val="0"/>
                        </a:spcBef>
                        <a:spcAft>
                          <a:spcPts val="0"/>
                        </a:spcAft>
                        <a:buFont typeface="Wingdings" panose="020B0604020202020204" pitchFamily="34" charset="0"/>
                        <a:buChar char="§"/>
                      </a:pPr>
                      <a:r>
                        <a:rPr lang="en-US" sz="1050" u="none" strike="noStrike" cap="none">
                          <a:solidFill>
                            <a:schemeClr val="dk2"/>
                          </a:solidFill>
                          <a:latin typeface="Source Sans Pro"/>
                          <a:ea typeface="Source Sans Pro"/>
                          <a:cs typeface="Source Sans Pro"/>
                          <a:sym typeface="Source Sans Pro"/>
                        </a:rPr>
                        <a:t>Identify Veterans within VA to conduct UAT, send access, and follow up to ensure testing complete</a:t>
                      </a:r>
                      <a:endParaRPr sz="1050" u="none" strike="noStrike" cap="none">
                        <a:solidFill>
                          <a:schemeClr val="dk2"/>
                        </a:solidFill>
                        <a:latin typeface="Source Sans Pro"/>
                        <a:ea typeface="Source Sans Pro"/>
                        <a:cs typeface="Source Sans Pro"/>
                        <a:sym typeface="Source Sans Pro"/>
                      </a:endParaRPr>
                    </a:p>
                  </a:txBody>
                  <a:tcPr marL="0" marR="182875" marT="91450" marB="91450">
                    <a:lnL w="0" cap="flat" cmpd="sng" algn="ctr">
                      <a:noFill/>
                      <a:prstDash val="solid"/>
                      <a:round/>
                      <a:headEnd type="none" w="med" len="med"/>
                      <a:tailEnd type="none" w="med" len="med"/>
                    </a:lnL>
                    <a:lnR w="0" cap="flat" cmpd="sng" algn="ctr">
                      <a:noFill/>
                      <a:prstDash val="solid"/>
                      <a:round/>
                      <a:headEnd type="none" w="med" len="med"/>
                      <a:tailEnd type="none" w="med" len="med"/>
                    </a:lnR>
                    <a:lnT w="12700" cap="flat" cmpd="sng" algn="ctr">
                      <a:solidFill>
                        <a:schemeClr val="tx1">
                          <a:lumMod val="25000"/>
                          <a:lumOff val="75000"/>
                        </a:schemeClr>
                      </a:solidFill>
                      <a:prstDash val="solid"/>
                      <a:round/>
                      <a:headEnd type="none" w="med" len="med"/>
                      <a:tailEnd type="none" w="med" len="med"/>
                    </a:lnT>
                    <a:lnB w="12700" cap="flat" cmpd="sng" algn="ctr">
                      <a:solidFill>
                        <a:schemeClr val="tx1">
                          <a:lumMod val="25000"/>
                          <a:lumOff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gn="l">
                        <a:lnSpc>
                          <a:spcPct val="100000"/>
                        </a:lnSpc>
                        <a:spcBef>
                          <a:spcPts val="0"/>
                        </a:spcBef>
                        <a:spcAft>
                          <a:spcPts val="0"/>
                        </a:spcAft>
                        <a:buFont typeface="Arial" panose="020B0604020202020204" pitchFamily="34" charset="0"/>
                        <a:buNone/>
                      </a:pPr>
                      <a:r>
                        <a:rPr lang="en-US" sz="1050" u="none" strike="noStrike" cap="none">
                          <a:solidFill>
                            <a:schemeClr val="dk2"/>
                          </a:solidFill>
                          <a:latin typeface="Source Sans Pro"/>
                          <a:ea typeface="Source Sans Pro"/>
                          <a:cs typeface="Source Sans Pro"/>
                          <a:sym typeface="Source Sans Pro"/>
                        </a:rPr>
                        <a:t>March – </a:t>
                      </a:r>
                      <a:r>
                        <a:rPr lang="en-US" sz="1050" u="none" strike="noStrike" cap="none">
                          <a:solidFill>
                            <a:schemeClr val="dk2"/>
                          </a:solidFill>
                          <a:latin typeface="Source Sans Pro"/>
                          <a:ea typeface="Source Sans Pro"/>
                          <a:cs typeface="Source Sans Pro"/>
                        </a:rPr>
                        <a:t>April</a:t>
                      </a:r>
                      <a:endParaRPr sz="1050" u="none" strike="noStrike" cap="none">
                        <a:solidFill>
                          <a:schemeClr val="dk2"/>
                        </a:solidFill>
                        <a:latin typeface="Source Sans Pro"/>
                        <a:ea typeface="Source Sans Pro"/>
                        <a:cs typeface="Source Sans Pro"/>
                        <a:sym typeface="Source Sans Pro"/>
                      </a:endParaRPr>
                    </a:p>
                  </a:txBody>
                  <a:tcPr marL="0" marR="182875" marT="91450" marB="91450">
                    <a:lnL w="0" cap="flat" cmpd="sng" algn="ctr">
                      <a:noFill/>
                      <a:prstDash val="solid"/>
                      <a:round/>
                      <a:headEnd type="none" w="med" len="med"/>
                      <a:tailEnd type="none" w="med" len="med"/>
                    </a:lnL>
                    <a:lnR w="0" cap="flat" cmpd="sng" algn="ctr">
                      <a:noFill/>
                      <a:prstDash val="solid"/>
                      <a:round/>
                      <a:headEnd type="none" w="med" len="med"/>
                      <a:tailEnd type="none" w="med" len="med"/>
                    </a:lnR>
                    <a:lnT w="12700" cap="flat" cmpd="sng" algn="ctr">
                      <a:solidFill>
                        <a:schemeClr val="tx1">
                          <a:lumMod val="25000"/>
                          <a:lumOff val="75000"/>
                        </a:schemeClr>
                      </a:solidFill>
                      <a:prstDash val="solid"/>
                      <a:round/>
                      <a:headEnd type="none" w="med" len="med"/>
                      <a:tailEnd type="none" w="med" len="med"/>
                    </a:lnT>
                    <a:lnB w="12700" cap="flat" cmpd="sng" algn="ctr">
                      <a:solidFill>
                        <a:schemeClr val="tx1">
                          <a:lumMod val="25000"/>
                          <a:lumOff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gn="l">
                        <a:lnSpc>
                          <a:spcPct val="100000"/>
                        </a:lnSpc>
                        <a:spcBef>
                          <a:spcPts val="0"/>
                        </a:spcBef>
                        <a:spcAft>
                          <a:spcPts val="0"/>
                        </a:spcAft>
                        <a:buFont typeface="Arial" panose="020B0604020202020204" pitchFamily="34" charset="0"/>
                        <a:buNone/>
                      </a:pPr>
                      <a:r>
                        <a:rPr lang="en-US" sz="1050" u="none" strike="noStrike" cap="none">
                          <a:solidFill>
                            <a:schemeClr val="dk2"/>
                          </a:solidFill>
                          <a:latin typeface="Source Sans Pro"/>
                          <a:ea typeface="Source Sans Pro"/>
                          <a:cs typeface="Source Sans Pro"/>
                          <a:sym typeface="Source Sans Pro"/>
                        </a:rPr>
                        <a:t>Product must be complete in staging</a:t>
                      </a:r>
                      <a:endParaRPr sz="1050" u="none" strike="noStrike" cap="none">
                        <a:solidFill>
                          <a:schemeClr val="dk2"/>
                        </a:solidFill>
                        <a:latin typeface="Source Sans Pro"/>
                        <a:ea typeface="Source Sans Pro"/>
                        <a:cs typeface="Source Sans Pro"/>
                        <a:sym typeface="Source Sans Pro"/>
                      </a:endParaRPr>
                    </a:p>
                  </a:txBody>
                  <a:tcPr marL="0" marR="182875" marT="91450" marB="91450">
                    <a:lnL w="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25000"/>
                          <a:lumOff val="75000"/>
                        </a:schemeClr>
                      </a:solidFill>
                      <a:prstDash val="solid"/>
                      <a:round/>
                      <a:headEnd type="none" w="med" len="med"/>
                      <a:tailEnd type="none" w="med" len="med"/>
                    </a:lnT>
                    <a:lnB w="12700" cap="flat" cmpd="sng" algn="ctr">
                      <a:solidFill>
                        <a:schemeClr val="tx1">
                          <a:lumMod val="25000"/>
                          <a:lumOff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674001478"/>
                  </a:ext>
                </a:extLst>
              </a:tr>
              <a:tr h="648335">
                <a:tc>
                  <a:txBody>
                    <a:bodyPr/>
                    <a:lstStyle/>
                    <a:p>
                      <a:pPr marL="0" lvl="0" indent="0" algn="l">
                        <a:lnSpc>
                          <a:spcPct val="100000"/>
                        </a:lnSpc>
                        <a:spcBef>
                          <a:spcPts val="0"/>
                        </a:spcBef>
                        <a:spcAft>
                          <a:spcPts val="0"/>
                        </a:spcAft>
                        <a:buNone/>
                      </a:pPr>
                      <a:r>
                        <a:rPr lang="en-US" sz="1050" b="0" u="none" strike="noStrike" cap="none">
                          <a:solidFill>
                            <a:schemeClr val="dk2"/>
                          </a:solidFill>
                          <a:latin typeface="Source Sans Pro Semibold"/>
                          <a:ea typeface="Source Sans Pro"/>
                          <a:cs typeface="Source Sans Pro"/>
                          <a:sym typeface="Source Sans Pro"/>
                        </a:rPr>
                        <a:t>1095-B Opt-in</a:t>
                      </a:r>
                      <a:endParaRPr sz="1050" b="0" u="none" strike="noStrike" cap="none">
                        <a:solidFill>
                          <a:schemeClr val="dk2"/>
                        </a:solidFill>
                        <a:latin typeface="Source Sans Pro Semibold"/>
                        <a:ea typeface="Source Sans Pro"/>
                        <a:cs typeface="Source Sans Pro"/>
                        <a:sym typeface="Source Sans Pro"/>
                      </a:endParaRPr>
                    </a:p>
                  </a:txBody>
                  <a:tcPr marL="0" marR="182875" marT="91450" marB="91450">
                    <a:lnL w="12700" cap="flat" cmpd="sng" algn="ctr">
                      <a:noFill/>
                      <a:prstDash val="solid"/>
                      <a:round/>
                      <a:headEnd type="none" w="med" len="med"/>
                      <a:tailEnd type="none" w="med" len="med"/>
                    </a:lnL>
                    <a:lnR w="0" cap="flat" cmpd="sng" algn="ctr">
                      <a:noFill/>
                      <a:prstDash val="solid"/>
                      <a:round/>
                      <a:headEnd type="none" w="med" len="med"/>
                      <a:tailEnd type="none" w="med" len="med"/>
                    </a:lnR>
                    <a:lnT w="12700" cap="flat" cmpd="sng" algn="ctr">
                      <a:solidFill>
                        <a:schemeClr val="tx1">
                          <a:lumMod val="25000"/>
                          <a:lumOff val="75000"/>
                        </a:schemeClr>
                      </a:solidFill>
                      <a:prstDash val="solid"/>
                      <a:round/>
                      <a:headEnd type="none" w="med" len="med"/>
                      <a:tailEnd type="none" w="med" len="med"/>
                    </a:lnT>
                    <a:lnB w="12700" cap="flat" cmpd="sng" algn="ctr">
                      <a:solidFill>
                        <a:schemeClr val="tx1">
                          <a:lumMod val="25000"/>
                          <a:lumOff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gn="l">
                        <a:lnSpc>
                          <a:spcPct val="100000"/>
                        </a:lnSpc>
                        <a:spcBef>
                          <a:spcPts val="0"/>
                        </a:spcBef>
                        <a:spcAft>
                          <a:spcPts val="0"/>
                        </a:spcAft>
                        <a:buNone/>
                      </a:pPr>
                      <a:r>
                        <a:rPr lang="en-US" sz="1050" u="none" strike="noStrike" cap="none">
                          <a:solidFill>
                            <a:schemeClr val="dk2"/>
                          </a:solidFill>
                          <a:latin typeface="Source Sans Pro"/>
                          <a:ea typeface="Source Sans Pro"/>
                          <a:cs typeface="Source Sans Pro"/>
                          <a:sym typeface="Source Sans Pro"/>
                        </a:rPr>
                        <a:t>Product</a:t>
                      </a:r>
                      <a:endParaRPr sz="1050" u="none" strike="noStrike" cap="none">
                        <a:solidFill>
                          <a:schemeClr val="dk2"/>
                        </a:solidFill>
                        <a:latin typeface="Source Sans Pro"/>
                        <a:ea typeface="Source Sans Pro"/>
                        <a:cs typeface="Source Sans Pro"/>
                        <a:sym typeface="Source Sans Pro"/>
                      </a:endParaRPr>
                    </a:p>
                  </a:txBody>
                  <a:tcPr marL="0" marR="182875" marT="91450" marB="91450">
                    <a:lnL w="0" cap="flat" cmpd="sng" algn="ctr">
                      <a:noFill/>
                      <a:prstDash val="solid"/>
                      <a:round/>
                      <a:headEnd type="none" w="med" len="med"/>
                      <a:tailEnd type="none" w="med" len="med"/>
                    </a:lnL>
                    <a:lnR w="0" cap="flat" cmpd="sng" algn="ctr">
                      <a:noFill/>
                      <a:prstDash val="solid"/>
                      <a:round/>
                      <a:headEnd type="none" w="med" len="med"/>
                      <a:tailEnd type="none" w="med" len="med"/>
                    </a:lnR>
                    <a:lnT w="12700" cap="flat" cmpd="sng" algn="ctr">
                      <a:solidFill>
                        <a:schemeClr val="tx1">
                          <a:lumMod val="25000"/>
                          <a:lumOff val="75000"/>
                        </a:schemeClr>
                      </a:solidFill>
                      <a:prstDash val="solid"/>
                      <a:round/>
                      <a:headEnd type="none" w="med" len="med"/>
                      <a:tailEnd type="none" w="med" len="med"/>
                    </a:lnT>
                    <a:lnB w="12700" cap="flat" cmpd="sng" algn="ctr">
                      <a:solidFill>
                        <a:schemeClr val="tx1">
                          <a:lumMod val="25000"/>
                          <a:lumOff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lvl="0" indent="-171450" algn="l" defTabSz="914400" rtl="0" eaLnBrk="1" fontAlgn="auto" latinLnBrk="0" hangingPunct="1">
                        <a:lnSpc>
                          <a:spcPct val="100000"/>
                        </a:lnSpc>
                        <a:spcBef>
                          <a:spcPts val="0"/>
                        </a:spcBef>
                        <a:spcAft>
                          <a:spcPts val="0"/>
                        </a:spcAft>
                        <a:buClr>
                          <a:srgbClr val="000000"/>
                        </a:buClr>
                        <a:buSzTx/>
                        <a:buFont typeface="Wingdings" panose="020B0604020202020204" pitchFamily="34" charset="0"/>
                        <a:buChar char="§"/>
                        <a:tabLst/>
                        <a:defRPr/>
                      </a:pPr>
                      <a:r>
                        <a:rPr lang="en-US" sz="1050" u="none" strike="noStrike" cap="none">
                          <a:solidFill>
                            <a:schemeClr val="dk2"/>
                          </a:solidFill>
                          <a:latin typeface="Source Sans Pro"/>
                          <a:ea typeface="Source Sans Pro"/>
                          <a:cs typeface="Source Sans Pro"/>
                          <a:sym typeface="Source Sans Pro"/>
                        </a:rPr>
                        <a:t>Follow up with HEC and Profiles team to ensure opt-in is done</a:t>
                      </a:r>
                    </a:p>
                    <a:p>
                      <a:pPr marL="171450" marR="0" lvl="0" indent="-171450" algn="l" defTabSz="914400" rtl="0" eaLnBrk="1" fontAlgn="auto" latinLnBrk="0" hangingPunct="1">
                        <a:lnSpc>
                          <a:spcPct val="100000"/>
                        </a:lnSpc>
                        <a:spcBef>
                          <a:spcPts val="0"/>
                        </a:spcBef>
                        <a:spcAft>
                          <a:spcPts val="0"/>
                        </a:spcAft>
                        <a:buClr>
                          <a:srgbClr val="000000"/>
                        </a:buClr>
                        <a:buSzTx/>
                        <a:buFont typeface="Wingdings" panose="020B0604020202020204" pitchFamily="34" charset="0"/>
                        <a:buChar char="§"/>
                        <a:tabLst/>
                        <a:defRPr/>
                      </a:pPr>
                      <a:r>
                        <a:rPr lang="en-US" sz="1050" u="none" strike="noStrike" cap="none">
                          <a:solidFill>
                            <a:schemeClr val="dk2"/>
                          </a:solidFill>
                          <a:latin typeface="Source Sans Pro"/>
                          <a:ea typeface="Source Sans Pro"/>
                          <a:cs typeface="Source Sans Pro"/>
                          <a:sym typeface="Source Sans Pro"/>
                        </a:rPr>
                        <a:t>Update draft communications and announcement plans, based on when opt-in will be launched</a:t>
                      </a:r>
                      <a:endParaRPr lang="en-US" sz="1050" u="none" strike="noStrike" cap="none">
                        <a:solidFill>
                          <a:srgbClr val="303A46"/>
                        </a:solidFill>
                        <a:latin typeface="Source Sans Pro"/>
                        <a:ea typeface="Source Sans Pro"/>
                        <a:cs typeface="Source Sans Pro"/>
                        <a:sym typeface="Source Sans Pro"/>
                      </a:endParaRPr>
                    </a:p>
                  </a:txBody>
                  <a:tcPr marL="0" marR="182875" marT="91450" marB="91450">
                    <a:lnL w="0" cap="flat" cmpd="sng" algn="ctr">
                      <a:noFill/>
                      <a:prstDash val="solid"/>
                      <a:round/>
                      <a:headEnd type="none" w="med" len="med"/>
                      <a:tailEnd type="none" w="med" len="med"/>
                    </a:lnL>
                    <a:lnR w="0" cap="flat" cmpd="sng" algn="ctr">
                      <a:noFill/>
                      <a:prstDash val="solid"/>
                      <a:round/>
                      <a:headEnd type="none" w="med" len="med"/>
                      <a:tailEnd type="none" w="med" len="med"/>
                    </a:lnR>
                    <a:lnT w="12700" cap="flat" cmpd="sng" algn="ctr">
                      <a:solidFill>
                        <a:schemeClr val="tx1">
                          <a:lumMod val="25000"/>
                          <a:lumOff val="75000"/>
                        </a:schemeClr>
                      </a:solidFill>
                      <a:prstDash val="solid"/>
                      <a:round/>
                      <a:headEnd type="none" w="med" len="med"/>
                      <a:tailEnd type="none" w="med" len="med"/>
                    </a:lnT>
                    <a:lnB w="12700" cap="flat" cmpd="sng" algn="ctr">
                      <a:solidFill>
                        <a:schemeClr val="tx1">
                          <a:lumMod val="25000"/>
                          <a:lumOff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gn="l">
                        <a:lnSpc>
                          <a:spcPct val="100000"/>
                        </a:lnSpc>
                        <a:spcBef>
                          <a:spcPts val="0"/>
                        </a:spcBef>
                        <a:spcAft>
                          <a:spcPts val="0"/>
                        </a:spcAft>
                        <a:buNone/>
                      </a:pPr>
                      <a:r>
                        <a:rPr lang="en-US" sz="1050" u="none" strike="noStrike" cap="none">
                          <a:solidFill>
                            <a:schemeClr val="dk2"/>
                          </a:solidFill>
                          <a:latin typeface="Source Sans Pro"/>
                          <a:ea typeface="Source Sans Pro"/>
                          <a:cs typeface="Source Sans Pro"/>
                          <a:sym typeface="Source Sans Pro"/>
                        </a:rPr>
                        <a:t>April - May</a:t>
                      </a:r>
                      <a:endParaRPr sz="1050" u="none" strike="noStrike" cap="none">
                        <a:solidFill>
                          <a:schemeClr val="dk2"/>
                        </a:solidFill>
                        <a:latin typeface="Source Sans Pro"/>
                        <a:ea typeface="Source Sans Pro"/>
                        <a:cs typeface="Source Sans Pro"/>
                        <a:sym typeface="Source Sans Pro"/>
                      </a:endParaRPr>
                    </a:p>
                  </a:txBody>
                  <a:tcPr marL="0" marR="182875" marT="91450" marB="91450">
                    <a:lnL w="0" cap="flat" cmpd="sng" algn="ctr">
                      <a:noFill/>
                      <a:prstDash val="solid"/>
                      <a:round/>
                      <a:headEnd type="none" w="med" len="med"/>
                      <a:tailEnd type="none" w="med" len="med"/>
                    </a:lnL>
                    <a:lnR w="0" cap="flat" cmpd="sng" algn="ctr">
                      <a:noFill/>
                      <a:prstDash val="solid"/>
                      <a:round/>
                      <a:headEnd type="none" w="med" len="med"/>
                      <a:tailEnd type="none" w="med" len="med"/>
                    </a:lnR>
                    <a:lnT w="12700" cap="flat" cmpd="sng" algn="ctr">
                      <a:solidFill>
                        <a:schemeClr val="tx1">
                          <a:lumMod val="25000"/>
                          <a:lumOff val="75000"/>
                        </a:schemeClr>
                      </a:solidFill>
                      <a:prstDash val="solid"/>
                      <a:round/>
                      <a:headEnd type="none" w="med" len="med"/>
                      <a:tailEnd type="none" w="med" len="med"/>
                    </a:lnT>
                    <a:lnB w="12700" cap="flat" cmpd="sng" algn="ctr">
                      <a:solidFill>
                        <a:schemeClr val="tx1">
                          <a:lumMod val="25000"/>
                          <a:lumOff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gn="l">
                        <a:lnSpc>
                          <a:spcPct val="100000"/>
                        </a:lnSpc>
                        <a:spcBef>
                          <a:spcPts val="0"/>
                        </a:spcBef>
                        <a:spcAft>
                          <a:spcPts val="0"/>
                        </a:spcAft>
                        <a:buNone/>
                      </a:pPr>
                      <a:r>
                        <a:rPr lang="en-US" sz="1050" u="none" strike="noStrike" cap="none">
                          <a:solidFill>
                            <a:schemeClr val="dk2"/>
                          </a:solidFill>
                          <a:latin typeface="Source Sans Pro"/>
                          <a:ea typeface="Source Sans Pro"/>
                          <a:cs typeface="Source Sans Pro"/>
                          <a:sym typeface="Source Sans Pro"/>
                        </a:rPr>
                        <a:t>HEC and Profiles commitment to building opt-in</a:t>
                      </a:r>
                      <a:endParaRPr sz="1050" u="none" strike="noStrike" cap="none">
                        <a:solidFill>
                          <a:schemeClr val="dk2"/>
                        </a:solidFill>
                        <a:latin typeface="Source Sans Pro"/>
                        <a:ea typeface="Source Sans Pro"/>
                        <a:cs typeface="Source Sans Pro"/>
                        <a:sym typeface="Source Sans Pro"/>
                      </a:endParaRPr>
                    </a:p>
                  </a:txBody>
                  <a:tcPr marL="0" marR="182875" marT="91450" marB="91450">
                    <a:lnL w="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25000"/>
                          <a:lumOff val="75000"/>
                        </a:schemeClr>
                      </a:solidFill>
                      <a:prstDash val="solid"/>
                      <a:round/>
                      <a:headEnd type="none" w="med" len="med"/>
                      <a:tailEnd type="none" w="med" len="med"/>
                    </a:lnT>
                    <a:lnB w="12700" cap="flat" cmpd="sng" algn="ctr">
                      <a:solidFill>
                        <a:schemeClr val="tx1">
                          <a:lumMod val="25000"/>
                          <a:lumOff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597724009"/>
                  </a:ext>
                </a:extLst>
              </a:tr>
              <a:tr h="337134">
                <a:tc>
                  <a:txBody>
                    <a:bodyPr/>
                    <a:lstStyle/>
                    <a:p>
                      <a:pPr marL="0" lvl="0" indent="0" algn="l">
                        <a:lnSpc>
                          <a:spcPct val="100000"/>
                        </a:lnSpc>
                        <a:spcBef>
                          <a:spcPts val="0"/>
                        </a:spcBef>
                        <a:spcAft>
                          <a:spcPts val="0"/>
                        </a:spcAft>
                        <a:buNone/>
                      </a:pPr>
                      <a:r>
                        <a:rPr lang="en-US" sz="1050" b="0" u="none" strike="noStrike" cap="none">
                          <a:solidFill>
                            <a:schemeClr val="dk2"/>
                          </a:solidFill>
                          <a:latin typeface="Source Sans Pro Semibold"/>
                          <a:ea typeface="Source Sans Pro"/>
                          <a:cs typeface="Source Sans Pro"/>
                        </a:rPr>
                        <a:t>Legal Review</a:t>
                      </a:r>
                      <a:endParaRPr sz="1050" b="0" u="none" strike="noStrike" cap="none">
                        <a:solidFill>
                          <a:schemeClr val="dk2"/>
                        </a:solidFill>
                        <a:latin typeface="Source Sans Pro Semibold"/>
                        <a:ea typeface="Source Sans Pro"/>
                        <a:cs typeface="Source Sans Pro"/>
                        <a:sym typeface="Source Sans Pro"/>
                      </a:endParaRPr>
                    </a:p>
                  </a:txBody>
                  <a:tcPr marL="0" marR="182875" marT="91450" marB="91450">
                    <a:lnL w="12700" cap="flat" cmpd="sng" algn="ctr">
                      <a:noFill/>
                      <a:prstDash val="solid"/>
                      <a:round/>
                      <a:headEnd type="none" w="med" len="med"/>
                      <a:tailEnd type="none" w="med" len="med"/>
                    </a:lnL>
                    <a:lnR w="0" cap="flat" cmpd="sng" algn="ctr">
                      <a:noFill/>
                      <a:prstDash val="solid"/>
                      <a:round/>
                      <a:headEnd type="none" w="med" len="med"/>
                      <a:tailEnd type="none" w="med" len="med"/>
                    </a:lnR>
                    <a:lnT w="12700" cap="flat" cmpd="sng" algn="ctr">
                      <a:solidFill>
                        <a:schemeClr val="tx1">
                          <a:lumMod val="25000"/>
                          <a:lumOff val="75000"/>
                        </a:schemeClr>
                      </a:solidFill>
                      <a:prstDash val="solid"/>
                      <a:round/>
                      <a:headEnd type="none" w="med" len="med"/>
                      <a:tailEnd type="none" w="med" len="med"/>
                    </a:lnT>
                    <a:lnB w="12700" cap="flat" cmpd="sng" algn="ctr">
                      <a:solidFill>
                        <a:schemeClr val="tx1">
                          <a:lumMod val="25000"/>
                          <a:lumOff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gn="l">
                        <a:lnSpc>
                          <a:spcPct val="100000"/>
                        </a:lnSpc>
                        <a:spcBef>
                          <a:spcPts val="0"/>
                        </a:spcBef>
                        <a:spcAft>
                          <a:spcPts val="0"/>
                        </a:spcAft>
                        <a:buNone/>
                      </a:pPr>
                      <a:r>
                        <a:rPr lang="en-US" sz="1050" u="none" strike="noStrike" cap="none">
                          <a:solidFill>
                            <a:schemeClr val="dk2"/>
                          </a:solidFill>
                          <a:latin typeface="Source Sans Pro"/>
                          <a:ea typeface="Source Sans Pro"/>
                          <a:cs typeface="Source Sans Pro"/>
                        </a:rPr>
                        <a:t>Product</a:t>
                      </a:r>
                      <a:endParaRPr sz="1050" u="none" strike="noStrike" cap="none">
                        <a:solidFill>
                          <a:schemeClr val="dk2"/>
                        </a:solidFill>
                        <a:latin typeface="Source Sans Pro"/>
                        <a:ea typeface="Source Sans Pro"/>
                        <a:cs typeface="Source Sans Pro"/>
                        <a:sym typeface="Source Sans Pro"/>
                      </a:endParaRPr>
                    </a:p>
                  </a:txBody>
                  <a:tcPr marL="0" marR="182875" marT="91450" marB="91450">
                    <a:lnL w="0" cap="flat" cmpd="sng" algn="ctr">
                      <a:noFill/>
                      <a:prstDash val="solid"/>
                      <a:round/>
                      <a:headEnd type="none" w="med" len="med"/>
                      <a:tailEnd type="none" w="med" len="med"/>
                    </a:lnL>
                    <a:lnR w="0" cap="flat" cmpd="sng" algn="ctr">
                      <a:noFill/>
                      <a:prstDash val="solid"/>
                      <a:round/>
                      <a:headEnd type="none" w="med" len="med"/>
                      <a:tailEnd type="none" w="med" len="med"/>
                    </a:lnR>
                    <a:lnT w="12700" cap="flat" cmpd="sng" algn="ctr">
                      <a:solidFill>
                        <a:schemeClr val="tx1">
                          <a:lumMod val="25000"/>
                          <a:lumOff val="75000"/>
                        </a:schemeClr>
                      </a:solidFill>
                      <a:prstDash val="solid"/>
                      <a:round/>
                      <a:headEnd type="none" w="med" len="med"/>
                      <a:tailEnd type="none" w="med" len="med"/>
                    </a:lnT>
                    <a:lnB w="12700" cap="flat" cmpd="sng" algn="ctr">
                      <a:solidFill>
                        <a:schemeClr val="tx1">
                          <a:lumMod val="25000"/>
                          <a:lumOff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lvl="0" indent="-171450" algn="l" defTabSz="914400" rtl="0" eaLnBrk="1" fontAlgn="auto" latinLnBrk="0" hangingPunct="1">
                        <a:lnSpc>
                          <a:spcPct val="100000"/>
                        </a:lnSpc>
                        <a:spcBef>
                          <a:spcPts val="0"/>
                        </a:spcBef>
                        <a:spcAft>
                          <a:spcPts val="0"/>
                        </a:spcAft>
                        <a:buClr>
                          <a:srgbClr val="000000"/>
                        </a:buClr>
                        <a:buSzTx/>
                        <a:buFont typeface="Wingdings" panose="020B0604020202020204" pitchFamily="34" charset="0"/>
                        <a:buChar char="§"/>
                        <a:tabLst/>
                        <a:defRPr/>
                      </a:pPr>
                      <a:r>
                        <a:rPr lang="en-US" sz="1050" u="none" strike="noStrike" cap="none">
                          <a:solidFill>
                            <a:schemeClr val="dk2"/>
                          </a:solidFill>
                          <a:latin typeface="Source Sans Pro"/>
                          <a:ea typeface="Source Sans Pro"/>
                          <a:cs typeface="Source Sans Pro"/>
                        </a:rPr>
                        <a:t>Work with Tarsha to complete legal review</a:t>
                      </a:r>
                      <a:endParaRPr lang="en-US" sz="1050" u="none" strike="noStrike" cap="none">
                        <a:solidFill>
                          <a:schemeClr val="dk2"/>
                        </a:solidFill>
                        <a:latin typeface="Source Sans Pro"/>
                        <a:ea typeface="Source Sans Pro"/>
                        <a:cs typeface="Source Sans Pro"/>
                        <a:sym typeface="Source Sans Pro"/>
                      </a:endParaRPr>
                    </a:p>
                  </a:txBody>
                  <a:tcPr marL="0" marR="182875" marT="91450" marB="91450">
                    <a:lnL w="0" cap="flat" cmpd="sng" algn="ctr">
                      <a:noFill/>
                      <a:prstDash val="solid"/>
                      <a:round/>
                      <a:headEnd type="none" w="med" len="med"/>
                      <a:tailEnd type="none" w="med" len="med"/>
                    </a:lnL>
                    <a:lnR w="0" cap="flat" cmpd="sng" algn="ctr">
                      <a:noFill/>
                      <a:prstDash val="solid"/>
                      <a:round/>
                      <a:headEnd type="none" w="med" len="med"/>
                      <a:tailEnd type="none" w="med" len="med"/>
                    </a:lnR>
                    <a:lnT w="12700" cap="flat" cmpd="sng" algn="ctr">
                      <a:solidFill>
                        <a:schemeClr val="tx1">
                          <a:lumMod val="25000"/>
                          <a:lumOff val="75000"/>
                        </a:schemeClr>
                      </a:solidFill>
                      <a:prstDash val="solid"/>
                      <a:round/>
                      <a:headEnd type="none" w="med" len="med"/>
                      <a:tailEnd type="none" w="med" len="med"/>
                    </a:lnT>
                    <a:lnB w="12700" cap="flat" cmpd="sng" algn="ctr">
                      <a:solidFill>
                        <a:schemeClr val="tx1">
                          <a:lumMod val="25000"/>
                          <a:lumOff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gn="l">
                        <a:lnSpc>
                          <a:spcPct val="100000"/>
                        </a:lnSpc>
                        <a:spcBef>
                          <a:spcPts val="0"/>
                        </a:spcBef>
                        <a:spcAft>
                          <a:spcPts val="0"/>
                        </a:spcAft>
                        <a:buNone/>
                      </a:pPr>
                      <a:r>
                        <a:rPr lang="en-US" sz="1050" u="none" strike="noStrike" cap="none">
                          <a:solidFill>
                            <a:schemeClr val="dk2"/>
                          </a:solidFill>
                          <a:latin typeface="Source Sans Pro"/>
                          <a:ea typeface="Source Sans Pro"/>
                          <a:cs typeface="Source Sans Pro"/>
                          <a:sym typeface="Source Sans Pro"/>
                        </a:rPr>
                        <a:t>March – April</a:t>
                      </a:r>
                      <a:r>
                        <a:rPr lang="en-US" sz="1050" u="none" strike="noStrike" cap="none">
                          <a:solidFill>
                            <a:schemeClr val="dk2"/>
                          </a:solidFill>
                          <a:latin typeface="Source Sans Pro"/>
                          <a:ea typeface="Source Sans Pro"/>
                          <a:cs typeface="Source Sans Pro"/>
                        </a:rPr>
                        <a:t> </a:t>
                      </a:r>
                      <a:endParaRPr sz="1050" u="none" strike="noStrike" cap="none">
                        <a:solidFill>
                          <a:schemeClr val="dk2"/>
                        </a:solidFill>
                        <a:latin typeface="Source Sans Pro"/>
                        <a:ea typeface="Source Sans Pro"/>
                        <a:cs typeface="Source Sans Pro"/>
                        <a:sym typeface="Source Sans Pro"/>
                      </a:endParaRPr>
                    </a:p>
                  </a:txBody>
                  <a:tcPr marL="0" marR="182875" marT="91450" marB="91450">
                    <a:lnL w="0" cap="flat" cmpd="sng" algn="ctr">
                      <a:noFill/>
                      <a:prstDash val="solid"/>
                      <a:round/>
                      <a:headEnd type="none" w="med" len="med"/>
                      <a:tailEnd type="none" w="med" len="med"/>
                    </a:lnL>
                    <a:lnR w="0" cap="flat" cmpd="sng" algn="ctr">
                      <a:noFill/>
                      <a:prstDash val="solid"/>
                      <a:round/>
                      <a:headEnd type="none" w="med" len="med"/>
                      <a:tailEnd type="none" w="med" len="med"/>
                    </a:lnR>
                    <a:lnT w="12700" cap="flat" cmpd="sng" algn="ctr">
                      <a:solidFill>
                        <a:schemeClr val="tx1">
                          <a:lumMod val="25000"/>
                          <a:lumOff val="75000"/>
                        </a:schemeClr>
                      </a:solidFill>
                      <a:prstDash val="solid"/>
                      <a:round/>
                      <a:headEnd type="none" w="med" len="med"/>
                      <a:tailEnd type="none" w="med" len="med"/>
                    </a:lnT>
                    <a:lnB w="12700" cap="flat" cmpd="sng" algn="ctr">
                      <a:solidFill>
                        <a:schemeClr val="tx1">
                          <a:lumMod val="25000"/>
                          <a:lumOff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gn="l">
                        <a:lnSpc>
                          <a:spcPct val="100000"/>
                        </a:lnSpc>
                        <a:spcBef>
                          <a:spcPts val="0"/>
                        </a:spcBef>
                        <a:spcAft>
                          <a:spcPts val="0"/>
                        </a:spcAft>
                        <a:buNone/>
                      </a:pPr>
                      <a:r>
                        <a:rPr lang="en-US" sz="1050" u="none" strike="noStrike" cap="none">
                          <a:solidFill>
                            <a:schemeClr val="dk2"/>
                          </a:solidFill>
                          <a:latin typeface="Source Sans Pro"/>
                          <a:ea typeface="Source Sans Pro"/>
                          <a:cs typeface="Source Sans Pro"/>
                          <a:sym typeface="Source Sans Pro"/>
                        </a:rPr>
                        <a:t>POC name from Tarsha</a:t>
                      </a:r>
                      <a:endParaRPr sz="1050" u="none" strike="noStrike" cap="none">
                        <a:solidFill>
                          <a:schemeClr val="dk2"/>
                        </a:solidFill>
                        <a:latin typeface="Source Sans Pro"/>
                        <a:ea typeface="Source Sans Pro"/>
                        <a:cs typeface="Source Sans Pro"/>
                        <a:sym typeface="Source Sans Pro"/>
                      </a:endParaRPr>
                    </a:p>
                  </a:txBody>
                  <a:tcPr marL="0" marR="182875" marT="91450" marB="91450">
                    <a:lnL w="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25000"/>
                          <a:lumOff val="75000"/>
                        </a:schemeClr>
                      </a:solidFill>
                      <a:prstDash val="solid"/>
                      <a:round/>
                      <a:headEnd type="none" w="med" len="med"/>
                      <a:tailEnd type="none" w="med" len="med"/>
                    </a:lnT>
                    <a:lnB w="12700" cap="flat" cmpd="sng" algn="ctr">
                      <a:solidFill>
                        <a:schemeClr val="tx1">
                          <a:lumMod val="25000"/>
                          <a:lumOff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56028142"/>
                  </a:ext>
                </a:extLst>
              </a:tr>
              <a:tr h="648335">
                <a:tc>
                  <a:txBody>
                    <a:bodyPr/>
                    <a:lstStyle/>
                    <a:p>
                      <a:pPr marL="0" lvl="0" indent="0" algn="l">
                        <a:lnSpc>
                          <a:spcPct val="100000"/>
                        </a:lnSpc>
                        <a:spcBef>
                          <a:spcPts val="0"/>
                        </a:spcBef>
                        <a:spcAft>
                          <a:spcPts val="0"/>
                        </a:spcAft>
                        <a:buNone/>
                      </a:pPr>
                      <a:r>
                        <a:rPr lang="en-US" sz="1050" b="0" u="none" strike="noStrike" cap="none">
                          <a:solidFill>
                            <a:schemeClr val="dk2"/>
                          </a:solidFill>
                          <a:latin typeface="Source Sans Pro Semibold"/>
                          <a:ea typeface="Source Sans Pro"/>
                          <a:cs typeface="Source Sans Pro"/>
                          <a:sym typeface="Source Sans Pro"/>
                        </a:rPr>
                        <a:t>Post Launch</a:t>
                      </a:r>
                      <a:r>
                        <a:rPr lang="en-US" sz="1050" b="0" u="none" strike="noStrike" cap="none">
                          <a:solidFill>
                            <a:schemeClr val="dk2"/>
                          </a:solidFill>
                          <a:latin typeface="Source Sans Pro Semibold"/>
                          <a:ea typeface="Source Sans Pro"/>
                          <a:cs typeface="Source Sans Pro"/>
                        </a:rPr>
                        <a:t> </a:t>
                      </a:r>
                    </a:p>
                    <a:p>
                      <a:pPr marL="0" lvl="0" indent="0" algn="l">
                        <a:lnSpc>
                          <a:spcPct val="100000"/>
                        </a:lnSpc>
                        <a:spcBef>
                          <a:spcPts val="0"/>
                        </a:spcBef>
                        <a:spcAft>
                          <a:spcPts val="0"/>
                        </a:spcAft>
                        <a:buNone/>
                      </a:pPr>
                      <a:r>
                        <a:rPr lang="en-US" sz="1050" b="0" u="none" strike="noStrike" cap="none">
                          <a:solidFill>
                            <a:schemeClr val="dk2"/>
                          </a:solidFill>
                          <a:latin typeface="Source Sans Pro Semibold"/>
                          <a:ea typeface="Source Sans Pro"/>
                          <a:cs typeface="Source Sans Pro"/>
                          <a:sym typeface="Source Sans Pro"/>
                        </a:rPr>
                        <a:t>Check- In</a:t>
                      </a:r>
                      <a:endParaRPr sz="1050" b="0" u="none" strike="noStrike" cap="none">
                        <a:solidFill>
                          <a:schemeClr val="dk2"/>
                        </a:solidFill>
                        <a:latin typeface="Source Sans Pro Semibold"/>
                        <a:ea typeface="Source Sans Pro"/>
                        <a:cs typeface="Source Sans Pro"/>
                        <a:sym typeface="Source Sans Pro"/>
                      </a:endParaRPr>
                    </a:p>
                  </a:txBody>
                  <a:tcPr marL="0" marR="182875" marT="91450" marB="91450">
                    <a:lnL w="12700" cap="flat" cmpd="sng" algn="ctr">
                      <a:noFill/>
                      <a:prstDash val="solid"/>
                      <a:round/>
                      <a:headEnd type="none" w="med" len="med"/>
                      <a:tailEnd type="none" w="med" len="med"/>
                    </a:lnL>
                    <a:lnR w="0" cap="flat" cmpd="sng" algn="ctr">
                      <a:noFill/>
                      <a:prstDash val="solid"/>
                      <a:round/>
                      <a:headEnd type="none" w="med" len="med"/>
                      <a:tailEnd type="none" w="med" len="med"/>
                    </a:lnR>
                    <a:lnT w="12700" cap="flat" cmpd="sng" algn="ctr">
                      <a:solidFill>
                        <a:schemeClr val="tx1">
                          <a:lumMod val="25000"/>
                          <a:lumOff val="75000"/>
                        </a:schemeClr>
                      </a:solidFill>
                      <a:prstDash val="solid"/>
                      <a:round/>
                      <a:headEnd type="none" w="med" len="med"/>
                      <a:tailEnd type="none" w="med" len="med"/>
                    </a:lnT>
                    <a:lnB w="12700" cap="flat" cmpd="sng" algn="ctr">
                      <a:solidFill>
                        <a:schemeClr val="tx1">
                          <a:lumMod val="25000"/>
                          <a:lumOff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gn="l">
                        <a:lnSpc>
                          <a:spcPct val="100000"/>
                        </a:lnSpc>
                        <a:spcBef>
                          <a:spcPts val="0"/>
                        </a:spcBef>
                        <a:spcAft>
                          <a:spcPts val="0"/>
                        </a:spcAft>
                        <a:buNone/>
                      </a:pPr>
                      <a:r>
                        <a:rPr lang="en-US" sz="1050" u="none" strike="noStrike" cap="none">
                          <a:solidFill>
                            <a:schemeClr val="dk2"/>
                          </a:solidFill>
                          <a:latin typeface="Source Sans Pro"/>
                          <a:ea typeface="Source Sans Pro"/>
                          <a:cs typeface="Source Sans Pro"/>
                          <a:sym typeface="Source Sans Pro"/>
                        </a:rPr>
                        <a:t>Product</a:t>
                      </a:r>
                      <a:endParaRPr sz="1050" u="none" strike="noStrike" cap="none">
                        <a:solidFill>
                          <a:schemeClr val="dk2"/>
                        </a:solidFill>
                        <a:latin typeface="Source Sans Pro"/>
                        <a:ea typeface="Source Sans Pro"/>
                        <a:cs typeface="Source Sans Pro"/>
                        <a:sym typeface="Source Sans Pro"/>
                      </a:endParaRPr>
                    </a:p>
                  </a:txBody>
                  <a:tcPr marL="0" marR="182875" marT="91450" marB="91450">
                    <a:lnL w="0" cap="flat" cmpd="sng" algn="ctr">
                      <a:noFill/>
                      <a:prstDash val="solid"/>
                      <a:round/>
                      <a:headEnd type="none" w="med" len="med"/>
                      <a:tailEnd type="none" w="med" len="med"/>
                    </a:lnL>
                    <a:lnR w="0" cap="flat" cmpd="sng" algn="ctr">
                      <a:noFill/>
                      <a:prstDash val="solid"/>
                      <a:round/>
                      <a:headEnd type="none" w="med" len="med"/>
                      <a:tailEnd type="none" w="med" len="med"/>
                    </a:lnR>
                    <a:lnT w="12700" cap="flat" cmpd="sng" algn="ctr">
                      <a:solidFill>
                        <a:schemeClr val="tx1">
                          <a:lumMod val="25000"/>
                          <a:lumOff val="75000"/>
                        </a:schemeClr>
                      </a:solidFill>
                      <a:prstDash val="solid"/>
                      <a:round/>
                      <a:headEnd type="none" w="med" len="med"/>
                      <a:tailEnd type="none" w="med" len="med"/>
                    </a:lnT>
                    <a:lnB w="12700" cap="flat" cmpd="sng" algn="ctr">
                      <a:solidFill>
                        <a:schemeClr val="tx1">
                          <a:lumMod val="25000"/>
                          <a:lumOff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lvl="0" indent="-171450" algn="l">
                        <a:lnSpc>
                          <a:spcPct val="100000"/>
                        </a:lnSpc>
                        <a:spcBef>
                          <a:spcPts val="0"/>
                        </a:spcBef>
                        <a:spcAft>
                          <a:spcPts val="0"/>
                        </a:spcAft>
                        <a:buFont typeface="Wingdings" panose="020B0604020202020204" pitchFamily="34" charset="0"/>
                        <a:buChar char="§"/>
                      </a:pPr>
                      <a:r>
                        <a:rPr lang="en-US" sz="1050" u="none" strike="noStrike" cap="none">
                          <a:solidFill>
                            <a:schemeClr val="dk2"/>
                          </a:solidFill>
                          <a:latin typeface="Source Sans Pro"/>
                          <a:ea typeface="Source Sans Pro"/>
                          <a:cs typeface="Source Sans Pro"/>
                          <a:sym typeface="Source Sans Pro"/>
                        </a:rPr>
                        <a:t>Complete Collaboration Cycle milestone to KPIs post launch</a:t>
                      </a:r>
                      <a:r>
                        <a:rPr lang="en-US" sz="1050" u="none" strike="noStrike" cap="none">
                          <a:solidFill>
                            <a:schemeClr val="dk2"/>
                          </a:solidFill>
                          <a:latin typeface="Source Sans Pro"/>
                          <a:ea typeface="Source Sans Pro"/>
                          <a:cs typeface="Source Sans Pro"/>
                        </a:rPr>
                        <a:t> </a:t>
                      </a:r>
                      <a:endParaRPr sz="1050" u="none" strike="noStrike" cap="none">
                        <a:solidFill>
                          <a:schemeClr val="dk2"/>
                        </a:solidFill>
                        <a:latin typeface="Source Sans Pro"/>
                        <a:ea typeface="Source Sans Pro"/>
                        <a:cs typeface="Source Sans Pro"/>
                        <a:sym typeface="Source Sans Pro"/>
                      </a:endParaRPr>
                    </a:p>
                  </a:txBody>
                  <a:tcPr marL="0" marR="182875" marT="91450" marB="91450">
                    <a:lnL w="0" cap="flat" cmpd="sng" algn="ctr">
                      <a:noFill/>
                      <a:prstDash val="solid"/>
                      <a:round/>
                      <a:headEnd type="none" w="med" len="med"/>
                      <a:tailEnd type="none" w="med" len="med"/>
                    </a:lnL>
                    <a:lnR w="0" cap="flat" cmpd="sng" algn="ctr">
                      <a:noFill/>
                      <a:prstDash val="solid"/>
                      <a:round/>
                      <a:headEnd type="none" w="med" len="med"/>
                      <a:tailEnd type="none" w="med" len="med"/>
                    </a:lnR>
                    <a:lnT w="12700" cap="flat" cmpd="sng" algn="ctr">
                      <a:solidFill>
                        <a:schemeClr val="tx1">
                          <a:lumMod val="25000"/>
                          <a:lumOff val="75000"/>
                        </a:schemeClr>
                      </a:solidFill>
                      <a:prstDash val="solid"/>
                      <a:round/>
                      <a:headEnd type="none" w="med" len="med"/>
                      <a:tailEnd type="none" w="med" len="med"/>
                    </a:lnT>
                    <a:lnB w="12700" cap="flat" cmpd="sng" algn="ctr">
                      <a:solidFill>
                        <a:schemeClr val="tx1">
                          <a:lumMod val="25000"/>
                          <a:lumOff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gn="l">
                        <a:lnSpc>
                          <a:spcPct val="100000"/>
                        </a:lnSpc>
                        <a:spcBef>
                          <a:spcPts val="0"/>
                        </a:spcBef>
                        <a:spcAft>
                          <a:spcPts val="0"/>
                        </a:spcAft>
                        <a:buNone/>
                      </a:pPr>
                      <a:r>
                        <a:rPr lang="en-US" sz="1050" u="none" strike="noStrike" cap="none">
                          <a:solidFill>
                            <a:schemeClr val="dk2"/>
                          </a:solidFill>
                          <a:latin typeface="Source Sans Pro"/>
                          <a:ea typeface="Source Sans Pro"/>
                          <a:cs typeface="Source Sans Pro"/>
                        </a:rPr>
                        <a:t>TBD (One month after launch and announcement)</a:t>
                      </a:r>
                      <a:endParaRPr sz="1050" u="none" strike="noStrike" cap="none">
                        <a:solidFill>
                          <a:schemeClr val="dk2"/>
                        </a:solidFill>
                        <a:latin typeface="Source Sans Pro"/>
                        <a:ea typeface="Source Sans Pro"/>
                        <a:cs typeface="Source Sans Pro"/>
                        <a:sym typeface="Source Sans Pro"/>
                      </a:endParaRPr>
                    </a:p>
                  </a:txBody>
                  <a:tcPr marL="0" marR="182875" marT="91450" marB="91450">
                    <a:lnL w="0" cap="flat" cmpd="sng" algn="ctr">
                      <a:noFill/>
                      <a:prstDash val="solid"/>
                      <a:round/>
                      <a:headEnd type="none" w="med" len="med"/>
                      <a:tailEnd type="none" w="med" len="med"/>
                    </a:lnL>
                    <a:lnR w="0" cap="flat" cmpd="sng" algn="ctr">
                      <a:noFill/>
                      <a:prstDash val="solid"/>
                      <a:round/>
                      <a:headEnd type="none" w="med" len="med"/>
                      <a:tailEnd type="none" w="med" len="med"/>
                    </a:lnR>
                    <a:lnT w="12700" cap="flat" cmpd="sng" algn="ctr">
                      <a:solidFill>
                        <a:schemeClr val="tx1">
                          <a:lumMod val="25000"/>
                          <a:lumOff val="75000"/>
                        </a:schemeClr>
                      </a:solidFill>
                      <a:prstDash val="solid"/>
                      <a:round/>
                      <a:headEnd type="none" w="med" len="med"/>
                      <a:tailEnd type="none" w="med" len="med"/>
                    </a:lnT>
                    <a:lnB w="12700" cap="flat" cmpd="sng" algn="ctr">
                      <a:solidFill>
                        <a:schemeClr val="tx1">
                          <a:lumMod val="25000"/>
                          <a:lumOff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gn="l">
                        <a:lnSpc>
                          <a:spcPct val="100000"/>
                        </a:lnSpc>
                        <a:spcBef>
                          <a:spcPts val="0"/>
                        </a:spcBef>
                        <a:spcAft>
                          <a:spcPts val="0"/>
                        </a:spcAft>
                        <a:buNone/>
                      </a:pPr>
                      <a:r>
                        <a:rPr lang="en-US" sz="1050" u="none" strike="noStrike" cap="none">
                          <a:solidFill>
                            <a:schemeClr val="dk2"/>
                          </a:solidFill>
                          <a:latin typeface="Source Sans Pro"/>
                          <a:ea typeface="Source Sans Pro"/>
                          <a:cs typeface="Source Sans Pro"/>
                          <a:sym typeface="Source Sans Pro"/>
                        </a:rPr>
                        <a:t>Product launched in prod</a:t>
                      </a:r>
                      <a:endParaRPr sz="1050" u="none" strike="noStrike" cap="none">
                        <a:solidFill>
                          <a:schemeClr val="dk2"/>
                        </a:solidFill>
                        <a:latin typeface="Source Sans Pro"/>
                        <a:ea typeface="Source Sans Pro"/>
                        <a:cs typeface="Source Sans Pro"/>
                        <a:sym typeface="Source Sans Pro"/>
                      </a:endParaRPr>
                    </a:p>
                  </a:txBody>
                  <a:tcPr marL="0" marR="182875" marT="91450" marB="91450">
                    <a:lnL w="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25000"/>
                          <a:lumOff val="75000"/>
                        </a:schemeClr>
                      </a:solidFill>
                      <a:prstDash val="solid"/>
                      <a:round/>
                      <a:headEnd type="none" w="med" len="med"/>
                      <a:tailEnd type="none" w="med" len="med"/>
                    </a:lnT>
                    <a:lnB w="12700" cap="flat" cmpd="sng" algn="ctr">
                      <a:solidFill>
                        <a:schemeClr val="tx1">
                          <a:lumMod val="25000"/>
                          <a:lumOff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158798524"/>
                  </a:ext>
                </a:extLst>
              </a:tr>
              <a:tr h="702879">
                <a:tc>
                  <a:txBody>
                    <a:bodyPr/>
                    <a:lstStyle/>
                    <a:p>
                      <a:pPr marL="0" lvl="0" indent="0" algn="l">
                        <a:lnSpc>
                          <a:spcPct val="100000"/>
                        </a:lnSpc>
                        <a:spcBef>
                          <a:spcPts val="0"/>
                        </a:spcBef>
                        <a:spcAft>
                          <a:spcPts val="0"/>
                        </a:spcAft>
                        <a:buNone/>
                      </a:pPr>
                      <a:r>
                        <a:rPr lang="en-US" sz="1050" b="0" u="none" strike="noStrike" cap="none">
                          <a:solidFill>
                            <a:schemeClr val="dk2"/>
                          </a:solidFill>
                          <a:latin typeface="Source Sans Pro Semibold"/>
                          <a:ea typeface="Source Sans Pro"/>
                          <a:cs typeface="Source Sans Pro"/>
                          <a:sym typeface="Source Sans Pro"/>
                        </a:rPr>
                        <a:t>Links from VA.gov pages to 1095-B</a:t>
                      </a:r>
                      <a:endParaRPr sz="1050" b="0" u="none" strike="noStrike" cap="none">
                        <a:solidFill>
                          <a:schemeClr val="dk2"/>
                        </a:solidFill>
                        <a:latin typeface="Source Sans Pro Semibold"/>
                        <a:ea typeface="Source Sans Pro"/>
                        <a:cs typeface="Source Sans Pro"/>
                        <a:sym typeface="Source Sans Pro"/>
                      </a:endParaRPr>
                    </a:p>
                  </a:txBody>
                  <a:tcPr marL="0" marR="0" marT="91450" marB="91450">
                    <a:lnL w="12700" cap="flat" cmpd="sng" algn="ctr">
                      <a:noFill/>
                      <a:prstDash val="solid"/>
                      <a:round/>
                      <a:headEnd type="none" w="med" len="med"/>
                      <a:tailEnd type="none" w="med" len="med"/>
                    </a:lnL>
                    <a:lnR w="0" cap="flat" cmpd="sng" algn="ctr">
                      <a:noFill/>
                      <a:prstDash val="solid"/>
                      <a:round/>
                      <a:headEnd type="none" w="med" len="med"/>
                      <a:tailEnd type="none" w="med" len="med"/>
                    </a:lnR>
                    <a:lnT w="12700" cap="flat" cmpd="sng" algn="ctr">
                      <a:solidFill>
                        <a:schemeClr val="tx1">
                          <a:lumMod val="25000"/>
                          <a:lumOff val="75000"/>
                        </a:schemeClr>
                      </a:solidFill>
                      <a:prstDash val="solid"/>
                      <a:round/>
                      <a:headEnd type="none" w="med" len="med"/>
                      <a:tailEnd type="none" w="med" len="med"/>
                    </a:lnT>
                    <a:lnB w="12700" cap="flat" cmpd="sng" algn="ctr">
                      <a:solidFill>
                        <a:schemeClr val="tx1">
                          <a:lumMod val="25000"/>
                          <a:lumOff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gn="l">
                        <a:lnSpc>
                          <a:spcPct val="100000"/>
                        </a:lnSpc>
                        <a:spcBef>
                          <a:spcPts val="0"/>
                        </a:spcBef>
                        <a:spcAft>
                          <a:spcPts val="0"/>
                        </a:spcAft>
                        <a:buNone/>
                      </a:pPr>
                      <a:r>
                        <a:rPr lang="en-US" sz="1050" u="none" strike="noStrike" cap="none">
                          <a:solidFill>
                            <a:schemeClr val="dk2"/>
                          </a:solidFill>
                          <a:latin typeface="Source Sans Pro"/>
                          <a:ea typeface="Source Sans Pro"/>
                          <a:cs typeface="Source Sans Pro"/>
                          <a:sym typeface="Source Sans Pro"/>
                        </a:rPr>
                        <a:t>Product &amp; Design</a:t>
                      </a:r>
                      <a:endParaRPr sz="1050" u="none" strike="noStrike" cap="none">
                        <a:solidFill>
                          <a:schemeClr val="dk2"/>
                        </a:solidFill>
                        <a:latin typeface="Source Sans Pro"/>
                        <a:ea typeface="Source Sans Pro"/>
                        <a:cs typeface="Source Sans Pro"/>
                        <a:sym typeface="Source Sans Pro"/>
                      </a:endParaRPr>
                    </a:p>
                  </a:txBody>
                  <a:tcPr marL="0" marR="182875" marT="91450" marB="91450">
                    <a:lnL w="0" cap="flat" cmpd="sng" algn="ctr">
                      <a:noFill/>
                      <a:prstDash val="solid"/>
                      <a:round/>
                      <a:headEnd type="none" w="med" len="med"/>
                      <a:tailEnd type="none" w="med" len="med"/>
                    </a:lnL>
                    <a:lnR w="0" cap="flat" cmpd="sng" algn="ctr">
                      <a:noFill/>
                      <a:prstDash val="solid"/>
                      <a:round/>
                      <a:headEnd type="none" w="med" len="med"/>
                      <a:tailEnd type="none" w="med" len="med"/>
                    </a:lnR>
                    <a:lnT w="12700" cap="flat" cmpd="sng" algn="ctr">
                      <a:solidFill>
                        <a:schemeClr val="tx1">
                          <a:lumMod val="25000"/>
                          <a:lumOff val="75000"/>
                        </a:schemeClr>
                      </a:solidFill>
                      <a:prstDash val="solid"/>
                      <a:round/>
                      <a:headEnd type="none" w="med" len="med"/>
                      <a:tailEnd type="none" w="med" len="med"/>
                    </a:lnT>
                    <a:lnB w="12700" cap="flat" cmpd="sng" algn="ctr">
                      <a:solidFill>
                        <a:schemeClr val="tx1">
                          <a:lumMod val="25000"/>
                          <a:lumOff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lvl="0" indent="-171450" algn="l">
                        <a:lnSpc>
                          <a:spcPct val="100000"/>
                        </a:lnSpc>
                        <a:spcBef>
                          <a:spcPts val="0"/>
                        </a:spcBef>
                        <a:spcAft>
                          <a:spcPts val="0"/>
                        </a:spcAft>
                        <a:buFont typeface="Wingdings" panose="020B0604020202020204" pitchFamily="34" charset="0"/>
                        <a:buChar char="§"/>
                      </a:pPr>
                      <a:r>
                        <a:rPr lang="en-US" sz="1050" u="none" strike="noStrike" cap="none">
                          <a:solidFill>
                            <a:schemeClr val="dk2"/>
                          </a:solidFill>
                          <a:latin typeface="Source Sans Pro"/>
                          <a:ea typeface="Source Sans Pro"/>
                          <a:cs typeface="Source Sans Pro"/>
                          <a:sym typeface="Source Sans Pro"/>
                        </a:rPr>
                        <a:t>Work with IA team to have other identified pages within VA.gov (e.g., ACA page) link to the 1095-B page</a:t>
                      </a:r>
                    </a:p>
                    <a:p>
                      <a:pPr marL="171450" lvl="0" indent="-171450" algn="l">
                        <a:lnSpc>
                          <a:spcPct val="100000"/>
                        </a:lnSpc>
                        <a:spcBef>
                          <a:spcPts val="0"/>
                        </a:spcBef>
                        <a:spcAft>
                          <a:spcPts val="0"/>
                        </a:spcAft>
                        <a:buFont typeface="Wingdings" panose="020B0604020202020204" pitchFamily="34" charset="0"/>
                        <a:buChar char="§"/>
                      </a:pPr>
                      <a:r>
                        <a:rPr lang="en-US" sz="1050" u="none" strike="noStrike" cap="none">
                          <a:solidFill>
                            <a:schemeClr val="dk2"/>
                          </a:solidFill>
                          <a:latin typeface="Source Sans Pro"/>
                          <a:ea typeface="Source Sans Pro"/>
                          <a:cs typeface="Source Sans Pro"/>
                        </a:rPr>
                        <a:t>Work with IA team to have 1095-B page added to navigation and be found in VA.gov search</a:t>
                      </a:r>
                    </a:p>
                  </a:txBody>
                  <a:tcPr marL="0" marR="0" marT="91450" marB="91450">
                    <a:lnL w="0" cap="flat" cmpd="sng" algn="ctr">
                      <a:noFill/>
                      <a:prstDash val="solid"/>
                      <a:round/>
                      <a:headEnd type="none" w="med" len="med"/>
                      <a:tailEnd type="none" w="med" len="med"/>
                    </a:lnL>
                    <a:lnR w="0" cap="flat" cmpd="sng" algn="ctr">
                      <a:noFill/>
                      <a:prstDash val="solid"/>
                      <a:round/>
                      <a:headEnd type="none" w="med" len="med"/>
                      <a:tailEnd type="none" w="med" len="med"/>
                    </a:lnR>
                    <a:lnT w="12700" cap="flat" cmpd="sng" algn="ctr">
                      <a:solidFill>
                        <a:schemeClr val="tx1">
                          <a:lumMod val="25000"/>
                          <a:lumOff val="75000"/>
                        </a:schemeClr>
                      </a:solidFill>
                      <a:prstDash val="solid"/>
                      <a:round/>
                      <a:headEnd type="none" w="med" len="med"/>
                      <a:tailEnd type="none" w="med" len="med"/>
                    </a:lnT>
                    <a:lnB w="12700" cap="flat" cmpd="sng" algn="ctr">
                      <a:solidFill>
                        <a:schemeClr val="tx1">
                          <a:lumMod val="25000"/>
                          <a:lumOff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gn="l">
                        <a:lnSpc>
                          <a:spcPct val="100000"/>
                        </a:lnSpc>
                        <a:spcBef>
                          <a:spcPts val="0"/>
                        </a:spcBef>
                        <a:spcAft>
                          <a:spcPts val="0"/>
                        </a:spcAft>
                        <a:buNone/>
                      </a:pPr>
                      <a:r>
                        <a:rPr lang="en-US" sz="1050" u="none" strike="noStrike" cap="none">
                          <a:solidFill>
                            <a:schemeClr val="dk2"/>
                          </a:solidFill>
                          <a:latin typeface="Source Sans Pro"/>
                          <a:ea typeface="Source Sans Pro"/>
                          <a:cs typeface="Source Sans Pro"/>
                          <a:sym typeface="Source Sans Pro"/>
                        </a:rPr>
                        <a:t>April or later</a:t>
                      </a:r>
                      <a:endParaRPr sz="1050" u="none" strike="noStrike" cap="none">
                        <a:solidFill>
                          <a:schemeClr val="dk2"/>
                        </a:solidFill>
                        <a:latin typeface="Source Sans Pro"/>
                        <a:ea typeface="Source Sans Pro"/>
                        <a:cs typeface="Source Sans Pro"/>
                        <a:sym typeface="Source Sans Pro"/>
                      </a:endParaRPr>
                    </a:p>
                  </a:txBody>
                  <a:tcPr marL="0" marR="182875" marT="91450" marB="91450">
                    <a:lnL w="0" cap="flat" cmpd="sng" algn="ctr">
                      <a:noFill/>
                      <a:prstDash val="solid"/>
                      <a:round/>
                      <a:headEnd type="none" w="med" len="med"/>
                      <a:tailEnd type="none" w="med" len="med"/>
                    </a:lnL>
                    <a:lnR w="0" cap="flat" cmpd="sng" algn="ctr">
                      <a:noFill/>
                      <a:prstDash val="solid"/>
                      <a:round/>
                      <a:headEnd type="none" w="med" len="med"/>
                      <a:tailEnd type="none" w="med" len="med"/>
                    </a:lnR>
                    <a:lnT w="12700" cap="flat" cmpd="sng" algn="ctr">
                      <a:solidFill>
                        <a:schemeClr val="tx1">
                          <a:lumMod val="25000"/>
                          <a:lumOff val="75000"/>
                        </a:schemeClr>
                      </a:solidFill>
                      <a:prstDash val="solid"/>
                      <a:round/>
                      <a:headEnd type="none" w="med" len="med"/>
                      <a:tailEnd type="none" w="med" len="med"/>
                    </a:lnT>
                    <a:lnB w="12700" cap="flat" cmpd="sng" algn="ctr">
                      <a:solidFill>
                        <a:schemeClr val="tx1">
                          <a:lumMod val="25000"/>
                          <a:lumOff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rtl="0" eaLnBrk="1" fontAlgn="auto" latinLnBrk="0" hangingPunct="1">
                        <a:lnSpc>
                          <a:spcPct val="100000"/>
                        </a:lnSpc>
                        <a:spcBef>
                          <a:spcPts val="0"/>
                        </a:spcBef>
                        <a:spcAft>
                          <a:spcPts val="0"/>
                        </a:spcAft>
                        <a:buClr>
                          <a:srgbClr val="000000"/>
                        </a:buClr>
                        <a:buSzTx/>
                        <a:buFont typeface="Arial"/>
                        <a:buNone/>
                      </a:pPr>
                      <a:r>
                        <a:rPr lang="en-US" sz="1050" u="none" strike="noStrike" cap="none">
                          <a:solidFill>
                            <a:schemeClr val="dk2"/>
                          </a:solidFill>
                          <a:latin typeface="Source Sans Pro"/>
                          <a:ea typeface="Source Sans Pro"/>
                          <a:cs typeface="Source Sans Pro"/>
                          <a:sym typeface="Source Sans Pro"/>
                        </a:rPr>
                        <a:t>Product launched in prod; aligned on comm plan with Tarsha,</a:t>
                      </a:r>
                      <a:r>
                        <a:rPr lang="en-US" sz="1050" u="none" strike="noStrike" cap="none">
                          <a:solidFill>
                            <a:schemeClr val="dk2"/>
                          </a:solidFill>
                          <a:latin typeface="Source Sans Pro"/>
                          <a:ea typeface="Source Sans Pro"/>
                          <a:cs typeface="Source Sans Pro"/>
                        </a:rPr>
                        <a:t> </a:t>
                      </a:r>
                      <a:r>
                        <a:rPr lang="en-US" sz="1050" u="none" strike="noStrike" cap="none">
                          <a:solidFill>
                            <a:schemeClr val="dk2"/>
                          </a:solidFill>
                          <a:latin typeface="Source Sans Pro"/>
                          <a:ea typeface="Source Sans Pro"/>
                          <a:cs typeface="Source Sans Pro"/>
                          <a:sym typeface="Source Sans Pro"/>
                        </a:rPr>
                        <a:t> Tracey</a:t>
                      </a:r>
                      <a:endParaRPr lang="en-US" sz="1050">
                        <a:sym typeface="Source Sans Pro"/>
                      </a:endParaRPr>
                    </a:p>
                  </a:txBody>
                  <a:tcPr marL="0" marR="182875" marT="91450" marB="91450">
                    <a:lnL w="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25000"/>
                          <a:lumOff val="75000"/>
                        </a:schemeClr>
                      </a:solidFill>
                      <a:prstDash val="solid"/>
                      <a:round/>
                      <a:headEnd type="none" w="med" len="med"/>
                      <a:tailEnd type="none" w="med" len="med"/>
                    </a:lnT>
                    <a:lnB w="12700" cap="flat" cmpd="sng" algn="ctr">
                      <a:solidFill>
                        <a:schemeClr val="tx1">
                          <a:lumMod val="25000"/>
                          <a:lumOff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869191189"/>
                  </a:ext>
                </a:extLst>
              </a:tr>
              <a:tr h="400706">
                <a:tc>
                  <a:txBody>
                    <a:bodyPr/>
                    <a:lstStyle/>
                    <a:p>
                      <a:pPr marL="0" lvl="0" indent="0" algn="l">
                        <a:lnSpc>
                          <a:spcPct val="100000"/>
                        </a:lnSpc>
                        <a:spcBef>
                          <a:spcPts val="0"/>
                        </a:spcBef>
                        <a:spcAft>
                          <a:spcPts val="0"/>
                        </a:spcAft>
                        <a:buNone/>
                      </a:pPr>
                      <a:r>
                        <a:rPr lang="en-US" sz="1050" b="0" u="none" strike="noStrike" cap="none">
                          <a:solidFill>
                            <a:schemeClr val="dk2"/>
                          </a:solidFill>
                          <a:latin typeface="Source Sans Pro Semibold"/>
                          <a:ea typeface="Source Sans Pro"/>
                          <a:cs typeface="Source Sans Pro"/>
                        </a:rPr>
                        <a:t>1095-B update strategy</a:t>
                      </a:r>
                      <a:endParaRPr sz="1050" b="0" u="none" strike="noStrike" cap="none">
                        <a:solidFill>
                          <a:schemeClr val="dk2"/>
                        </a:solidFill>
                        <a:latin typeface="Source Sans Pro Semibold"/>
                        <a:ea typeface="Source Sans Pro"/>
                        <a:cs typeface="Source Sans Pro"/>
                        <a:sym typeface="Source Sans Pro"/>
                      </a:endParaRPr>
                    </a:p>
                  </a:txBody>
                  <a:tcPr marL="0" marR="0" marT="91450" marB="0">
                    <a:lnL w="0">
                      <a:noFill/>
                    </a:lnL>
                    <a:lnR w="0">
                      <a:noFill/>
                    </a:lnR>
                    <a:lnT w="12700">
                      <a:solidFill>
                        <a:schemeClr val="tx1">
                          <a:lumMod val="25000"/>
                          <a:lumOff val="75000"/>
                        </a:schemeClr>
                      </a:solidFill>
                    </a:lnT>
                    <a:lnB w="12700">
                      <a:solidFill>
                        <a:schemeClr val="tx1">
                          <a:lumMod val="25000"/>
                          <a:lumOff val="75000"/>
                        </a:schemeClr>
                      </a:solidFill>
                    </a:lnB>
                    <a:lnTlToBr w="12700" cmpd="sng">
                      <a:noFill/>
                      <a:prstDash val="solid"/>
                    </a:lnTlToBr>
                    <a:lnBlToTr w="12700" cmpd="sng">
                      <a:noFill/>
                      <a:prstDash val="solid"/>
                    </a:lnBlToTr>
                  </a:tcPr>
                </a:tc>
                <a:tc>
                  <a:txBody>
                    <a:bodyPr/>
                    <a:lstStyle/>
                    <a:p>
                      <a:pPr marL="0" lvl="0" indent="0" algn="l">
                        <a:lnSpc>
                          <a:spcPct val="100000"/>
                        </a:lnSpc>
                        <a:spcBef>
                          <a:spcPts val="0"/>
                        </a:spcBef>
                        <a:spcAft>
                          <a:spcPts val="0"/>
                        </a:spcAft>
                        <a:buNone/>
                      </a:pPr>
                      <a:r>
                        <a:rPr lang="en-US" sz="1050" u="none" strike="noStrike" cap="none">
                          <a:solidFill>
                            <a:schemeClr val="dk2"/>
                          </a:solidFill>
                          <a:latin typeface="Source Sans Pro"/>
                          <a:ea typeface="Source Sans Pro"/>
                          <a:cs typeface="Source Sans Pro"/>
                        </a:rPr>
                        <a:t>Product</a:t>
                      </a:r>
                      <a:endParaRPr sz="1050" u="none" strike="noStrike" cap="none">
                        <a:solidFill>
                          <a:schemeClr val="dk2"/>
                        </a:solidFill>
                        <a:latin typeface="Source Sans Pro"/>
                        <a:ea typeface="Source Sans Pro"/>
                        <a:cs typeface="Source Sans Pro"/>
                        <a:sym typeface="Source Sans Pro"/>
                      </a:endParaRPr>
                    </a:p>
                  </a:txBody>
                  <a:tcPr marL="0" marR="182875" marT="91450" marB="0">
                    <a:lnL w="0">
                      <a:noFill/>
                    </a:lnL>
                    <a:lnR w="0">
                      <a:noFill/>
                    </a:lnR>
                    <a:lnT w="12700">
                      <a:solidFill>
                        <a:schemeClr val="tx1">
                          <a:lumMod val="25000"/>
                          <a:lumOff val="75000"/>
                        </a:schemeClr>
                      </a:solidFill>
                    </a:lnT>
                    <a:lnB w="12700">
                      <a:solidFill>
                        <a:schemeClr val="tx1">
                          <a:lumMod val="25000"/>
                          <a:lumOff val="75000"/>
                        </a:schemeClr>
                      </a:solidFill>
                    </a:lnB>
                    <a:lnTlToBr w="12700" cmpd="sng">
                      <a:noFill/>
                      <a:prstDash val="solid"/>
                    </a:lnTlToBr>
                    <a:lnBlToTr w="12700" cmpd="sng">
                      <a:noFill/>
                      <a:prstDash val="solid"/>
                    </a:lnBlToTr>
                  </a:tcPr>
                </a:tc>
                <a:tc>
                  <a:txBody>
                    <a:bodyPr/>
                    <a:lstStyle/>
                    <a:p>
                      <a:pPr marL="171450" lvl="0" indent="-171450" algn="l">
                        <a:lnSpc>
                          <a:spcPct val="100000"/>
                        </a:lnSpc>
                        <a:spcBef>
                          <a:spcPts val="0"/>
                        </a:spcBef>
                        <a:spcAft>
                          <a:spcPts val="0"/>
                        </a:spcAft>
                        <a:buFont typeface="Wingdings"/>
                        <a:buChar char="§"/>
                      </a:pPr>
                      <a:r>
                        <a:rPr lang="en-US" sz="1050" u="none" strike="noStrike" cap="none">
                          <a:solidFill>
                            <a:schemeClr val="dk2"/>
                          </a:solidFill>
                          <a:latin typeface="Source Sans Pro"/>
                          <a:ea typeface="Source Sans Pro"/>
                          <a:cs typeface="Source Sans Pro"/>
                        </a:rPr>
                        <a:t>Align on who will own 1095-B long term, including updating the PDF template each year</a:t>
                      </a:r>
                      <a:endParaRPr sz="1050" u="none" strike="noStrike" cap="none">
                        <a:solidFill>
                          <a:schemeClr val="dk2"/>
                        </a:solidFill>
                        <a:latin typeface="Source Sans Pro"/>
                        <a:ea typeface="Source Sans Pro"/>
                        <a:cs typeface="Source Sans Pro"/>
                        <a:sym typeface="Source Sans Pro"/>
                      </a:endParaRPr>
                    </a:p>
                  </a:txBody>
                  <a:tcPr marL="0" marR="0" marT="91450" marB="0">
                    <a:lnL w="0">
                      <a:noFill/>
                    </a:lnL>
                    <a:lnR w="0">
                      <a:noFill/>
                    </a:lnR>
                    <a:lnT w="12700">
                      <a:solidFill>
                        <a:schemeClr val="tx1">
                          <a:lumMod val="25000"/>
                          <a:lumOff val="75000"/>
                        </a:schemeClr>
                      </a:solidFill>
                    </a:lnT>
                    <a:lnB w="12700">
                      <a:solidFill>
                        <a:schemeClr val="tx1">
                          <a:lumMod val="25000"/>
                          <a:lumOff val="75000"/>
                        </a:schemeClr>
                      </a:solidFill>
                    </a:lnB>
                    <a:lnTlToBr w="12700" cmpd="sng">
                      <a:noFill/>
                      <a:prstDash val="solid"/>
                    </a:lnTlToBr>
                    <a:lnBlToTr w="12700" cmpd="sng">
                      <a:noFill/>
                      <a:prstDash val="solid"/>
                    </a:lnBlToTr>
                  </a:tcPr>
                </a:tc>
                <a:tc>
                  <a:txBody>
                    <a:bodyPr/>
                    <a:lstStyle/>
                    <a:p>
                      <a:pPr lvl="0" algn="l">
                        <a:lnSpc>
                          <a:spcPct val="100000"/>
                        </a:lnSpc>
                        <a:spcBef>
                          <a:spcPts val="0"/>
                        </a:spcBef>
                        <a:spcAft>
                          <a:spcPts val="0"/>
                        </a:spcAft>
                        <a:buNone/>
                      </a:pPr>
                      <a:r>
                        <a:rPr lang="en-US" sz="1050" b="0" i="0" u="none" strike="noStrike" cap="none" noProof="0">
                          <a:solidFill>
                            <a:schemeClr val="dk2"/>
                          </a:solidFill>
                          <a:latin typeface="Source Sans Pro"/>
                        </a:rPr>
                        <a:t>April or later</a:t>
                      </a:r>
                      <a:endParaRPr lang="en-US" sz="1050" b="0" i="0" u="none" strike="noStrike" cap="none" noProof="0">
                        <a:latin typeface="Source Sans Pro"/>
                      </a:endParaRPr>
                    </a:p>
                    <a:p>
                      <a:pPr marL="0" lvl="0" indent="0" algn="l">
                        <a:lnSpc>
                          <a:spcPct val="100000"/>
                        </a:lnSpc>
                        <a:spcBef>
                          <a:spcPts val="0"/>
                        </a:spcBef>
                        <a:spcAft>
                          <a:spcPts val="0"/>
                        </a:spcAft>
                        <a:buNone/>
                      </a:pPr>
                      <a:endParaRPr sz="1050" u="none" strike="noStrike" cap="none">
                        <a:solidFill>
                          <a:schemeClr val="dk2"/>
                        </a:solidFill>
                        <a:latin typeface="Source Sans Pro"/>
                        <a:ea typeface="Source Sans Pro"/>
                        <a:cs typeface="Source Sans Pro"/>
                        <a:sym typeface="Source Sans Pro"/>
                      </a:endParaRPr>
                    </a:p>
                  </a:txBody>
                  <a:tcPr marL="0" marR="182875" marT="91450" marB="0">
                    <a:lnL w="0">
                      <a:noFill/>
                    </a:lnL>
                    <a:lnR w="0">
                      <a:noFill/>
                    </a:lnR>
                    <a:lnT w="12700">
                      <a:solidFill>
                        <a:schemeClr val="tx1">
                          <a:lumMod val="25000"/>
                          <a:lumOff val="75000"/>
                        </a:schemeClr>
                      </a:solidFill>
                    </a:lnT>
                    <a:lnB w="12700">
                      <a:solidFill>
                        <a:schemeClr val="tx1">
                          <a:lumMod val="25000"/>
                          <a:lumOff val="75000"/>
                        </a:schemeClr>
                      </a:solidFill>
                    </a:lnB>
                    <a:lnTlToBr w="12700" cmpd="sng">
                      <a:noFill/>
                      <a:prstDash val="solid"/>
                    </a:lnTlToBr>
                    <a:lnBlToTr w="12700" cmpd="sng">
                      <a:noFill/>
                      <a:prstDash val="solid"/>
                    </a:lnBlToTr>
                  </a:tcPr>
                </a:tc>
                <a:tc>
                  <a:txBody>
                    <a:bodyPr/>
                    <a:lstStyle/>
                    <a:p>
                      <a:pPr marL="0" lvl="0" indent="0" algn="l">
                        <a:lnSpc>
                          <a:spcPct val="100000"/>
                        </a:lnSpc>
                        <a:spcBef>
                          <a:spcPts val="0"/>
                        </a:spcBef>
                        <a:spcAft>
                          <a:spcPts val="0"/>
                        </a:spcAft>
                        <a:buNone/>
                      </a:pPr>
                      <a:r>
                        <a:rPr lang="en-US" sz="1050" u="none" strike="noStrike" cap="none">
                          <a:solidFill>
                            <a:schemeClr val="dk2"/>
                          </a:solidFill>
                          <a:latin typeface="Source Sans Pro"/>
                          <a:ea typeface="Source Sans Pro"/>
                          <a:cs typeface="Source Sans Pro"/>
                        </a:rPr>
                        <a:t>Product complete and launched in production</a:t>
                      </a:r>
                      <a:endParaRPr lang="en-US" sz="1050" u="none" strike="noStrike" cap="none">
                        <a:solidFill>
                          <a:schemeClr val="dk2"/>
                        </a:solidFill>
                        <a:latin typeface="Source Sans Pro"/>
                        <a:ea typeface="Source Sans Pro"/>
                        <a:cs typeface="Source Sans Pro"/>
                        <a:sym typeface="Source Sans Pro"/>
                      </a:endParaRPr>
                    </a:p>
                  </a:txBody>
                  <a:tcPr marL="0" marR="0" marT="91450" marB="0">
                    <a:lnL w="0">
                      <a:noFill/>
                    </a:lnL>
                    <a:lnR w="0">
                      <a:noFill/>
                    </a:lnR>
                    <a:lnT w="12700">
                      <a:solidFill>
                        <a:schemeClr val="tx1">
                          <a:lumMod val="25000"/>
                          <a:lumOff val="75000"/>
                        </a:schemeClr>
                      </a:solidFill>
                    </a:lnT>
                    <a:lnB w="12700">
                      <a:solidFill>
                        <a:schemeClr val="tx1">
                          <a:lumMod val="25000"/>
                          <a:lumOff val="75000"/>
                        </a:schemeClr>
                      </a:solidFill>
                    </a:lnB>
                    <a:lnTlToBr w="12700" cmpd="sng">
                      <a:noFill/>
                      <a:prstDash val="solid"/>
                    </a:lnTlToBr>
                    <a:lnBlToTr w="12700" cmpd="sng">
                      <a:noFill/>
                      <a:prstDash val="solid"/>
                    </a:lnBlToTr>
                  </a:tcPr>
                </a:tc>
                <a:extLst>
                  <a:ext uri="{0D108BD9-81ED-4DB2-BD59-A6C34878D82A}">
                    <a16:rowId xmlns:a16="http://schemas.microsoft.com/office/drawing/2014/main" val="2445647212"/>
                  </a:ext>
                </a:extLst>
              </a:tr>
              <a:tr h="648335">
                <a:tc>
                  <a:txBody>
                    <a:bodyPr/>
                    <a:lstStyle/>
                    <a:p>
                      <a:pPr marL="0" lvl="0" indent="0" algn="l">
                        <a:lnSpc>
                          <a:spcPct val="100000"/>
                        </a:lnSpc>
                        <a:spcBef>
                          <a:spcPts val="0"/>
                        </a:spcBef>
                        <a:spcAft>
                          <a:spcPts val="0"/>
                        </a:spcAft>
                        <a:buNone/>
                      </a:pPr>
                      <a:r>
                        <a:rPr lang="en-US" sz="1050" b="0" u="none" strike="noStrike" cap="none">
                          <a:solidFill>
                            <a:schemeClr val="dk2"/>
                          </a:solidFill>
                          <a:latin typeface="Source Sans Pro Semibold"/>
                          <a:ea typeface="Source Sans Pro"/>
                          <a:cs typeface="Source Sans Pro"/>
                          <a:sym typeface="Source Sans Pro"/>
                        </a:rPr>
                        <a:t>Communications to announce launch</a:t>
                      </a:r>
                      <a:endParaRPr sz="1050" b="0" u="none" strike="noStrike" cap="none">
                        <a:solidFill>
                          <a:schemeClr val="dk2"/>
                        </a:solidFill>
                        <a:latin typeface="Source Sans Pro Semibold"/>
                        <a:ea typeface="Source Sans Pro"/>
                        <a:cs typeface="Source Sans Pro"/>
                        <a:sym typeface="Source Sans Pro"/>
                      </a:endParaRPr>
                    </a:p>
                  </a:txBody>
                  <a:tcPr marL="0" marR="0" marT="91450" marB="91450">
                    <a:lnL w="12700" cap="flat" cmpd="sng" algn="ctr">
                      <a:noFill/>
                      <a:prstDash val="solid"/>
                      <a:round/>
                      <a:headEnd type="none" w="med" len="med"/>
                      <a:tailEnd type="none" w="med" len="med"/>
                    </a:lnL>
                    <a:lnR w="0" cap="flat" cmpd="sng" algn="ctr">
                      <a:noFill/>
                      <a:prstDash val="solid"/>
                      <a:round/>
                      <a:headEnd type="none" w="med" len="med"/>
                      <a:tailEnd type="none" w="med" len="med"/>
                    </a:lnR>
                    <a:lnT w="12700" cap="flat" cmpd="sng" algn="ctr">
                      <a:solidFill>
                        <a:schemeClr val="tx1">
                          <a:lumMod val="25000"/>
                          <a:lumOff val="75000"/>
                        </a:schemeClr>
                      </a:solidFill>
                      <a:prstDash val="solid"/>
                      <a:round/>
                      <a:headEnd type="none" w="med" len="med"/>
                      <a:tailEnd type="none" w="med" len="med"/>
                    </a:lnT>
                    <a:lnB w="12700" cap="flat" cmpd="sng" algn="ctr">
                      <a:solidFill>
                        <a:schemeClr val="tx1">
                          <a:lumMod val="25000"/>
                          <a:lumOff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gn="l">
                        <a:lnSpc>
                          <a:spcPct val="100000"/>
                        </a:lnSpc>
                        <a:spcBef>
                          <a:spcPts val="0"/>
                        </a:spcBef>
                        <a:spcAft>
                          <a:spcPts val="0"/>
                        </a:spcAft>
                        <a:buNone/>
                      </a:pPr>
                      <a:r>
                        <a:rPr lang="en-US" sz="1050" u="none" strike="noStrike" cap="none">
                          <a:solidFill>
                            <a:schemeClr val="dk2"/>
                          </a:solidFill>
                          <a:latin typeface="Source Sans Pro"/>
                          <a:ea typeface="Source Sans Pro"/>
                          <a:cs typeface="Source Sans Pro"/>
                          <a:sym typeface="Source Sans Pro"/>
                        </a:rPr>
                        <a:t>Product &amp; Design</a:t>
                      </a:r>
                      <a:endParaRPr sz="1050" u="none" strike="noStrike" cap="none">
                        <a:solidFill>
                          <a:schemeClr val="dk2"/>
                        </a:solidFill>
                        <a:latin typeface="Source Sans Pro"/>
                        <a:ea typeface="Source Sans Pro"/>
                        <a:cs typeface="Source Sans Pro"/>
                        <a:sym typeface="Source Sans Pro"/>
                      </a:endParaRPr>
                    </a:p>
                  </a:txBody>
                  <a:tcPr marL="0" marR="182875" marT="91450" marB="91450">
                    <a:lnL w="0" cap="flat" cmpd="sng" algn="ctr">
                      <a:noFill/>
                      <a:prstDash val="solid"/>
                      <a:round/>
                      <a:headEnd type="none" w="med" len="med"/>
                      <a:tailEnd type="none" w="med" len="med"/>
                    </a:lnL>
                    <a:lnR w="0" cap="flat" cmpd="sng" algn="ctr">
                      <a:noFill/>
                      <a:prstDash val="solid"/>
                      <a:round/>
                      <a:headEnd type="none" w="med" len="med"/>
                      <a:tailEnd type="none" w="med" len="med"/>
                    </a:lnR>
                    <a:lnT w="12700" cap="flat" cmpd="sng" algn="ctr">
                      <a:solidFill>
                        <a:schemeClr val="tx1">
                          <a:lumMod val="25000"/>
                          <a:lumOff val="75000"/>
                        </a:schemeClr>
                      </a:solidFill>
                      <a:prstDash val="solid"/>
                      <a:round/>
                      <a:headEnd type="none" w="med" len="med"/>
                      <a:tailEnd type="none" w="med" len="med"/>
                    </a:lnT>
                    <a:lnB w="12700" cap="flat" cmpd="sng" algn="ctr">
                      <a:solidFill>
                        <a:schemeClr val="tx1">
                          <a:lumMod val="25000"/>
                          <a:lumOff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lvl="0" indent="-171450" algn="l">
                        <a:lnSpc>
                          <a:spcPct val="100000"/>
                        </a:lnSpc>
                        <a:spcBef>
                          <a:spcPts val="0"/>
                        </a:spcBef>
                        <a:spcAft>
                          <a:spcPts val="0"/>
                        </a:spcAft>
                        <a:buFont typeface="Wingdings" panose="020B0604020202020204" pitchFamily="34" charset="0"/>
                        <a:buChar char="§"/>
                      </a:pPr>
                      <a:r>
                        <a:rPr lang="en-US" sz="1050" u="none" strike="noStrike" cap="none">
                          <a:solidFill>
                            <a:schemeClr val="dk2"/>
                          </a:solidFill>
                          <a:latin typeface="Source Sans Pro"/>
                          <a:ea typeface="Source Sans Pro"/>
                          <a:cs typeface="Source Sans Pro"/>
                          <a:sym typeface="Source Sans Pro"/>
                        </a:rPr>
                        <a:t>Work with Tarsha and HEC team to refine drafted communications and align on plan and timeline to announce 1095-B launch to Veterans</a:t>
                      </a:r>
                    </a:p>
                    <a:p>
                      <a:pPr marL="171450" lvl="0" indent="-171450" algn="l">
                        <a:lnSpc>
                          <a:spcPct val="100000"/>
                        </a:lnSpc>
                        <a:spcBef>
                          <a:spcPts val="0"/>
                        </a:spcBef>
                        <a:spcAft>
                          <a:spcPts val="0"/>
                        </a:spcAft>
                        <a:buFont typeface="Wingdings" panose="020B0604020202020204" pitchFamily="34" charset="0"/>
                        <a:buChar char="§"/>
                      </a:pPr>
                      <a:r>
                        <a:rPr lang="en-US" sz="1050" u="none" strike="noStrike" cap="none">
                          <a:solidFill>
                            <a:schemeClr val="dk2"/>
                          </a:solidFill>
                          <a:latin typeface="Source Sans Pro"/>
                          <a:ea typeface="Source Sans Pro"/>
                          <a:cs typeface="Source Sans Pro"/>
                          <a:sym typeface="Source Sans Pro"/>
                        </a:rPr>
                        <a:t>Work with VA Notify team to build and launch communications on their platform</a:t>
                      </a:r>
                      <a:endParaRPr sz="1050" u="none" strike="noStrike" cap="none">
                        <a:solidFill>
                          <a:schemeClr val="dk2"/>
                        </a:solidFill>
                        <a:latin typeface="Source Sans Pro"/>
                        <a:ea typeface="Source Sans Pro"/>
                        <a:cs typeface="Source Sans Pro"/>
                        <a:sym typeface="Source Sans Pro"/>
                      </a:endParaRPr>
                    </a:p>
                  </a:txBody>
                  <a:tcPr marL="0" marR="0" marT="91450" marB="91450">
                    <a:lnL w="0" cap="flat" cmpd="sng" algn="ctr">
                      <a:noFill/>
                      <a:prstDash val="solid"/>
                      <a:round/>
                      <a:headEnd type="none" w="med" len="med"/>
                      <a:tailEnd type="none" w="med" len="med"/>
                    </a:lnL>
                    <a:lnR w="0" cap="flat" cmpd="sng" algn="ctr">
                      <a:noFill/>
                      <a:prstDash val="solid"/>
                      <a:round/>
                      <a:headEnd type="none" w="med" len="med"/>
                      <a:tailEnd type="none" w="med" len="med"/>
                    </a:lnR>
                    <a:lnT w="12700" cap="flat" cmpd="sng" algn="ctr">
                      <a:solidFill>
                        <a:schemeClr val="tx1">
                          <a:lumMod val="25000"/>
                          <a:lumOff val="75000"/>
                        </a:schemeClr>
                      </a:solidFill>
                      <a:prstDash val="solid"/>
                      <a:round/>
                      <a:headEnd type="none" w="med" len="med"/>
                      <a:tailEnd type="none" w="med" len="med"/>
                    </a:lnT>
                    <a:lnB w="12700" cap="flat" cmpd="sng" algn="ctr">
                      <a:solidFill>
                        <a:schemeClr val="tx1">
                          <a:lumMod val="25000"/>
                          <a:lumOff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gn="l">
                        <a:lnSpc>
                          <a:spcPct val="100000"/>
                        </a:lnSpc>
                        <a:spcBef>
                          <a:spcPts val="0"/>
                        </a:spcBef>
                        <a:spcAft>
                          <a:spcPts val="0"/>
                        </a:spcAft>
                        <a:buNone/>
                      </a:pPr>
                      <a:r>
                        <a:rPr lang="en-US" sz="1050" u="none" strike="noStrike" cap="none">
                          <a:solidFill>
                            <a:schemeClr val="dk2"/>
                          </a:solidFill>
                          <a:latin typeface="Source Sans Pro"/>
                          <a:ea typeface="Source Sans Pro"/>
                          <a:cs typeface="Source Sans Pro"/>
                          <a:sym typeface="Source Sans Pro"/>
                        </a:rPr>
                        <a:t>October - December</a:t>
                      </a:r>
                      <a:endParaRPr sz="1050" u="none" strike="noStrike" cap="none">
                        <a:solidFill>
                          <a:schemeClr val="dk2"/>
                        </a:solidFill>
                        <a:latin typeface="Source Sans Pro"/>
                        <a:ea typeface="Source Sans Pro"/>
                        <a:cs typeface="Source Sans Pro"/>
                        <a:sym typeface="Source Sans Pro"/>
                      </a:endParaRPr>
                    </a:p>
                  </a:txBody>
                  <a:tcPr marL="0" marR="182875" marT="91450" marB="91450">
                    <a:lnL w="0" cap="flat" cmpd="sng" algn="ctr">
                      <a:noFill/>
                      <a:prstDash val="solid"/>
                      <a:round/>
                      <a:headEnd type="none" w="med" len="med"/>
                      <a:tailEnd type="none" w="med" len="med"/>
                    </a:lnL>
                    <a:lnR w="0" cap="flat" cmpd="sng" algn="ctr">
                      <a:noFill/>
                      <a:prstDash val="solid"/>
                      <a:round/>
                      <a:headEnd type="none" w="med" len="med"/>
                      <a:tailEnd type="none" w="med" len="med"/>
                    </a:lnR>
                    <a:lnT w="12700" cap="flat" cmpd="sng" algn="ctr">
                      <a:solidFill>
                        <a:schemeClr val="tx1">
                          <a:lumMod val="25000"/>
                          <a:lumOff val="75000"/>
                        </a:schemeClr>
                      </a:solidFill>
                      <a:prstDash val="solid"/>
                      <a:round/>
                      <a:headEnd type="none" w="med" len="med"/>
                      <a:tailEnd type="none" w="med" len="med"/>
                    </a:lnT>
                    <a:lnB w="12700" cap="flat" cmpd="sng" algn="ctr">
                      <a:solidFill>
                        <a:schemeClr val="tx1">
                          <a:lumMod val="25000"/>
                          <a:lumOff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1050" u="none" strike="noStrike" cap="none">
                          <a:solidFill>
                            <a:schemeClr val="dk2"/>
                          </a:solidFill>
                          <a:latin typeface="Source Sans Pro"/>
                          <a:ea typeface="Source Sans Pro"/>
                          <a:cs typeface="Source Sans Pro"/>
                          <a:sym typeface="Source Sans Pro"/>
                        </a:rPr>
                        <a:t>Product launched in prod; aligned on communication plan with Tarsha/Tracey</a:t>
                      </a:r>
                    </a:p>
                  </a:txBody>
                  <a:tcPr marL="0" marR="0" marT="91450" marB="91450">
                    <a:lnL w="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25000"/>
                          <a:lumOff val="75000"/>
                        </a:schemeClr>
                      </a:solidFill>
                      <a:prstDash val="solid"/>
                      <a:round/>
                      <a:headEnd type="none" w="med" len="med"/>
                      <a:tailEnd type="none" w="med" len="med"/>
                    </a:lnT>
                    <a:lnB w="12700" cap="flat" cmpd="sng" algn="ctr">
                      <a:solidFill>
                        <a:schemeClr val="tx1">
                          <a:lumMod val="25000"/>
                          <a:lumOff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606694833"/>
                  </a:ext>
                </a:extLst>
              </a:tr>
            </a:tbl>
          </a:graphicData>
        </a:graphic>
      </p:graphicFrame>
      <p:sp>
        <p:nvSpPr>
          <p:cNvPr id="6" name="Google Shape;695;p20">
            <a:extLst>
              <a:ext uri="{FF2B5EF4-FFF2-40B4-BE49-F238E27FC236}">
                <a16:creationId xmlns:a16="http://schemas.microsoft.com/office/drawing/2014/main" id="{7A9BD76F-FB1E-49C3-878D-3DEF96872E9C}"/>
              </a:ext>
            </a:extLst>
          </p:cNvPr>
          <p:cNvSpPr txBox="1"/>
          <p:nvPr/>
        </p:nvSpPr>
        <p:spPr>
          <a:xfrm>
            <a:off x="9641352" y="6408650"/>
            <a:ext cx="1999473" cy="276959"/>
          </a:xfrm>
          <a:prstGeom prst="rect">
            <a:avLst/>
          </a:prstGeom>
          <a:noFill/>
          <a:ln>
            <a:noFill/>
          </a:ln>
        </p:spPr>
        <p:txBody>
          <a:bodyPr spcFirstLastPara="1" wrap="square" lIns="91425" tIns="45700" rIns="91425" bIns="45700" anchor="t" anchorCtr="0">
            <a:spAutoFit/>
          </a:bodyPr>
          <a:lstStyle/>
          <a:p>
            <a:pPr algn="r"/>
            <a:r>
              <a:rPr lang="en-US" sz="1200">
                <a:solidFill>
                  <a:srgbClr val="747C74"/>
                </a:solidFill>
                <a:latin typeface="Source Sans Pro"/>
                <a:ea typeface="Source Sans Pro"/>
                <a:sym typeface="Source Sans Pro"/>
              </a:rPr>
              <a:t>1095-B Remaining actions</a:t>
            </a:r>
            <a:endParaRPr lang="en-US"/>
          </a:p>
        </p:txBody>
      </p:sp>
      <p:sp>
        <p:nvSpPr>
          <p:cNvPr id="7" name="Google Shape;471;p9">
            <a:extLst>
              <a:ext uri="{FF2B5EF4-FFF2-40B4-BE49-F238E27FC236}">
                <a16:creationId xmlns:a16="http://schemas.microsoft.com/office/drawing/2014/main" id="{EA31C852-83D3-4FF2-B517-4CB677394908}"/>
              </a:ext>
            </a:extLst>
          </p:cNvPr>
          <p:cNvSpPr txBox="1"/>
          <p:nvPr/>
        </p:nvSpPr>
        <p:spPr>
          <a:xfrm>
            <a:off x="419100" y="6408650"/>
            <a:ext cx="2723465" cy="276999"/>
          </a:xfrm>
          <a:prstGeom prst="rect">
            <a:avLst/>
          </a:prstGeom>
          <a:noFill/>
          <a:ln>
            <a:noFill/>
          </a:ln>
        </p:spPr>
        <p:txBody>
          <a:bodyPr spcFirstLastPara="1" wrap="square" lIns="0" tIns="45700" rIns="91425" bIns="45700" anchor="t" anchorCtr="0">
            <a:spAutoFit/>
          </a:bodyPr>
          <a:lstStyle/>
          <a:p>
            <a:r>
              <a:rPr lang="en-US" sz="1200">
                <a:solidFill>
                  <a:srgbClr val="747C74"/>
                </a:solidFill>
                <a:latin typeface="Source Sans Pro"/>
                <a:ea typeface="Source Sans Pro"/>
                <a:cs typeface="Source Sans Pro"/>
                <a:sym typeface="Source Sans Pro"/>
              </a:rPr>
              <a:t>04-05</a:t>
            </a:r>
            <a:r>
              <a:rPr lang="en-US" sz="1200" b="0" i="0" u="none" strike="noStrike" cap="none">
                <a:solidFill>
                  <a:srgbClr val="747C74"/>
                </a:solidFill>
                <a:latin typeface="Source Sans Pro"/>
                <a:ea typeface="Source Sans Pro"/>
                <a:cs typeface="Source Sans Pro"/>
                <a:sym typeface="Source Sans Pro"/>
              </a:rPr>
              <a:t> Sprint </a:t>
            </a:r>
            <a:r>
              <a:rPr lang="en-US" sz="1200">
                <a:solidFill>
                  <a:srgbClr val="747C74"/>
                </a:solidFill>
                <a:latin typeface="Source Sans Pro"/>
                <a:ea typeface="Source Sans Pro"/>
                <a:cs typeface="Source Sans Pro"/>
                <a:sym typeface="Source Sans Pro"/>
              </a:rPr>
              <a:t>6 </a:t>
            </a:r>
            <a:r>
              <a:rPr lang="en-US" sz="1200" b="0" i="0" u="none" strike="noStrike" cap="none">
                <a:solidFill>
                  <a:srgbClr val="747C74"/>
                </a:solidFill>
                <a:latin typeface="Source Sans Pro"/>
                <a:ea typeface="Source Sans Pro"/>
                <a:cs typeface="Source Sans Pro"/>
                <a:sym typeface="Source Sans Pro"/>
              </a:rPr>
              <a:t>Demo</a:t>
            </a:r>
            <a:endParaRPr sz="1200" b="0" i="0" u="none" strike="noStrike" cap="none">
              <a:solidFill>
                <a:srgbClr val="747C74"/>
              </a:solidFill>
              <a:latin typeface="Calibri"/>
              <a:ea typeface="Calibri"/>
              <a:cs typeface="Calibri"/>
              <a:sym typeface="Calibri"/>
            </a:endParaRPr>
          </a:p>
        </p:txBody>
      </p:sp>
    </p:spTree>
    <p:extLst>
      <p:ext uri="{BB962C8B-B14F-4D97-AF65-F5344CB8AC3E}">
        <p14:creationId xmlns:p14="http://schemas.microsoft.com/office/powerpoint/2010/main" val="75458769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Shape 459"/>
        <p:cNvGrpSpPr/>
        <p:nvPr/>
      </p:nvGrpSpPr>
      <p:grpSpPr>
        <a:xfrm>
          <a:off x="0" y="0"/>
          <a:ext cx="0" cy="0"/>
          <a:chOff x="0" y="0"/>
          <a:chExt cx="0" cy="0"/>
        </a:xfrm>
      </p:grpSpPr>
      <p:sp>
        <p:nvSpPr>
          <p:cNvPr id="460" name="Google Shape;460;p8"/>
          <p:cNvSpPr txBox="1">
            <a:spLocks noGrp="1"/>
          </p:cNvSpPr>
          <p:nvPr>
            <p:ph type="ctrTitle"/>
          </p:nvPr>
        </p:nvSpPr>
        <p:spPr>
          <a:xfrm>
            <a:off x="248880" y="2938176"/>
            <a:ext cx="7261656" cy="1632577"/>
          </a:xfrm>
          <a:prstGeom prst="rect">
            <a:avLst/>
          </a:prstGeom>
          <a:noFill/>
          <a:ln>
            <a:noFill/>
          </a:ln>
        </p:spPr>
        <p:txBody>
          <a:bodyPr spcFirstLastPara="1" wrap="square" lIns="91425" tIns="45700" rIns="91425" bIns="45700" anchor="t" anchorCtr="0">
            <a:noAutofit/>
          </a:bodyPr>
          <a:lstStyle/>
          <a:p>
            <a:r>
              <a:rPr lang="en-US"/>
              <a:t>Community Care</a:t>
            </a:r>
          </a:p>
        </p:txBody>
      </p:sp>
      <p:sp>
        <p:nvSpPr>
          <p:cNvPr id="461" name="Google Shape;461;p8"/>
          <p:cNvSpPr txBox="1">
            <a:spLocks noGrp="1"/>
          </p:cNvSpPr>
          <p:nvPr>
            <p:ph type="body" idx="1"/>
          </p:nvPr>
        </p:nvSpPr>
        <p:spPr>
          <a:xfrm>
            <a:off x="341868" y="2523777"/>
            <a:ext cx="4246607" cy="366651"/>
          </a:xfrm>
          <a:prstGeom prst="rect">
            <a:avLst/>
          </a:prstGeom>
          <a:noFill/>
          <a:ln>
            <a:noFill/>
          </a:ln>
        </p:spPr>
        <p:txBody>
          <a:bodyPr spcFirstLastPara="1" wrap="square" lIns="91425" tIns="45700" rIns="91425" bIns="45700" anchor="t" anchorCtr="0">
            <a:normAutofit/>
          </a:bodyPr>
          <a:lstStyle/>
          <a:p>
            <a:pPr marL="0" lvl="0" indent="0" algn="l" rtl="0">
              <a:lnSpc>
                <a:spcPct val="90000"/>
              </a:lnSpc>
              <a:spcBef>
                <a:spcPts val="0"/>
              </a:spcBef>
              <a:spcAft>
                <a:spcPts val="0"/>
              </a:spcAft>
              <a:buClr>
                <a:schemeClr val="lt1"/>
              </a:buClr>
              <a:buSzPts val="1600"/>
              <a:buNone/>
            </a:pPr>
            <a:r>
              <a:rPr lang="en-US"/>
              <a:t>SPRINT 6 DEMO</a:t>
            </a:r>
            <a:endParaRPr/>
          </a:p>
        </p:txBody>
      </p:sp>
      <p:sp>
        <p:nvSpPr>
          <p:cNvPr id="462" name="Google Shape;462;p8"/>
          <p:cNvSpPr txBox="1">
            <a:spLocks noGrp="1"/>
          </p:cNvSpPr>
          <p:nvPr>
            <p:ph type="sldNum" idx="12"/>
          </p:nvPr>
        </p:nvSpPr>
        <p:spPr>
          <a:xfrm>
            <a:off x="11474969" y="6356350"/>
            <a:ext cx="406052" cy="365125"/>
          </a:xfrm>
          <a:prstGeom prst="rect">
            <a:avLst/>
          </a:prstGeom>
          <a:noFill/>
          <a:ln>
            <a:noFill/>
          </a:ln>
        </p:spPr>
        <p:txBody>
          <a:bodyPr spcFirstLastPara="1" wrap="square" lIns="91425" tIns="45700" rIns="91425" bIns="45700" anchor="ctr" anchorCtr="0">
            <a:noAutofit/>
          </a:bodyPr>
          <a:lstStyle/>
          <a:p>
            <a:pPr marL="0" lvl="0" indent="0" algn="r" rtl="0">
              <a:spcBef>
                <a:spcPts val="0"/>
              </a:spcBef>
              <a:spcAft>
                <a:spcPts val="0"/>
              </a:spcAft>
              <a:buNone/>
            </a:pPr>
            <a:fld id="{00000000-1234-1234-1234-123412341234}" type="slidenum">
              <a:rPr lang="en-US"/>
              <a:t>16</a:t>
            </a:fld>
            <a:endParaRPr/>
          </a:p>
        </p:txBody>
      </p:sp>
      <p:sp>
        <p:nvSpPr>
          <p:cNvPr id="2" name="Google Shape;265;p4">
            <a:extLst>
              <a:ext uri="{FF2B5EF4-FFF2-40B4-BE49-F238E27FC236}">
                <a16:creationId xmlns:a16="http://schemas.microsoft.com/office/drawing/2014/main" id="{820A4734-2A64-812C-44F5-9C35D9905FB2}"/>
              </a:ext>
            </a:extLst>
          </p:cNvPr>
          <p:cNvSpPr txBox="1"/>
          <p:nvPr/>
        </p:nvSpPr>
        <p:spPr>
          <a:xfrm>
            <a:off x="419100" y="6408650"/>
            <a:ext cx="2723465" cy="276999"/>
          </a:xfrm>
          <a:prstGeom prst="rect">
            <a:avLst/>
          </a:prstGeom>
          <a:noFill/>
          <a:ln>
            <a:noFill/>
          </a:ln>
        </p:spPr>
        <p:txBody>
          <a:bodyPr spcFirstLastPara="1" wrap="square" lIns="0" tIns="45700" rIns="91425" bIns="45700" anchor="t" anchorCtr="0">
            <a:spAutoFit/>
          </a:bodyPr>
          <a:lstStyle/>
          <a:p>
            <a:pPr marL="0" marR="0" lvl="0" indent="0" algn="l" rtl="0">
              <a:spcBef>
                <a:spcPts val="0"/>
              </a:spcBef>
              <a:spcAft>
                <a:spcPts val="0"/>
              </a:spcAft>
              <a:buNone/>
            </a:pPr>
            <a:r>
              <a:rPr lang="en-US" sz="1200" b="0" i="0" u="none" strike="noStrike" cap="none">
                <a:solidFill>
                  <a:srgbClr val="747C74"/>
                </a:solidFill>
                <a:latin typeface="Source Sans Pro"/>
                <a:ea typeface="Source Sans Pro"/>
                <a:cs typeface="Source Sans Pro"/>
                <a:sym typeface="Source Sans Pro"/>
              </a:rPr>
              <a:t>04-19 Sprint 6 Demo</a:t>
            </a:r>
            <a:endParaRPr sz="1800" b="0" i="0" u="none" strike="noStrike" cap="none">
              <a:solidFill>
                <a:srgbClr val="747C74"/>
              </a:solidFill>
              <a:latin typeface="Calibri"/>
              <a:ea typeface="Calibri"/>
              <a:cs typeface="Calibri"/>
              <a:sym typeface="Calibri"/>
            </a:endParaRPr>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64" name="Google Shape;343;p7">
            <a:extLst>
              <a:ext uri="{FF2B5EF4-FFF2-40B4-BE49-F238E27FC236}">
                <a16:creationId xmlns:a16="http://schemas.microsoft.com/office/drawing/2014/main" id="{1DCCC338-F425-4F47-B3C6-38C57252A6E8}"/>
              </a:ext>
            </a:extLst>
          </p:cNvPr>
          <p:cNvSpPr/>
          <p:nvPr/>
        </p:nvSpPr>
        <p:spPr>
          <a:xfrm>
            <a:off x="6346852" y="2086863"/>
            <a:ext cx="5073905" cy="4163818"/>
          </a:xfrm>
          <a:prstGeom prst="rect">
            <a:avLst/>
          </a:prstGeom>
          <a:solidFill>
            <a:srgbClr val="D3E9FF">
              <a:alpha val="40000"/>
            </a:srgbClr>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900"/>
              <a:buFont typeface="Calibri"/>
              <a:buNone/>
            </a:pPr>
            <a:endParaRPr sz="900" b="0" i="0" u="none" strike="noStrike" cap="none">
              <a:solidFill>
                <a:srgbClr val="FDFFFD"/>
              </a:solidFill>
              <a:latin typeface="PT Serif"/>
              <a:ea typeface="PT Serif"/>
              <a:cs typeface="PT Serif"/>
              <a:sym typeface="PT Serif"/>
            </a:endParaRPr>
          </a:p>
        </p:txBody>
      </p:sp>
      <p:sp>
        <p:nvSpPr>
          <p:cNvPr id="28" name="Google Shape;370;p7">
            <a:extLst>
              <a:ext uri="{FF2B5EF4-FFF2-40B4-BE49-F238E27FC236}">
                <a16:creationId xmlns:a16="http://schemas.microsoft.com/office/drawing/2014/main" id="{6BCD0965-B080-4C07-162C-B1793916C7AE}"/>
              </a:ext>
            </a:extLst>
          </p:cNvPr>
          <p:cNvSpPr txBox="1"/>
          <p:nvPr/>
        </p:nvSpPr>
        <p:spPr>
          <a:xfrm>
            <a:off x="1437463" y="1880632"/>
            <a:ext cx="845348" cy="138499"/>
          </a:xfrm>
          <a:prstGeom prst="rect">
            <a:avLst/>
          </a:prstGeom>
          <a:noFill/>
          <a:ln>
            <a:noFill/>
          </a:ln>
        </p:spPr>
        <p:txBody>
          <a:bodyPr spcFirstLastPara="1" wrap="square" lIns="0" tIns="0" rIns="0" bIns="0" anchor="b"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1" i="0" u="none" strike="noStrike" cap="none">
                <a:solidFill>
                  <a:srgbClr val="202120"/>
                </a:solidFill>
                <a:latin typeface="Source Sans Pro Semibold"/>
                <a:ea typeface="Source Sans Pro Semibold"/>
                <a:cs typeface="Source Sans Pro Semibold"/>
                <a:sym typeface="Source Sans Pro SemiBold"/>
              </a:rPr>
              <a:t>SPRINT </a:t>
            </a:r>
            <a:r>
              <a:rPr lang="en-US" sz="900" b="1">
                <a:solidFill>
                  <a:srgbClr val="202120"/>
                </a:solidFill>
                <a:latin typeface="Source Sans Pro Semibold"/>
                <a:ea typeface="Source Sans Pro Semibold"/>
                <a:cs typeface="Source Sans Pro Semibold"/>
                <a:sym typeface="Source Sans Pro SemiBold"/>
              </a:rPr>
              <a:t>6</a:t>
            </a:r>
            <a:endParaRPr/>
          </a:p>
        </p:txBody>
      </p:sp>
      <p:sp>
        <p:nvSpPr>
          <p:cNvPr id="34" name="Google Shape;376;p7">
            <a:extLst>
              <a:ext uri="{FF2B5EF4-FFF2-40B4-BE49-F238E27FC236}">
                <a16:creationId xmlns:a16="http://schemas.microsoft.com/office/drawing/2014/main" id="{4DF9B8DF-A76D-75E1-F47E-E16EA41AAFC1}"/>
              </a:ext>
            </a:extLst>
          </p:cNvPr>
          <p:cNvSpPr/>
          <p:nvPr/>
        </p:nvSpPr>
        <p:spPr>
          <a:xfrm>
            <a:off x="352223" y="2563092"/>
            <a:ext cx="813826" cy="276999"/>
          </a:xfrm>
          <a:prstGeom prst="rect">
            <a:avLst/>
          </a:prstGeom>
          <a:solidFill>
            <a:schemeClr val="lt1"/>
          </a:solid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1" i="0" u="none" strike="noStrike" cap="none">
                <a:solidFill>
                  <a:schemeClr val="dk2"/>
                </a:solidFill>
                <a:latin typeface="Source Sans Pro Semibold"/>
                <a:ea typeface="Source Sans Pro Semibold"/>
                <a:cs typeface="Source Sans Pro Semibold"/>
                <a:sym typeface="Source Sans Pro SemiBold"/>
              </a:rPr>
              <a:t>Product &amp; Delivery</a:t>
            </a:r>
            <a:endParaRPr sz="900" b="1" i="0" u="none" strike="noStrike" cap="none">
              <a:solidFill>
                <a:schemeClr val="dk2"/>
              </a:solidFill>
              <a:latin typeface="Source Sans Pro Semibold"/>
              <a:ea typeface="Source Sans Pro Semibold"/>
              <a:cs typeface="Source Sans Pro Semibold"/>
              <a:sym typeface="Source Sans Pro SemiBold"/>
            </a:endParaRPr>
          </a:p>
        </p:txBody>
      </p:sp>
      <p:sp>
        <p:nvSpPr>
          <p:cNvPr id="36" name="Google Shape;377;p7">
            <a:extLst>
              <a:ext uri="{FF2B5EF4-FFF2-40B4-BE49-F238E27FC236}">
                <a16:creationId xmlns:a16="http://schemas.microsoft.com/office/drawing/2014/main" id="{B54A5F69-1C30-7571-6B17-59787A961DAF}"/>
              </a:ext>
            </a:extLst>
          </p:cNvPr>
          <p:cNvSpPr/>
          <p:nvPr/>
        </p:nvSpPr>
        <p:spPr>
          <a:xfrm>
            <a:off x="340765" y="5407997"/>
            <a:ext cx="813826" cy="276999"/>
          </a:xfrm>
          <a:prstGeom prst="rect">
            <a:avLst/>
          </a:prstGeom>
          <a:solidFill>
            <a:schemeClr val="lt1"/>
          </a:solid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1" i="0" u="none" strike="noStrike" cap="none">
                <a:solidFill>
                  <a:schemeClr val="dk2"/>
                </a:solidFill>
                <a:latin typeface="Source Sans Pro Semibold"/>
                <a:ea typeface="Source Sans Pro Semibold"/>
                <a:cs typeface="Source Sans Pro Semibold"/>
                <a:sym typeface="Source Sans Pro SemiBold"/>
              </a:rPr>
              <a:t>Engineering &amp; Development</a:t>
            </a:r>
            <a:endParaRPr sz="900" b="1" i="0" u="none" strike="noStrike" cap="none">
              <a:solidFill>
                <a:schemeClr val="dk2"/>
              </a:solidFill>
              <a:latin typeface="Source Sans Pro Semibold"/>
              <a:ea typeface="Source Sans Pro Semibold"/>
              <a:cs typeface="Source Sans Pro Semibold"/>
              <a:sym typeface="Source Sans Pro SemiBold"/>
            </a:endParaRPr>
          </a:p>
        </p:txBody>
      </p:sp>
      <p:sp>
        <p:nvSpPr>
          <p:cNvPr id="46" name="Google Shape;384;p7">
            <a:extLst>
              <a:ext uri="{FF2B5EF4-FFF2-40B4-BE49-F238E27FC236}">
                <a16:creationId xmlns:a16="http://schemas.microsoft.com/office/drawing/2014/main" id="{1E1C1585-D404-40C5-7DD6-1A36C13365DD}"/>
              </a:ext>
            </a:extLst>
          </p:cNvPr>
          <p:cNvSpPr/>
          <p:nvPr/>
        </p:nvSpPr>
        <p:spPr>
          <a:xfrm>
            <a:off x="352223" y="4182640"/>
            <a:ext cx="813826" cy="276999"/>
          </a:xfrm>
          <a:prstGeom prst="rect">
            <a:avLst/>
          </a:prstGeom>
          <a:solidFill>
            <a:schemeClr val="lt1"/>
          </a:solid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1" i="0" u="none" strike="noStrike" cap="none">
                <a:solidFill>
                  <a:schemeClr val="dk2"/>
                </a:solidFill>
                <a:latin typeface="Source Sans Pro Semibold"/>
                <a:ea typeface="Source Sans Pro Semibold"/>
                <a:cs typeface="Source Sans Pro Semibold"/>
                <a:sym typeface="Source Sans Pro SemiBold"/>
              </a:rPr>
              <a:t>User Experience &amp; Design</a:t>
            </a:r>
            <a:endParaRPr sz="900" b="1" i="0" u="none" strike="noStrike" cap="none">
              <a:solidFill>
                <a:schemeClr val="dk2"/>
              </a:solidFill>
              <a:latin typeface="Source Sans Pro Semibold"/>
              <a:ea typeface="Source Sans Pro Semibold"/>
              <a:cs typeface="Source Sans Pro Semibold"/>
              <a:sym typeface="Source Sans Pro SemiBold"/>
            </a:endParaRPr>
          </a:p>
        </p:txBody>
      </p:sp>
      <p:pic>
        <p:nvPicPr>
          <p:cNvPr id="48" name="Google Shape;385;p7">
            <a:extLst>
              <a:ext uri="{FF2B5EF4-FFF2-40B4-BE49-F238E27FC236}">
                <a16:creationId xmlns:a16="http://schemas.microsoft.com/office/drawing/2014/main" id="{247921FD-8C4D-E554-1B1D-CACD41AF4EB2}"/>
              </a:ext>
            </a:extLst>
          </p:cNvPr>
          <p:cNvPicPr preferRelativeResize="0"/>
          <p:nvPr/>
        </p:nvPicPr>
        <p:blipFill rotWithShape="1">
          <a:blip r:embed="rId2">
            <a:alphaModFix/>
          </a:blip>
          <a:srcRect/>
          <a:stretch/>
        </p:blipFill>
        <p:spPr>
          <a:xfrm>
            <a:off x="432433" y="4657100"/>
            <a:ext cx="265176" cy="265176"/>
          </a:xfrm>
          <a:prstGeom prst="rect">
            <a:avLst/>
          </a:prstGeom>
          <a:noFill/>
          <a:ln>
            <a:noFill/>
          </a:ln>
        </p:spPr>
      </p:pic>
      <p:pic>
        <p:nvPicPr>
          <p:cNvPr id="50" name="Google Shape;386;p7">
            <a:extLst>
              <a:ext uri="{FF2B5EF4-FFF2-40B4-BE49-F238E27FC236}">
                <a16:creationId xmlns:a16="http://schemas.microsoft.com/office/drawing/2014/main" id="{085AC538-8759-5885-5CFF-B2873A0A6DEE}"/>
              </a:ext>
            </a:extLst>
          </p:cNvPr>
          <p:cNvPicPr preferRelativeResize="0"/>
          <p:nvPr/>
        </p:nvPicPr>
        <p:blipFill rotWithShape="1">
          <a:blip r:embed="rId3">
            <a:alphaModFix/>
          </a:blip>
          <a:srcRect/>
          <a:stretch/>
        </p:blipFill>
        <p:spPr>
          <a:xfrm>
            <a:off x="432433" y="2914972"/>
            <a:ext cx="265176" cy="265176"/>
          </a:xfrm>
          <a:prstGeom prst="rect">
            <a:avLst/>
          </a:prstGeom>
          <a:noFill/>
          <a:ln>
            <a:noFill/>
          </a:ln>
        </p:spPr>
      </p:pic>
      <p:cxnSp>
        <p:nvCxnSpPr>
          <p:cNvPr id="52" name="Google Shape;389;p7">
            <a:extLst>
              <a:ext uri="{FF2B5EF4-FFF2-40B4-BE49-F238E27FC236}">
                <a16:creationId xmlns:a16="http://schemas.microsoft.com/office/drawing/2014/main" id="{4B6288B0-2F92-BABF-949C-D41DF2E2967F}"/>
              </a:ext>
            </a:extLst>
          </p:cNvPr>
          <p:cNvCxnSpPr/>
          <p:nvPr/>
        </p:nvCxnSpPr>
        <p:spPr>
          <a:xfrm>
            <a:off x="11429412" y="2043269"/>
            <a:ext cx="0" cy="4133289"/>
          </a:xfrm>
          <a:prstGeom prst="straightConnector1">
            <a:avLst/>
          </a:prstGeom>
          <a:noFill/>
          <a:ln w="9525" cap="flat" cmpd="sng">
            <a:solidFill>
              <a:srgbClr val="7F7F7F"/>
            </a:solidFill>
            <a:prstDash val="solid"/>
            <a:round/>
            <a:headEnd type="none" w="sm" len="sm"/>
            <a:tailEnd type="none" w="sm" len="sm"/>
          </a:ln>
        </p:spPr>
      </p:cxnSp>
      <p:cxnSp>
        <p:nvCxnSpPr>
          <p:cNvPr id="54" name="Google Shape;390;p7">
            <a:extLst>
              <a:ext uri="{FF2B5EF4-FFF2-40B4-BE49-F238E27FC236}">
                <a16:creationId xmlns:a16="http://schemas.microsoft.com/office/drawing/2014/main" id="{44C4834B-3B18-7CC0-FDEA-E47378DAF764}"/>
              </a:ext>
            </a:extLst>
          </p:cNvPr>
          <p:cNvCxnSpPr/>
          <p:nvPr/>
        </p:nvCxnSpPr>
        <p:spPr>
          <a:xfrm>
            <a:off x="260364" y="2034510"/>
            <a:ext cx="0" cy="4345725"/>
          </a:xfrm>
          <a:prstGeom prst="straightConnector1">
            <a:avLst/>
          </a:prstGeom>
          <a:noFill/>
          <a:ln w="9525" cap="flat" cmpd="sng">
            <a:solidFill>
              <a:srgbClr val="C7C7C7"/>
            </a:solidFill>
            <a:prstDash val="dot"/>
            <a:round/>
            <a:headEnd type="none" w="sm" len="sm"/>
            <a:tailEnd type="none" w="sm" len="sm"/>
          </a:ln>
        </p:spPr>
      </p:cxnSp>
      <p:cxnSp>
        <p:nvCxnSpPr>
          <p:cNvPr id="56" name="Google Shape;391;p7">
            <a:extLst>
              <a:ext uri="{FF2B5EF4-FFF2-40B4-BE49-F238E27FC236}">
                <a16:creationId xmlns:a16="http://schemas.microsoft.com/office/drawing/2014/main" id="{62555E59-04A5-FFF1-EE9E-8961465F1E1D}"/>
              </a:ext>
            </a:extLst>
          </p:cNvPr>
          <p:cNvCxnSpPr/>
          <p:nvPr/>
        </p:nvCxnSpPr>
        <p:spPr>
          <a:xfrm>
            <a:off x="1323782" y="2043269"/>
            <a:ext cx="0" cy="4128671"/>
          </a:xfrm>
          <a:prstGeom prst="straightConnector1">
            <a:avLst/>
          </a:prstGeom>
          <a:noFill/>
          <a:ln w="9525" cap="flat" cmpd="sng">
            <a:solidFill>
              <a:srgbClr val="7F7F7F"/>
            </a:solidFill>
            <a:prstDash val="solid"/>
            <a:round/>
            <a:headEnd type="none" w="sm" len="sm"/>
            <a:tailEnd type="none" w="sm" len="sm"/>
          </a:ln>
        </p:spPr>
      </p:cxnSp>
      <p:cxnSp>
        <p:nvCxnSpPr>
          <p:cNvPr id="58" name="Google Shape;392;p7">
            <a:extLst>
              <a:ext uri="{FF2B5EF4-FFF2-40B4-BE49-F238E27FC236}">
                <a16:creationId xmlns:a16="http://schemas.microsoft.com/office/drawing/2014/main" id="{535ECF66-8691-DE21-C4CE-662C1B8607F9}"/>
              </a:ext>
            </a:extLst>
          </p:cNvPr>
          <p:cNvCxnSpPr/>
          <p:nvPr/>
        </p:nvCxnSpPr>
        <p:spPr>
          <a:xfrm>
            <a:off x="3709751" y="2113338"/>
            <a:ext cx="0" cy="4345725"/>
          </a:xfrm>
          <a:prstGeom prst="straightConnector1">
            <a:avLst/>
          </a:prstGeom>
          <a:noFill/>
          <a:ln w="9525" cap="flat" cmpd="sng">
            <a:solidFill>
              <a:srgbClr val="C7C7C7"/>
            </a:solidFill>
            <a:prstDash val="dot"/>
            <a:round/>
            <a:headEnd type="none" w="sm" len="sm"/>
            <a:tailEnd type="none" w="sm" len="sm"/>
          </a:ln>
        </p:spPr>
      </p:cxnSp>
      <p:cxnSp>
        <p:nvCxnSpPr>
          <p:cNvPr id="60" name="Google Shape;393;p7">
            <a:extLst>
              <a:ext uri="{FF2B5EF4-FFF2-40B4-BE49-F238E27FC236}">
                <a16:creationId xmlns:a16="http://schemas.microsoft.com/office/drawing/2014/main" id="{02BE5020-33F7-66E4-4A1C-71874FD6410E}"/>
              </a:ext>
            </a:extLst>
          </p:cNvPr>
          <p:cNvCxnSpPr>
            <a:cxnSpLocks/>
          </p:cNvCxnSpPr>
          <p:nvPr/>
        </p:nvCxnSpPr>
        <p:spPr>
          <a:xfrm>
            <a:off x="6354700" y="2069544"/>
            <a:ext cx="0" cy="4109013"/>
          </a:xfrm>
          <a:prstGeom prst="straightConnector1">
            <a:avLst/>
          </a:prstGeom>
          <a:noFill/>
          <a:ln w="9525" cap="flat" cmpd="sng">
            <a:solidFill>
              <a:srgbClr val="7F7F7F"/>
            </a:solidFill>
            <a:prstDash val="solid"/>
            <a:round/>
            <a:headEnd type="none" w="sm" len="sm"/>
            <a:tailEnd type="none" w="sm" len="sm"/>
          </a:ln>
        </p:spPr>
      </p:cxnSp>
      <p:cxnSp>
        <p:nvCxnSpPr>
          <p:cNvPr id="62" name="Google Shape;394;p7">
            <a:extLst>
              <a:ext uri="{FF2B5EF4-FFF2-40B4-BE49-F238E27FC236}">
                <a16:creationId xmlns:a16="http://schemas.microsoft.com/office/drawing/2014/main" id="{63E5A2FA-D102-2F1F-0789-DF98497CD653}"/>
              </a:ext>
            </a:extLst>
          </p:cNvPr>
          <p:cNvCxnSpPr/>
          <p:nvPr/>
        </p:nvCxnSpPr>
        <p:spPr>
          <a:xfrm>
            <a:off x="8893343" y="2069544"/>
            <a:ext cx="0" cy="4345725"/>
          </a:xfrm>
          <a:prstGeom prst="straightConnector1">
            <a:avLst/>
          </a:prstGeom>
          <a:noFill/>
          <a:ln w="9525" cap="flat" cmpd="sng">
            <a:solidFill>
              <a:srgbClr val="C7C7C7"/>
            </a:solidFill>
            <a:prstDash val="dot"/>
            <a:round/>
            <a:headEnd type="none" w="sm" len="sm"/>
            <a:tailEnd type="none" w="sm" len="sm"/>
          </a:ln>
        </p:spPr>
      </p:cxnSp>
      <p:cxnSp>
        <p:nvCxnSpPr>
          <p:cNvPr id="70" name="Google Shape;398;p7">
            <a:extLst>
              <a:ext uri="{FF2B5EF4-FFF2-40B4-BE49-F238E27FC236}">
                <a16:creationId xmlns:a16="http://schemas.microsoft.com/office/drawing/2014/main" id="{36AB945C-B067-EFEB-F8C0-06799B81FEEF}"/>
              </a:ext>
            </a:extLst>
          </p:cNvPr>
          <p:cNvCxnSpPr>
            <a:cxnSpLocks/>
          </p:cNvCxnSpPr>
          <p:nvPr/>
        </p:nvCxnSpPr>
        <p:spPr>
          <a:xfrm>
            <a:off x="331440" y="5241066"/>
            <a:ext cx="11080575" cy="0"/>
          </a:xfrm>
          <a:prstGeom prst="straightConnector1">
            <a:avLst/>
          </a:prstGeom>
          <a:noFill/>
          <a:ln w="9525" cap="flat" cmpd="sng">
            <a:solidFill>
              <a:srgbClr val="747C74"/>
            </a:solidFill>
            <a:prstDash val="solid"/>
            <a:round/>
            <a:headEnd type="none" w="sm" len="sm"/>
            <a:tailEnd type="none" w="sm" len="sm"/>
          </a:ln>
        </p:spPr>
      </p:cxnSp>
      <p:sp>
        <p:nvSpPr>
          <p:cNvPr id="72" name="Google Shape;399;p7">
            <a:extLst>
              <a:ext uri="{FF2B5EF4-FFF2-40B4-BE49-F238E27FC236}">
                <a16:creationId xmlns:a16="http://schemas.microsoft.com/office/drawing/2014/main" id="{2076A5C8-D785-DF79-4D6A-C1A4C3D4A83F}"/>
              </a:ext>
            </a:extLst>
          </p:cNvPr>
          <p:cNvSpPr/>
          <p:nvPr/>
        </p:nvSpPr>
        <p:spPr>
          <a:xfrm>
            <a:off x="1327717" y="2518964"/>
            <a:ext cx="4994464" cy="313597"/>
          </a:xfrm>
          <a:prstGeom prst="rect">
            <a:avLst/>
          </a:prstGeom>
          <a:solidFill>
            <a:schemeClr val="accent1"/>
          </a:solidFill>
          <a:ln w="9525" cap="flat" cmpd="sng">
            <a:solidFill>
              <a:schemeClr val="lt1"/>
            </a:solidFill>
            <a:prstDash val="solid"/>
            <a:round/>
            <a:headEnd type="none" w="sm" len="sm"/>
            <a:tailEnd type="none" w="sm" len="sm"/>
          </a:ln>
        </p:spPr>
        <p:txBody>
          <a:bodyPr spcFirstLastPara="1" wrap="square" lIns="91425" tIns="60925" rIns="60950" bIns="60925" anchor="ctr" anchorCtr="0">
            <a:noAutofit/>
          </a:bodyPr>
          <a:lstStyle/>
          <a:p>
            <a:pPr>
              <a:buSzPts val="900"/>
            </a:pPr>
            <a:r>
              <a:rPr lang="en-US" sz="850">
                <a:solidFill>
                  <a:srgbClr val="FDFFFD"/>
                </a:solidFill>
                <a:latin typeface="Source Sans Pro"/>
                <a:ea typeface="Source Sans Pro"/>
                <a:cs typeface="Source Sans Pro"/>
              </a:rPr>
              <a:t>Build Backlog</a:t>
            </a:r>
            <a:endParaRPr lang="en-US" sz="850" b="0" i="0" u="none" strike="noStrike" cap="none">
              <a:solidFill>
                <a:srgbClr val="FDFFFD"/>
              </a:solidFill>
              <a:latin typeface="Source Sans Pro"/>
              <a:ea typeface="Source Sans Pro"/>
              <a:cs typeface="Source Sans Pro"/>
            </a:endParaRPr>
          </a:p>
        </p:txBody>
      </p:sp>
      <p:sp>
        <p:nvSpPr>
          <p:cNvPr id="82" name="Google Shape;410;p7">
            <a:extLst>
              <a:ext uri="{FF2B5EF4-FFF2-40B4-BE49-F238E27FC236}">
                <a16:creationId xmlns:a16="http://schemas.microsoft.com/office/drawing/2014/main" id="{80579DE7-72B2-533E-1105-2A45C4F95512}"/>
              </a:ext>
            </a:extLst>
          </p:cNvPr>
          <p:cNvSpPr/>
          <p:nvPr/>
        </p:nvSpPr>
        <p:spPr>
          <a:xfrm>
            <a:off x="1331427" y="4168248"/>
            <a:ext cx="4718023" cy="259495"/>
          </a:xfrm>
          <a:prstGeom prst="rect">
            <a:avLst/>
          </a:prstGeom>
          <a:solidFill>
            <a:srgbClr val="0365B9"/>
          </a:solidFill>
          <a:ln w="9525" cap="flat" cmpd="sng">
            <a:solidFill>
              <a:schemeClr val="lt1"/>
            </a:solidFill>
            <a:prstDash val="solid"/>
            <a:round/>
            <a:headEnd type="none" w="sm" len="sm"/>
            <a:tailEnd type="none" w="sm" len="sm"/>
          </a:ln>
        </p:spPr>
        <p:txBody>
          <a:bodyPr spcFirstLastPara="1" wrap="square" lIns="60950" tIns="60925" rIns="60950" bIns="60925" anchor="ctr" anchorCtr="0">
            <a:noAutofit/>
          </a:bodyPr>
          <a:lstStyle/>
          <a:p>
            <a:pPr>
              <a:buSzPts val="900"/>
            </a:pPr>
            <a:r>
              <a:rPr lang="en-US" sz="850">
                <a:solidFill>
                  <a:srgbClr val="FDFFFD"/>
                </a:solidFill>
                <a:latin typeface="Source Sans Pro"/>
                <a:ea typeface="Source Sans Pro"/>
                <a:cs typeface="Source Sans Pro"/>
              </a:rPr>
              <a:t>Immersion </a:t>
            </a:r>
            <a:endParaRPr lang="en-US" sz="850" b="0" i="0" u="none" strike="noStrike" cap="none">
              <a:solidFill>
                <a:srgbClr val="FDFFFD"/>
              </a:solidFill>
              <a:latin typeface="Source Sans Pro"/>
              <a:ea typeface="Source Sans Pro"/>
              <a:cs typeface="Source Sans Pro"/>
            </a:endParaRPr>
          </a:p>
        </p:txBody>
      </p:sp>
      <p:cxnSp>
        <p:nvCxnSpPr>
          <p:cNvPr id="92" name="Google Shape;420;p7">
            <a:extLst>
              <a:ext uri="{FF2B5EF4-FFF2-40B4-BE49-F238E27FC236}">
                <a16:creationId xmlns:a16="http://schemas.microsoft.com/office/drawing/2014/main" id="{95332B53-DA5E-B171-E911-5630D8D71783}"/>
              </a:ext>
            </a:extLst>
          </p:cNvPr>
          <p:cNvCxnSpPr/>
          <p:nvPr/>
        </p:nvCxnSpPr>
        <p:spPr>
          <a:xfrm>
            <a:off x="1348720" y="2047516"/>
            <a:ext cx="4940125" cy="0"/>
          </a:xfrm>
          <a:prstGeom prst="straightConnector1">
            <a:avLst/>
          </a:prstGeom>
          <a:noFill/>
          <a:ln w="12700" cap="flat" cmpd="sng">
            <a:solidFill>
              <a:schemeClr val="dk1"/>
            </a:solidFill>
            <a:prstDash val="solid"/>
            <a:round/>
            <a:headEnd type="none" w="sm" len="sm"/>
            <a:tailEnd type="none" w="sm" len="sm"/>
          </a:ln>
        </p:spPr>
      </p:cxnSp>
      <p:cxnSp>
        <p:nvCxnSpPr>
          <p:cNvPr id="94" name="Google Shape;421;p7">
            <a:extLst>
              <a:ext uri="{FF2B5EF4-FFF2-40B4-BE49-F238E27FC236}">
                <a16:creationId xmlns:a16="http://schemas.microsoft.com/office/drawing/2014/main" id="{60E77512-710D-3C80-18A9-A2DDB839C5F2}"/>
              </a:ext>
            </a:extLst>
          </p:cNvPr>
          <p:cNvCxnSpPr/>
          <p:nvPr/>
        </p:nvCxnSpPr>
        <p:spPr>
          <a:xfrm flipV="1">
            <a:off x="6379488" y="2047516"/>
            <a:ext cx="5067125" cy="4379"/>
          </a:xfrm>
          <a:prstGeom prst="straightConnector1">
            <a:avLst/>
          </a:prstGeom>
          <a:noFill/>
          <a:ln w="12700" cap="flat" cmpd="sng">
            <a:solidFill>
              <a:schemeClr val="dk1"/>
            </a:solidFill>
            <a:prstDash val="solid"/>
            <a:round/>
            <a:headEnd type="none" w="sm" len="sm"/>
            <a:tailEnd type="none" w="sm" len="sm"/>
          </a:ln>
        </p:spPr>
      </p:cxnSp>
      <p:pic>
        <p:nvPicPr>
          <p:cNvPr id="100" name="Google Shape;424;p7">
            <a:extLst>
              <a:ext uri="{FF2B5EF4-FFF2-40B4-BE49-F238E27FC236}">
                <a16:creationId xmlns:a16="http://schemas.microsoft.com/office/drawing/2014/main" id="{7C55F817-7127-B9AD-8941-666334782182}"/>
              </a:ext>
            </a:extLst>
          </p:cNvPr>
          <p:cNvPicPr preferRelativeResize="0"/>
          <p:nvPr/>
        </p:nvPicPr>
        <p:blipFill rotWithShape="1">
          <a:blip r:embed="rId4">
            <a:alphaModFix/>
          </a:blip>
          <a:srcRect/>
          <a:stretch/>
        </p:blipFill>
        <p:spPr>
          <a:xfrm>
            <a:off x="432433" y="5750644"/>
            <a:ext cx="265176" cy="265176"/>
          </a:xfrm>
          <a:prstGeom prst="rect">
            <a:avLst/>
          </a:prstGeom>
          <a:noFill/>
          <a:ln>
            <a:noFill/>
          </a:ln>
        </p:spPr>
      </p:pic>
      <p:sp>
        <p:nvSpPr>
          <p:cNvPr id="152" name="Google Shape;369;p7">
            <a:extLst>
              <a:ext uri="{FF2B5EF4-FFF2-40B4-BE49-F238E27FC236}">
                <a16:creationId xmlns:a16="http://schemas.microsoft.com/office/drawing/2014/main" id="{D045B593-F7C4-E5A1-A0EE-5FD358E7AB98}"/>
              </a:ext>
            </a:extLst>
          </p:cNvPr>
          <p:cNvSpPr txBox="1"/>
          <p:nvPr/>
        </p:nvSpPr>
        <p:spPr>
          <a:xfrm>
            <a:off x="6482062" y="2140024"/>
            <a:ext cx="660841" cy="276999"/>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1" i="0" u="none" strike="noStrike" cap="none">
                <a:solidFill>
                  <a:srgbClr val="202120"/>
                </a:solidFill>
                <a:latin typeface="Source Sans Pro Semibold"/>
                <a:ea typeface="Source Sans Pro Semibold"/>
                <a:cs typeface="Source Sans Pro Semibold"/>
                <a:sym typeface="Source Sans Pro SemiBold"/>
              </a:rPr>
              <a:t>Week </a:t>
            </a:r>
            <a:r>
              <a:rPr lang="en-US" sz="900" b="1">
                <a:solidFill>
                  <a:srgbClr val="202120"/>
                </a:solidFill>
                <a:latin typeface="Source Sans Pro Semibold"/>
                <a:ea typeface="Source Sans Pro Semibold"/>
                <a:cs typeface="Source Sans Pro Semibold"/>
                <a:sym typeface="Source Sans Pro SemiBold"/>
              </a:rPr>
              <a:t>14</a:t>
            </a:r>
            <a:r>
              <a:rPr lang="en-US" sz="900" b="1" i="0" u="none" strike="noStrike" cap="none">
                <a:solidFill>
                  <a:srgbClr val="202120"/>
                </a:solidFill>
                <a:latin typeface="Source Sans Pro Semibold"/>
                <a:ea typeface="Source Sans Pro Semibold"/>
                <a:cs typeface="Source Sans Pro Semibold"/>
                <a:sym typeface="Source Sans Pro SemiBold"/>
              </a:rPr>
              <a:t>: </a:t>
            </a:r>
            <a:r>
              <a:rPr lang="en-US" sz="900" b="1">
                <a:solidFill>
                  <a:srgbClr val="202120"/>
                </a:solidFill>
                <a:latin typeface="Source Sans Pro Semibold"/>
                <a:ea typeface="Source Sans Pro Semibold"/>
                <a:cs typeface="Source Sans Pro Semibold"/>
                <a:sym typeface="Source Sans Pro SemiBold"/>
              </a:rPr>
              <a:t>04/20-04/27</a:t>
            </a:r>
            <a:endParaRPr sz="900" b="1" i="0" u="none" strike="noStrike" cap="none">
              <a:solidFill>
                <a:srgbClr val="202120"/>
              </a:solidFill>
              <a:latin typeface="Source Sans Pro Semibold"/>
              <a:ea typeface="Source Sans Pro Semibold"/>
              <a:cs typeface="Source Sans Pro Semibold"/>
              <a:sym typeface="Source Sans Pro SemiBold"/>
            </a:endParaRPr>
          </a:p>
        </p:txBody>
      </p:sp>
      <p:sp>
        <p:nvSpPr>
          <p:cNvPr id="154" name="Google Shape;370;p7">
            <a:extLst>
              <a:ext uri="{FF2B5EF4-FFF2-40B4-BE49-F238E27FC236}">
                <a16:creationId xmlns:a16="http://schemas.microsoft.com/office/drawing/2014/main" id="{78A581DC-04CB-AB07-CF99-5807E41BC636}"/>
              </a:ext>
            </a:extLst>
          </p:cNvPr>
          <p:cNvSpPr txBox="1"/>
          <p:nvPr/>
        </p:nvSpPr>
        <p:spPr>
          <a:xfrm>
            <a:off x="6447524" y="1888102"/>
            <a:ext cx="845348" cy="138499"/>
          </a:xfrm>
          <a:prstGeom prst="rect">
            <a:avLst/>
          </a:prstGeom>
          <a:noFill/>
          <a:ln>
            <a:noFill/>
          </a:ln>
        </p:spPr>
        <p:txBody>
          <a:bodyPr spcFirstLastPara="1" wrap="square" lIns="0" tIns="0" rIns="0" bIns="0" anchor="b"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1" i="0" u="none" strike="noStrike" cap="none">
                <a:solidFill>
                  <a:srgbClr val="202120"/>
                </a:solidFill>
                <a:latin typeface="Source Sans Pro Semibold"/>
                <a:ea typeface="Source Sans Pro Semibold"/>
                <a:cs typeface="Source Sans Pro Semibold"/>
                <a:sym typeface="Source Sans Pro SemiBold"/>
              </a:rPr>
              <a:t>SPRINT </a:t>
            </a:r>
            <a:r>
              <a:rPr lang="en-US" sz="900" b="1">
                <a:solidFill>
                  <a:srgbClr val="202120"/>
                </a:solidFill>
                <a:latin typeface="Source Sans Pro Semibold"/>
                <a:ea typeface="Source Sans Pro Semibold"/>
                <a:cs typeface="Source Sans Pro Semibold"/>
                <a:sym typeface="Source Sans Pro SemiBold"/>
              </a:rPr>
              <a:t>0</a:t>
            </a:r>
            <a:endParaRPr/>
          </a:p>
        </p:txBody>
      </p:sp>
      <p:sp>
        <p:nvSpPr>
          <p:cNvPr id="160" name="Google Shape;362;p7">
            <a:extLst>
              <a:ext uri="{FF2B5EF4-FFF2-40B4-BE49-F238E27FC236}">
                <a16:creationId xmlns:a16="http://schemas.microsoft.com/office/drawing/2014/main" id="{1B0BBF1C-E120-F159-D550-2E7E2D34401F}"/>
              </a:ext>
            </a:extLst>
          </p:cNvPr>
          <p:cNvSpPr txBox="1"/>
          <p:nvPr/>
        </p:nvSpPr>
        <p:spPr>
          <a:xfrm>
            <a:off x="8965348" y="2129356"/>
            <a:ext cx="656498" cy="276999"/>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1" i="0" u="none" strike="noStrike" cap="none">
                <a:solidFill>
                  <a:srgbClr val="202120"/>
                </a:solidFill>
                <a:latin typeface="Source Sans Pro Semibold"/>
                <a:ea typeface="Source Sans Pro Semibold"/>
                <a:cs typeface="Source Sans Pro Semibold"/>
                <a:sym typeface="Source Sans Pro SemiBold"/>
              </a:rPr>
              <a:t>Week </a:t>
            </a:r>
            <a:r>
              <a:rPr lang="en-US" sz="900" b="1">
                <a:solidFill>
                  <a:srgbClr val="202120"/>
                </a:solidFill>
                <a:latin typeface="Source Sans Pro Semibold"/>
                <a:ea typeface="Source Sans Pro Semibold"/>
                <a:cs typeface="Source Sans Pro Semibold"/>
                <a:sym typeface="Source Sans Pro SemiBold"/>
              </a:rPr>
              <a:t>15</a:t>
            </a:r>
            <a:r>
              <a:rPr lang="en-US" sz="900" b="1" i="0" u="none" strike="noStrike" cap="none">
                <a:solidFill>
                  <a:srgbClr val="202120"/>
                </a:solidFill>
                <a:latin typeface="Source Sans Pro Semibold"/>
                <a:ea typeface="Source Sans Pro Semibold"/>
                <a:cs typeface="Source Sans Pro Semibold"/>
                <a:sym typeface="Source Sans Pro SemiBold"/>
              </a:rPr>
              <a:t>: </a:t>
            </a:r>
            <a:r>
              <a:rPr lang="en-US" sz="900" b="1">
                <a:solidFill>
                  <a:srgbClr val="202120"/>
                </a:solidFill>
                <a:latin typeface="Source Sans Pro Semibold"/>
                <a:ea typeface="Source Sans Pro Semibold"/>
                <a:cs typeface="Source Sans Pro Semibold"/>
                <a:sym typeface="Source Sans Pro SemiBold"/>
              </a:rPr>
              <a:t>04/27-05/04</a:t>
            </a:r>
            <a:endParaRPr sz="900" b="1" i="0" u="none" strike="noStrike" cap="none">
              <a:solidFill>
                <a:srgbClr val="202120"/>
              </a:solidFill>
              <a:latin typeface="Source Sans Pro Semibold"/>
              <a:ea typeface="Source Sans Pro Semibold"/>
              <a:cs typeface="Source Sans Pro Semibold"/>
              <a:sym typeface="Source Sans Pro SemiBold"/>
            </a:endParaRPr>
          </a:p>
        </p:txBody>
      </p:sp>
      <p:cxnSp>
        <p:nvCxnSpPr>
          <p:cNvPr id="163" name="Google Shape;398;p7">
            <a:extLst>
              <a:ext uri="{FF2B5EF4-FFF2-40B4-BE49-F238E27FC236}">
                <a16:creationId xmlns:a16="http://schemas.microsoft.com/office/drawing/2014/main" id="{239D5AB9-9EAB-07FA-6DAA-29766725F05B}"/>
              </a:ext>
            </a:extLst>
          </p:cNvPr>
          <p:cNvCxnSpPr>
            <a:cxnSpLocks/>
          </p:cNvCxnSpPr>
          <p:nvPr/>
        </p:nvCxnSpPr>
        <p:spPr>
          <a:xfrm>
            <a:off x="331440" y="3747597"/>
            <a:ext cx="11080575" cy="0"/>
          </a:xfrm>
          <a:prstGeom prst="straightConnector1">
            <a:avLst/>
          </a:prstGeom>
          <a:noFill/>
          <a:ln w="9525" cap="flat" cmpd="sng">
            <a:solidFill>
              <a:srgbClr val="747C74"/>
            </a:solidFill>
            <a:prstDash val="solid"/>
            <a:round/>
            <a:headEnd type="none" w="sm" len="sm"/>
            <a:tailEnd type="none" w="sm" len="sm"/>
          </a:ln>
        </p:spPr>
      </p:cxnSp>
      <p:sp>
        <p:nvSpPr>
          <p:cNvPr id="41" name="Google Shape;399;p7">
            <a:extLst>
              <a:ext uri="{FF2B5EF4-FFF2-40B4-BE49-F238E27FC236}">
                <a16:creationId xmlns:a16="http://schemas.microsoft.com/office/drawing/2014/main" id="{3B6580CA-499D-CC3F-919D-5AA5927A4604}"/>
              </a:ext>
            </a:extLst>
          </p:cNvPr>
          <p:cNvSpPr/>
          <p:nvPr/>
        </p:nvSpPr>
        <p:spPr>
          <a:xfrm>
            <a:off x="6359163" y="3260540"/>
            <a:ext cx="5057679" cy="298962"/>
          </a:xfrm>
          <a:prstGeom prst="rect">
            <a:avLst/>
          </a:prstGeom>
          <a:solidFill>
            <a:schemeClr val="accent1"/>
          </a:solidFill>
          <a:ln w="9525" cap="flat" cmpd="sng">
            <a:solidFill>
              <a:schemeClr val="lt1"/>
            </a:solidFill>
            <a:prstDash val="solid"/>
            <a:round/>
            <a:headEnd type="none" w="sm" len="sm"/>
            <a:tailEnd type="none" w="sm" len="sm"/>
          </a:ln>
        </p:spPr>
        <p:txBody>
          <a:bodyPr spcFirstLastPara="1" wrap="square" lIns="91425" tIns="60925" rIns="60950" bIns="60925" anchor="ctr" anchorCtr="0">
            <a:noAutofit/>
          </a:bodyPr>
          <a:lstStyle/>
          <a:p>
            <a:r>
              <a:rPr lang="en-US" sz="850">
                <a:solidFill>
                  <a:srgbClr val="FDFFFD"/>
                </a:solidFill>
                <a:latin typeface="Source Sans Pro"/>
                <a:ea typeface="Source Sans Pro"/>
              </a:rPr>
              <a:t>HH Kickoff</a:t>
            </a:r>
            <a:endParaRPr lang="en-US"/>
          </a:p>
        </p:txBody>
      </p:sp>
      <p:sp>
        <p:nvSpPr>
          <p:cNvPr id="45" name="Google Shape;399;p7">
            <a:extLst>
              <a:ext uri="{FF2B5EF4-FFF2-40B4-BE49-F238E27FC236}">
                <a16:creationId xmlns:a16="http://schemas.microsoft.com/office/drawing/2014/main" id="{BB66F23D-66B3-02EE-5766-5C1F76D9CAFF}"/>
              </a:ext>
            </a:extLst>
          </p:cNvPr>
          <p:cNvSpPr/>
          <p:nvPr/>
        </p:nvSpPr>
        <p:spPr>
          <a:xfrm>
            <a:off x="2288889" y="2879400"/>
            <a:ext cx="4051892" cy="311900"/>
          </a:xfrm>
          <a:prstGeom prst="rect">
            <a:avLst/>
          </a:prstGeom>
          <a:solidFill>
            <a:schemeClr val="accent1"/>
          </a:solidFill>
          <a:ln w="9525" cap="flat" cmpd="sng">
            <a:solidFill>
              <a:schemeClr val="lt1"/>
            </a:solidFill>
            <a:prstDash val="solid"/>
            <a:round/>
            <a:headEnd type="none" w="sm" len="sm"/>
            <a:tailEnd type="none" w="sm" len="sm"/>
          </a:ln>
        </p:spPr>
        <p:txBody>
          <a:bodyPr spcFirstLastPara="1" wrap="square" lIns="91425" tIns="60925" rIns="60950" bIns="60925" anchor="ctr" anchorCtr="0">
            <a:noAutofit/>
          </a:bodyPr>
          <a:lstStyle/>
          <a:p>
            <a:r>
              <a:rPr lang="en-US" sz="850">
                <a:solidFill>
                  <a:srgbClr val="FDFFFD"/>
                </a:solidFill>
                <a:latin typeface="Source Sans Pro"/>
                <a:ea typeface="Source Sans Pro"/>
              </a:rPr>
              <a:t>Tech Discovery &amp; Research &amp; Interviews</a:t>
            </a:r>
            <a:endParaRPr lang="en-US"/>
          </a:p>
        </p:txBody>
      </p:sp>
      <p:sp>
        <p:nvSpPr>
          <p:cNvPr id="47" name="Google Shape;410;p7">
            <a:extLst>
              <a:ext uri="{FF2B5EF4-FFF2-40B4-BE49-F238E27FC236}">
                <a16:creationId xmlns:a16="http://schemas.microsoft.com/office/drawing/2014/main" id="{635EA343-E326-C59A-DD60-9A2325E5F077}"/>
              </a:ext>
            </a:extLst>
          </p:cNvPr>
          <p:cNvSpPr/>
          <p:nvPr/>
        </p:nvSpPr>
        <p:spPr>
          <a:xfrm>
            <a:off x="3266130" y="4514405"/>
            <a:ext cx="3064357" cy="263112"/>
          </a:xfrm>
          <a:prstGeom prst="rect">
            <a:avLst/>
          </a:prstGeom>
          <a:solidFill>
            <a:srgbClr val="0365B9"/>
          </a:solidFill>
          <a:ln w="9525" cap="flat" cmpd="sng">
            <a:solidFill>
              <a:schemeClr val="lt1"/>
            </a:solidFill>
            <a:prstDash val="solid"/>
            <a:round/>
            <a:headEnd type="none" w="sm" len="sm"/>
            <a:tailEnd type="none" w="sm" len="sm"/>
          </a:ln>
        </p:spPr>
        <p:txBody>
          <a:bodyPr spcFirstLastPara="1" wrap="square" lIns="60950" tIns="60925" rIns="60950" bIns="60925" anchor="ctr" anchorCtr="0">
            <a:noAutofit/>
          </a:bodyPr>
          <a:lstStyle/>
          <a:p>
            <a:r>
              <a:rPr lang="en-US" sz="850">
                <a:solidFill>
                  <a:srgbClr val="FDFFFD"/>
                </a:solidFill>
                <a:latin typeface="Source Sans Pro"/>
                <a:ea typeface="Source Sans Pro"/>
              </a:rPr>
              <a:t>Draft Current State Journey Map</a:t>
            </a:r>
            <a:endParaRPr lang="en-US"/>
          </a:p>
        </p:txBody>
      </p:sp>
      <p:sp>
        <p:nvSpPr>
          <p:cNvPr id="55" name="Google Shape;410;p7">
            <a:extLst>
              <a:ext uri="{FF2B5EF4-FFF2-40B4-BE49-F238E27FC236}">
                <a16:creationId xmlns:a16="http://schemas.microsoft.com/office/drawing/2014/main" id="{848D1D00-5AAC-E43D-57E3-DF6A3967DF99}"/>
              </a:ext>
            </a:extLst>
          </p:cNvPr>
          <p:cNvSpPr/>
          <p:nvPr/>
        </p:nvSpPr>
        <p:spPr>
          <a:xfrm>
            <a:off x="6374076" y="4523802"/>
            <a:ext cx="5042783" cy="251563"/>
          </a:xfrm>
          <a:prstGeom prst="rect">
            <a:avLst/>
          </a:prstGeom>
          <a:solidFill>
            <a:srgbClr val="0365B9"/>
          </a:solidFill>
          <a:ln w="9525" cap="flat" cmpd="sng">
            <a:solidFill>
              <a:schemeClr val="lt1"/>
            </a:solidFill>
            <a:prstDash val="solid"/>
            <a:round/>
            <a:headEnd type="none" w="sm" len="sm"/>
            <a:tailEnd type="none" w="sm" len="sm"/>
          </a:ln>
        </p:spPr>
        <p:txBody>
          <a:bodyPr spcFirstLastPara="1" wrap="square" lIns="60950" tIns="60925" rIns="60950" bIns="60925" anchor="ctr" anchorCtr="0">
            <a:noAutofit/>
          </a:bodyPr>
          <a:lstStyle/>
          <a:p>
            <a:r>
              <a:rPr lang="en-US" sz="850">
                <a:solidFill>
                  <a:srgbClr val="FDFFFD"/>
                </a:solidFill>
                <a:latin typeface="Source Sans Pro"/>
                <a:ea typeface="Source Sans Pro"/>
              </a:rPr>
              <a:t>HH Kickoff</a:t>
            </a:r>
            <a:endParaRPr lang="en-US"/>
          </a:p>
        </p:txBody>
      </p:sp>
      <p:sp>
        <p:nvSpPr>
          <p:cNvPr id="57" name="Google Shape;404;p7">
            <a:extLst>
              <a:ext uri="{FF2B5EF4-FFF2-40B4-BE49-F238E27FC236}">
                <a16:creationId xmlns:a16="http://schemas.microsoft.com/office/drawing/2014/main" id="{517415E3-5292-CB76-E3BF-5A88419C6143}"/>
              </a:ext>
            </a:extLst>
          </p:cNvPr>
          <p:cNvSpPr/>
          <p:nvPr/>
        </p:nvSpPr>
        <p:spPr>
          <a:xfrm>
            <a:off x="6368266" y="5273245"/>
            <a:ext cx="5021859" cy="267567"/>
          </a:xfrm>
          <a:prstGeom prst="rect">
            <a:avLst/>
          </a:prstGeom>
          <a:solidFill>
            <a:schemeClr val="accent6"/>
          </a:solidFill>
          <a:ln w="9525" cap="flat" cmpd="sng">
            <a:solidFill>
              <a:schemeClr val="lt1"/>
            </a:solidFill>
            <a:prstDash val="solid"/>
            <a:round/>
            <a:headEnd type="none" w="sm" len="sm"/>
            <a:tailEnd type="none" w="sm" len="sm"/>
          </a:ln>
        </p:spPr>
        <p:txBody>
          <a:bodyPr spcFirstLastPara="1" wrap="square" lIns="60950" tIns="60925" rIns="60950" bIns="60925" anchor="ctr" anchorCtr="0">
            <a:noAutofit/>
          </a:bodyPr>
          <a:lstStyle/>
          <a:p>
            <a:r>
              <a:rPr lang="en-US" sz="850">
                <a:solidFill>
                  <a:schemeClr val="accent1"/>
                </a:solidFill>
                <a:latin typeface="Source Sans Pro"/>
                <a:ea typeface="Source Sans Pro"/>
              </a:rPr>
              <a:t>HH Kickoff</a:t>
            </a:r>
            <a:endParaRPr lang="en-US"/>
          </a:p>
        </p:txBody>
      </p:sp>
      <p:grpSp>
        <p:nvGrpSpPr>
          <p:cNvPr id="3" name="Google Shape;448;p7">
            <a:extLst>
              <a:ext uri="{FF2B5EF4-FFF2-40B4-BE49-F238E27FC236}">
                <a16:creationId xmlns:a16="http://schemas.microsoft.com/office/drawing/2014/main" id="{84A101B9-54A8-0DEF-7134-74702582A0A6}"/>
              </a:ext>
            </a:extLst>
          </p:cNvPr>
          <p:cNvGrpSpPr/>
          <p:nvPr/>
        </p:nvGrpSpPr>
        <p:grpSpPr>
          <a:xfrm>
            <a:off x="5704734" y="1086636"/>
            <a:ext cx="1301794" cy="5080376"/>
            <a:chOff x="7066559" y="1368394"/>
            <a:chExt cx="1365250" cy="5282673"/>
          </a:xfrm>
        </p:grpSpPr>
        <p:cxnSp>
          <p:nvCxnSpPr>
            <p:cNvPr id="51" name="Google Shape;449;p7">
              <a:extLst>
                <a:ext uri="{FF2B5EF4-FFF2-40B4-BE49-F238E27FC236}">
                  <a16:creationId xmlns:a16="http://schemas.microsoft.com/office/drawing/2014/main" id="{EB5D661B-9C30-95C6-A9AD-3FC9181444BA}"/>
                </a:ext>
              </a:extLst>
            </p:cNvPr>
            <p:cNvCxnSpPr/>
            <p:nvPr/>
          </p:nvCxnSpPr>
          <p:spPr>
            <a:xfrm>
              <a:off x="7743145" y="1775857"/>
              <a:ext cx="2173" cy="4875210"/>
            </a:xfrm>
            <a:prstGeom prst="straightConnector1">
              <a:avLst/>
            </a:prstGeom>
            <a:noFill/>
            <a:ln w="12700" cap="flat" cmpd="sng">
              <a:solidFill>
                <a:srgbClr val="A1AEBF"/>
              </a:solidFill>
              <a:prstDash val="solid"/>
              <a:round/>
              <a:headEnd type="none" w="sm" len="sm"/>
              <a:tailEnd type="none" w="sm" len="sm"/>
            </a:ln>
          </p:spPr>
        </p:cxnSp>
        <p:grpSp>
          <p:nvGrpSpPr>
            <p:cNvPr id="53" name="Google Shape;450;p7">
              <a:extLst>
                <a:ext uri="{FF2B5EF4-FFF2-40B4-BE49-F238E27FC236}">
                  <a16:creationId xmlns:a16="http://schemas.microsoft.com/office/drawing/2014/main" id="{2DB7AB60-0C00-D3CD-ABAC-68396030BE4D}"/>
                </a:ext>
              </a:extLst>
            </p:cNvPr>
            <p:cNvGrpSpPr/>
            <p:nvPr/>
          </p:nvGrpSpPr>
          <p:grpSpPr>
            <a:xfrm>
              <a:off x="7066559" y="1368394"/>
              <a:ext cx="1365250" cy="428190"/>
              <a:chOff x="7187209" y="1400144"/>
              <a:chExt cx="1365250" cy="428190"/>
            </a:xfrm>
          </p:grpSpPr>
          <p:sp>
            <p:nvSpPr>
              <p:cNvPr id="59" name="Google Shape;451;p7">
                <a:extLst>
                  <a:ext uri="{FF2B5EF4-FFF2-40B4-BE49-F238E27FC236}">
                    <a16:creationId xmlns:a16="http://schemas.microsoft.com/office/drawing/2014/main" id="{06FAE9E2-0AC8-086A-7274-597DD2EDB0F5}"/>
                  </a:ext>
                </a:extLst>
              </p:cNvPr>
              <p:cNvSpPr/>
              <p:nvPr/>
            </p:nvSpPr>
            <p:spPr>
              <a:xfrm>
                <a:off x="7187209" y="1400144"/>
                <a:ext cx="1365250" cy="344167"/>
              </a:xfrm>
              <a:prstGeom prst="roundRect">
                <a:avLst>
                  <a:gd name="adj" fmla="val 16667"/>
                </a:avLst>
              </a:prstGeom>
              <a:solidFill>
                <a:srgbClr val="D3E9FF"/>
              </a:solidFill>
              <a:ln>
                <a:noFill/>
              </a:ln>
            </p:spPr>
            <p:txBody>
              <a:bodyPr spcFirstLastPara="1" wrap="square" lIns="91425" tIns="73150" rIns="91425" bIns="45700" anchor="ctr" anchorCtr="0">
                <a:noAutofit/>
              </a:bodyPr>
              <a:lstStyle/>
              <a:p>
                <a:pPr marL="0" marR="0" lvl="0" indent="0" algn="ctr" rtl="0">
                  <a:lnSpc>
                    <a:spcPct val="100000"/>
                  </a:lnSpc>
                  <a:spcBef>
                    <a:spcPts val="0"/>
                  </a:spcBef>
                  <a:spcAft>
                    <a:spcPts val="0"/>
                  </a:spcAft>
                  <a:buClr>
                    <a:schemeClr val="accent1"/>
                  </a:buClr>
                  <a:buSzPts val="1200"/>
                  <a:buFont typeface="Source Sans Pro SemiBold"/>
                  <a:buNone/>
                </a:pPr>
                <a:r>
                  <a:rPr lang="en-US" sz="1200" b="1" i="0" u="none" strike="noStrike" cap="none">
                    <a:solidFill>
                      <a:schemeClr val="accent1"/>
                    </a:solidFill>
                    <a:latin typeface="Source Sans Pro Semibold"/>
                    <a:ea typeface="Source Sans Pro Semibold"/>
                    <a:cs typeface="Source Sans Pro Semibold"/>
                    <a:sym typeface="Source Sans Pro SemiBold"/>
                  </a:rPr>
                  <a:t>WE ARE HERE</a:t>
                </a:r>
                <a:endParaRPr sz="1200" b="1" i="0" u="none" strike="noStrike" cap="none">
                  <a:solidFill>
                    <a:schemeClr val="accent1"/>
                  </a:solidFill>
                  <a:latin typeface="Source Sans Pro Semibold"/>
                  <a:ea typeface="Source Sans Pro Semibold"/>
                  <a:cs typeface="Source Sans Pro Semibold"/>
                  <a:sym typeface="Source Sans Pro SemiBold"/>
                </a:endParaRPr>
              </a:p>
            </p:txBody>
          </p:sp>
          <p:sp>
            <p:nvSpPr>
              <p:cNvPr id="61" name="Google Shape;452;p7">
                <a:extLst>
                  <a:ext uri="{FF2B5EF4-FFF2-40B4-BE49-F238E27FC236}">
                    <a16:creationId xmlns:a16="http://schemas.microsoft.com/office/drawing/2014/main" id="{64EB44E4-6741-7C03-4DAA-C084DB02DE38}"/>
                  </a:ext>
                </a:extLst>
              </p:cNvPr>
              <p:cNvSpPr/>
              <p:nvPr/>
            </p:nvSpPr>
            <p:spPr>
              <a:xfrm rot="10800000">
                <a:off x="7773027" y="1745784"/>
                <a:ext cx="171449" cy="82550"/>
              </a:xfrm>
              <a:prstGeom prst="triangle">
                <a:avLst>
                  <a:gd name="adj" fmla="val 50000"/>
                </a:avLst>
              </a:prstGeom>
              <a:solidFill>
                <a:srgbClr val="D3E9FF"/>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400"/>
                  <a:buFont typeface="Calibri"/>
                  <a:buNone/>
                </a:pPr>
                <a:endParaRPr sz="1400" b="0" i="0" u="none" strike="noStrike" cap="none">
                  <a:solidFill>
                    <a:schemeClr val="lt1"/>
                  </a:solidFill>
                  <a:latin typeface="Arial"/>
                  <a:ea typeface="Arial"/>
                  <a:cs typeface="Arial"/>
                  <a:sym typeface="Arial"/>
                </a:endParaRPr>
              </a:p>
            </p:txBody>
          </p:sp>
        </p:grpSp>
      </p:grpSp>
      <p:sp>
        <p:nvSpPr>
          <p:cNvPr id="4" name="Google Shape;263;p4">
            <a:extLst>
              <a:ext uri="{FF2B5EF4-FFF2-40B4-BE49-F238E27FC236}">
                <a16:creationId xmlns:a16="http://schemas.microsoft.com/office/drawing/2014/main" id="{7178F03B-753C-A3A6-CE72-0DE92988886C}"/>
              </a:ext>
            </a:extLst>
          </p:cNvPr>
          <p:cNvSpPr txBox="1">
            <a:spLocks noGrp="1"/>
          </p:cNvSpPr>
          <p:nvPr>
            <p:ph type="sldNum" idx="12"/>
          </p:nvPr>
        </p:nvSpPr>
        <p:spPr>
          <a:xfrm>
            <a:off x="11474969" y="6363970"/>
            <a:ext cx="406052" cy="365125"/>
          </a:xfrm>
          <a:prstGeom prst="rect">
            <a:avLst/>
          </a:prstGeom>
          <a:noFill/>
          <a:ln>
            <a:noFill/>
          </a:ln>
        </p:spPr>
        <p:txBody>
          <a:bodyPr spcFirstLastPara="1" wrap="square" lIns="91425" tIns="45700" rIns="91425" bIns="45700" anchor="ctr" anchorCtr="0">
            <a:noAutofit/>
          </a:bodyPr>
          <a:lstStyle/>
          <a:p>
            <a:pPr marL="0" lvl="0" indent="0" algn="r" rtl="0">
              <a:spcBef>
                <a:spcPts val="0"/>
              </a:spcBef>
              <a:spcAft>
                <a:spcPts val="0"/>
              </a:spcAft>
              <a:buNone/>
            </a:pPr>
            <a:fld id="{00000000-1234-1234-1234-123412341234}" type="slidenum">
              <a:rPr lang="en-US">
                <a:latin typeface="Source Sans Pro"/>
                <a:ea typeface="Source Sans Pro"/>
                <a:cs typeface="Source Sans Pro"/>
                <a:sym typeface="Source Sans Pro"/>
              </a:rPr>
              <a:t>17</a:t>
            </a:fld>
            <a:endParaRPr>
              <a:latin typeface="Source Sans Pro"/>
              <a:ea typeface="Source Sans Pro"/>
              <a:cs typeface="Source Sans Pro"/>
              <a:sym typeface="Source Sans Pro"/>
            </a:endParaRPr>
          </a:p>
        </p:txBody>
      </p:sp>
      <p:sp>
        <p:nvSpPr>
          <p:cNvPr id="5" name="Google Shape;264;p4">
            <a:extLst>
              <a:ext uri="{FF2B5EF4-FFF2-40B4-BE49-F238E27FC236}">
                <a16:creationId xmlns:a16="http://schemas.microsoft.com/office/drawing/2014/main" id="{0BD814A1-8A3A-D6C7-A428-EFF601806E48}"/>
              </a:ext>
            </a:extLst>
          </p:cNvPr>
          <p:cNvSpPr txBox="1"/>
          <p:nvPr/>
        </p:nvSpPr>
        <p:spPr>
          <a:xfrm>
            <a:off x="8917360" y="6408650"/>
            <a:ext cx="2723465" cy="276999"/>
          </a:xfrm>
          <a:prstGeom prst="rect">
            <a:avLst/>
          </a:prstGeom>
          <a:noFill/>
          <a:ln>
            <a:noFill/>
          </a:ln>
        </p:spPr>
        <p:txBody>
          <a:bodyPr spcFirstLastPara="1" wrap="square" lIns="91425" tIns="45700" rIns="91425" bIns="45700" anchor="t" anchorCtr="0">
            <a:spAutoFit/>
          </a:bodyPr>
          <a:lstStyle/>
          <a:p>
            <a:pPr algn="r"/>
            <a:r>
              <a:rPr lang="en-US" sz="1200">
                <a:solidFill>
                  <a:srgbClr val="747C74"/>
                </a:solidFill>
                <a:latin typeface="Source Sans Pro"/>
                <a:ea typeface="Source Sans Pro"/>
                <a:sym typeface="Source Sans Pro"/>
              </a:rPr>
              <a:t>Community Care</a:t>
            </a:r>
            <a:endParaRPr lang="en-US"/>
          </a:p>
        </p:txBody>
      </p:sp>
      <p:sp>
        <p:nvSpPr>
          <p:cNvPr id="67" name="Google Shape;404;p7">
            <a:extLst>
              <a:ext uri="{FF2B5EF4-FFF2-40B4-BE49-F238E27FC236}">
                <a16:creationId xmlns:a16="http://schemas.microsoft.com/office/drawing/2014/main" id="{ADFAC7F7-AEE5-A67D-FFCB-EBDD5EEB5CF0}"/>
              </a:ext>
            </a:extLst>
          </p:cNvPr>
          <p:cNvSpPr/>
          <p:nvPr/>
        </p:nvSpPr>
        <p:spPr>
          <a:xfrm>
            <a:off x="1344487" y="4858330"/>
            <a:ext cx="7531655" cy="267567"/>
          </a:xfrm>
          <a:prstGeom prst="rect">
            <a:avLst/>
          </a:prstGeom>
          <a:noFill/>
          <a:ln w="12700" cap="flat" cmpd="sng">
            <a:solidFill>
              <a:schemeClr val="accent6">
                <a:lumMod val="75000"/>
              </a:schemeClr>
            </a:solidFill>
            <a:prstDash val="dash"/>
            <a:round/>
            <a:headEnd type="none" w="sm" len="sm"/>
            <a:tailEnd type="none" w="sm" len="sm"/>
          </a:ln>
        </p:spPr>
        <p:txBody>
          <a:bodyPr spcFirstLastPara="1" wrap="square" lIns="60950" tIns="60925" rIns="60950" bIns="60925" anchor="ctr" anchorCtr="0">
            <a:noAutofit/>
          </a:bodyPr>
          <a:lstStyle/>
          <a:p>
            <a:r>
              <a:rPr lang="en-US" sz="850">
                <a:solidFill>
                  <a:schemeClr val="accent1"/>
                </a:solidFill>
                <a:latin typeface="Source Sans Pro"/>
                <a:ea typeface="Source Sans Pro"/>
              </a:rPr>
              <a:t>1095-B</a:t>
            </a:r>
            <a:endParaRPr lang="en-US"/>
          </a:p>
        </p:txBody>
      </p:sp>
      <p:sp>
        <p:nvSpPr>
          <p:cNvPr id="68" name="Google Shape;404;p7">
            <a:extLst>
              <a:ext uri="{FF2B5EF4-FFF2-40B4-BE49-F238E27FC236}">
                <a16:creationId xmlns:a16="http://schemas.microsoft.com/office/drawing/2014/main" id="{861BABA1-876C-78CE-7F83-46D5D21EA49D}"/>
              </a:ext>
            </a:extLst>
          </p:cNvPr>
          <p:cNvSpPr/>
          <p:nvPr/>
        </p:nvSpPr>
        <p:spPr>
          <a:xfrm>
            <a:off x="1357626" y="5975452"/>
            <a:ext cx="10039415" cy="273339"/>
          </a:xfrm>
          <a:prstGeom prst="rect">
            <a:avLst/>
          </a:prstGeom>
          <a:noFill/>
          <a:ln w="12700" cap="flat" cmpd="sng">
            <a:solidFill>
              <a:schemeClr val="accent6">
                <a:lumMod val="75000"/>
              </a:schemeClr>
            </a:solidFill>
            <a:prstDash val="dash"/>
            <a:round/>
            <a:headEnd type="none" w="sm" len="sm"/>
            <a:tailEnd type="none" w="sm" len="sm"/>
          </a:ln>
        </p:spPr>
        <p:txBody>
          <a:bodyPr spcFirstLastPara="1" wrap="square" lIns="60950" tIns="60925" rIns="60950" bIns="60925" anchor="ctr" anchorCtr="0">
            <a:noAutofit/>
          </a:bodyPr>
          <a:lstStyle/>
          <a:p>
            <a:r>
              <a:rPr lang="en-US" sz="850">
                <a:solidFill>
                  <a:schemeClr val="accent1"/>
                </a:solidFill>
                <a:latin typeface="Source Sans Pro"/>
                <a:ea typeface="Source Sans Pro"/>
              </a:rPr>
              <a:t>1095-B</a:t>
            </a:r>
            <a:endParaRPr lang="en-US"/>
          </a:p>
        </p:txBody>
      </p:sp>
      <p:sp>
        <p:nvSpPr>
          <p:cNvPr id="69" name="Google Shape;404;p7">
            <a:extLst>
              <a:ext uri="{FF2B5EF4-FFF2-40B4-BE49-F238E27FC236}">
                <a16:creationId xmlns:a16="http://schemas.microsoft.com/office/drawing/2014/main" id="{B1A4F7C5-107F-3C3D-C4CD-8E8C5421EDAC}"/>
              </a:ext>
            </a:extLst>
          </p:cNvPr>
          <p:cNvSpPr/>
          <p:nvPr/>
        </p:nvSpPr>
        <p:spPr>
          <a:xfrm>
            <a:off x="1344488" y="3281778"/>
            <a:ext cx="4981114" cy="263188"/>
          </a:xfrm>
          <a:prstGeom prst="rect">
            <a:avLst/>
          </a:prstGeom>
          <a:noFill/>
          <a:ln w="12700" cap="flat" cmpd="sng">
            <a:solidFill>
              <a:schemeClr val="accent6">
                <a:lumMod val="75000"/>
              </a:schemeClr>
            </a:solidFill>
            <a:prstDash val="dash"/>
            <a:round/>
            <a:headEnd type="none" w="sm" len="sm"/>
            <a:tailEnd type="none" w="sm" len="sm"/>
          </a:ln>
        </p:spPr>
        <p:txBody>
          <a:bodyPr spcFirstLastPara="1" wrap="square" lIns="60950" tIns="60925" rIns="60950" bIns="60925" anchor="ctr" anchorCtr="0">
            <a:noAutofit/>
          </a:bodyPr>
          <a:lstStyle/>
          <a:p>
            <a:r>
              <a:rPr lang="en-US" sz="850">
                <a:solidFill>
                  <a:schemeClr val="accent1"/>
                </a:solidFill>
                <a:latin typeface="Source Sans Pro"/>
                <a:ea typeface="Source Sans Pro"/>
              </a:rPr>
              <a:t>1095-B</a:t>
            </a:r>
            <a:endParaRPr lang="en-US"/>
          </a:p>
        </p:txBody>
      </p:sp>
      <p:cxnSp>
        <p:nvCxnSpPr>
          <p:cNvPr id="49" name="Google Shape;398;p7">
            <a:extLst>
              <a:ext uri="{FF2B5EF4-FFF2-40B4-BE49-F238E27FC236}">
                <a16:creationId xmlns:a16="http://schemas.microsoft.com/office/drawing/2014/main" id="{09C53D46-26CE-2C5D-243C-4443A1C92223}"/>
              </a:ext>
            </a:extLst>
          </p:cNvPr>
          <p:cNvCxnSpPr>
            <a:cxnSpLocks/>
          </p:cNvCxnSpPr>
          <p:nvPr/>
        </p:nvCxnSpPr>
        <p:spPr>
          <a:xfrm>
            <a:off x="354530" y="6282466"/>
            <a:ext cx="11080575" cy="0"/>
          </a:xfrm>
          <a:prstGeom prst="straightConnector1">
            <a:avLst/>
          </a:prstGeom>
          <a:noFill/>
          <a:ln w="9525" cap="flat" cmpd="sng">
            <a:solidFill>
              <a:srgbClr val="747C74"/>
            </a:solidFill>
            <a:prstDash val="solid"/>
            <a:round/>
            <a:headEnd type="none" w="sm" len="sm"/>
            <a:tailEnd type="none" w="sm" len="sm"/>
          </a:ln>
        </p:spPr>
      </p:cxnSp>
      <p:sp>
        <p:nvSpPr>
          <p:cNvPr id="6" name="Google Shape;337;p6">
            <a:extLst>
              <a:ext uri="{FF2B5EF4-FFF2-40B4-BE49-F238E27FC236}">
                <a16:creationId xmlns:a16="http://schemas.microsoft.com/office/drawing/2014/main" id="{E748C5ED-C778-8D35-B701-D92CD51D7C71}"/>
              </a:ext>
            </a:extLst>
          </p:cNvPr>
          <p:cNvSpPr txBox="1"/>
          <p:nvPr/>
        </p:nvSpPr>
        <p:spPr>
          <a:xfrm>
            <a:off x="419100" y="6408650"/>
            <a:ext cx="2723465" cy="276999"/>
          </a:xfrm>
          <a:prstGeom prst="rect">
            <a:avLst/>
          </a:prstGeom>
          <a:noFill/>
          <a:ln>
            <a:noFill/>
          </a:ln>
        </p:spPr>
        <p:txBody>
          <a:bodyPr spcFirstLastPara="1" wrap="square" lIns="0" tIns="45700" rIns="91425" bIns="45700" anchor="t" anchorCtr="0">
            <a:spAutoFit/>
          </a:bodyPr>
          <a:lstStyle/>
          <a:p>
            <a:pPr marL="0" marR="0" lvl="0" indent="0" algn="l" rtl="0">
              <a:spcBef>
                <a:spcPts val="0"/>
              </a:spcBef>
              <a:spcAft>
                <a:spcPts val="0"/>
              </a:spcAft>
              <a:buNone/>
            </a:pPr>
            <a:r>
              <a:rPr lang="en-US" sz="1200" b="0" i="0" u="none" strike="noStrike" cap="none">
                <a:solidFill>
                  <a:srgbClr val="747C74"/>
                </a:solidFill>
                <a:latin typeface="Source Sans Pro"/>
                <a:ea typeface="Source Sans Pro"/>
                <a:cs typeface="Source Sans Pro"/>
                <a:sym typeface="Source Sans Pro"/>
              </a:rPr>
              <a:t>04-19 Sprint 6 Demo</a:t>
            </a:r>
            <a:endParaRPr sz="1200" b="0" i="0" u="none" strike="noStrike" cap="none">
              <a:solidFill>
                <a:srgbClr val="747C74"/>
              </a:solidFill>
              <a:latin typeface="Calibri"/>
              <a:ea typeface="Calibri"/>
              <a:cs typeface="Calibri"/>
              <a:sym typeface="Calibri"/>
            </a:endParaRPr>
          </a:p>
        </p:txBody>
      </p:sp>
      <p:sp>
        <p:nvSpPr>
          <p:cNvPr id="9" name="Title 8">
            <a:extLst>
              <a:ext uri="{FF2B5EF4-FFF2-40B4-BE49-F238E27FC236}">
                <a16:creationId xmlns:a16="http://schemas.microsoft.com/office/drawing/2014/main" id="{9D3353E1-0037-4CC2-96E5-8920C7F77217}"/>
              </a:ext>
            </a:extLst>
          </p:cNvPr>
          <p:cNvSpPr>
            <a:spLocks noGrp="1"/>
          </p:cNvSpPr>
          <p:nvPr>
            <p:ph type="title"/>
          </p:nvPr>
        </p:nvSpPr>
        <p:spPr/>
        <p:txBody>
          <a:bodyPr/>
          <a:lstStyle/>
          <a:p>
            <a:r>
              <a:rPr lang="en-US"/>
              <a:t>Community Care focused workplan v2 </a:t>
            </a:r>
          </a:p>
        </p:txBody>
      </p:sp>
      <p:sp>
        <p:nvSpPr>
          <p:cNvPr id="65" name="Google Shape;369;p7">
            <a:extLst>
              <a:ext uri="{FF2B5EF4-FFF2-40B4-BE49-F238E27FC236}">
                <a16:creationId xmlns:a16="http://schemas.microsoft.com/office/drawing/2014/main" id="{BFD43CD8-FFB9-10CF-D184-49BAD77E05F2}"/>
              </a:ext>
            </a:extLst>
          </p:cNvPr>
          <p:cNvSpPr txBox="1"/>
          <p:nvPr/>
        </p:nvSpPr>
        <p:spPr>
          <a:xfrm>
            <a:off x="1436698" y="2140023"/>
            <a:ext cx="660841" cy="276999"/>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1" i="0" u="none" strike="noStrike" cap="none">
                <a:solidFill>
                  <a:srgbClr val="202120"/>
                </a:solidFill>
                <a:latin typeface="Source Sans Pro Semibold"/>
                <a:ea typeface="Source Sans Pro Semibold"/>
                <a:cs typeface="Source Sans Pro Semibold"/>
                <a:sym typeface="Source Sans Pro SemiBold"/>
              </a:rPr>
              <a:t>Week </a:t>
            </a:r>
            <a:r>
              <a:rPr lang="en-US" sz="900" b="1">
                <a:solidFill>
                  <a:srgbClr val="202120"/>
                </a:solidFill>
                <a:latin typeface="Source Sans Pro Semibold"/>
                <a:ea typeface="Source Sans Pro Semibold"/>
                <a:cs typeface="Source Sans Pro Semibold"/>
                <a:sym typeface="Source Sans Pro SemiBold"/>
              </a:rPr>
              <a:t>12</a:t>
            </a:r>
            <a:r>
              <a:rPr lang="en-US" sz="900" b="1" i="0" u="none" strike="noStrike" cap="none">
                <a:solidFill>
                  <a:srgbClr val="202120"/>
                </a:solidFill>
                <a:latin typeface="Source Sans Pro Semibold"/>
                <a:ea typeface="Source Sans Pro Semibold"/>
                <a:cs typeface="Source Sans Pro Semibold"/>
                <a:sym typeface="Source Sans Pro SemiBold"/>
              </a:rPr>
              <a:t>: 04/06-04/13</a:t>
            </a:r>
            <a:endParaRPr sz="900" b="1" i="0" u="none" strike="noStrike" cap="none">
              <a:solidFill>
                <a:srgbClr val="202120"/>
              </a:solidFill>
              <a:latin typeface="Source Sans Pro Semibold"/>
              <a:ea typeface="Source Sans Pro Semibold"/>
              <a:cs typeface="Source Sans Pro Semibold"/>
              <a:sym typeface="Source Sans Pro SemiBold"/>
            </a:endParaRPr>
          </a:p>
        </p:txBody>
      </p:sp>
      <p:sp>
        <p:nvSpPr>
          <p:cNvPr id="7" name="Google Shape;362;p7">
            <a:extLst>
              <a:ext uri="{FF2B5EF4-FFF2-40B4-BE49-F238E27FC236}">
                <a16:creationId xmlns:a16="http://schemas.microsoft.com/office/drawing/2014/main" id="{5DF7A6A0-D36F-9C0D-FC32-D8A5B2095478}"/>
              </a:ext>
            </a:extLst>
          </p:cNvPr>
          <p:cNvSpPr txBox="1"/>
          <p:nvPr/>
        </p:nvSpPr>
        <p:spPr>
          <a:xfrm>
            <a:off x="3818384" y="2137438"/>
            <a:ext cx="656498" cy="276999"/>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1" i="0" u="none" strike="noStrike" cap="none">
                <a:solidFill>
                  <a:srgbClr val="202120"/>
                </a:solidFill>
                <a:latin typeface="Source Sans Pro Semibold"/>
                <a:ea typeface="Source Sans Pro Semibold"/>
                <a:cs typeface="Source Sans Pro Semibold"/>
                <a:sym typeface="Source Sans Pro SemiBold"/>
              </a:rPr>
              <a:t>Week 13: 04/13-04/20</a:t>
            </a:r>
            <a:endParaRPr sz="900" b="1" i="0" u="none" strike="noStrike" cap="none">
              <a:solidFill>
                <a:srgbClr val="202120"/>
              </a:solidFill>
              <a:latin typeface="Source Sans Pro Semibold"/>
              <a:ea typeface="Source Sans Pro Semibold"/>
              <a:cs typeface="Source Sans Pro Semibold"/>
              <a:sym typeface="Source Sans Pro SemiBold"/>
            </a:endParaRPr>
          </a:p>
        </p:txBody>
      </p:sp>
      <p:sp>
        <p:nvSpPr>
          <p:cNvPr id="73" name="Google Shape;404;p7">
            <a:extLst>
              <a:ext uri="{FF2B5EF4-FFF2-40B4-BE49-F238E27FC236}">
                <a16:creationId xmlns:a16="http://schemas.microsoft.com/office/drawing/2014/main" id="{89445BD3-1B41-3C1F-F8A5-517CFDC14467}"/>
              </a:ext>
            </a:extLst>
          </p:cNvPr>
          <p:cNvSpPr/>
          <p:nvPr/>
        </p:nvSpPr>
        <p:spPr>
          <a:xfrm>
            <a:off x="1328675" y="5273245"/>
            <a:ext cx="5021859" cy="261794"/>
          </a:xfrm>
          <a:prstGeom prst="rect">
            <a:avLst/>
          </a:prstGeom>
          <a:solidFill>
            <a:schemeClr val="accent6"/>
          </a:solidFill>
          <a:ln w="9525" cap="flat" cmpd="sng">
            <a:solidFill>
              <a:schemeClr val="lt1"/>
            </a:solidFill>
            <a:prstDash val="solid"/>
            <a:round/>
            <a:headEnd type="none" w="sm" len="sm"/>
            <a:tailEnd type="none" w="sm" len="sm"/>
          </a:ln>
        </p:spPr>
        <p:txBody>
          <a:bodyPr spcFirstLastPara="1" wrap="square" lIns="60950" tIns="60925" rIns="60950" bIns="60925" anchor="ctr" anchorCtr="0">
            <a:noAutofit/>
          </a:bodyPr>
          <a:lstStyle/>
          <a:p>
            <a:r>
              <a:rPr lang="en-US" sz="850">
                <a:solidFill>
                  <a:schemeClr val="accent1"/>
                </a:solidFill>
                <a:latin typeface="Source Sans Pro"/>
                <a:ea typeface="Source Sans Pro"/>
              </a:rPr>
              <a:t>CC Current Technology Landscape</a:t>
            </a:r>
          </a:p>
        </p:txBody>
      </p:sp>
      <p:sp>
        <p:nvSpPr>
          <p:cNvPr id="74" name="Google Shape;404;p7">
            <a:extLst>
              <a:ext uri="{FF2B5EF4-FFF2-40B4-BE49-F238E27FC236}">
                <a16:creationId xmlns:a16="http://schemas.microsoft.com/office/drawing/2014/main" id="{39CD1502-9BEF-1CCF-2021-BDFA727CFEB4}"/>
              </a:ext>
            </a:extLst>
          </p:cNvPr>
          <p:cNvSpPr/>
          <p:nvPr/>
        </p:nvSpPr>
        <p:spPr>
          <a:xfrm>
            <a:off x="1334447" y="5619610"/>
            <a:ext cx="5021859" cy="267565"/>
          </a:xfrm>
          <a:prstGeom prst="rect">
            <a:avLst/>
          </a:prstGeom>
          <a:solidFill>
            <a:schemeClr val="accent6"/>
          </a:solidFill>
          <a:ln w="9525" cap="flat" cmpd="sng">
            <a:solidFill>
              <a:schemeClr val="lt1"/>
            </a:solidFill>
            <a:prstDash val="solid"/>
            <a:round/>
            <a:headEnd type="none" w="sm" len="sm"/>
            <a:tailEnd type="none" w="sm" len="sm"/>
          </a:ln>
        </p:spPr>
        <p:txBody>
          <a:bodyPr spcFirstLastPara="1" wrap="square" lIns="60950" tIns="60925" rIns="60950" bIns="60925" anchor="ctr" anchorCtr="0">
            <a:noAutofit/>
          </a:bodyPr>
          <a:lstStyle/>
          <a:p>
            <a:r>
              <a:rPr lang="en-US" sz="850">
                <a:solidFill>
                  <a:schemeClr val="accent1"/>
                </a:solidFill>
                <a:latin typeface="Source Sans Pro"/>
                <a:ea typeface="Source Sans Pro"/>
              </a:rPr>
              <a:t>Tech Interviews</a:t>
            </a:r>
            <a:endParaRPr lang="en-US"/>
          </a:p>
        </p:txBody>
      </p:sp>
    </p:spTree>
    <p:extLst>
      <p:ext uri="{BB962C8B-B14F-4D97-AF65-F5344CB8AC3E}">
        <p14:creationId xmlns:p14="http://schemas.microsoft.com/office/powerpoint/2010/main" val="276458237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52A157-2CB8-6DCB-8D3B-00713BF25DCA}"/>
              </a:ext>
            </a:extLst>
          </p:cNvPr>
          <p:cNvSpPr>
            <a:spLocks noGrp="1"/>
          </p:cNvSpPr>
          <p:nvPr>
            <p:ph type="title"/>
          </p:nvPr>
        </p:nvSpPr>
        <p:spPr>
          <a:xfrm>
            <a:off x="320246" y="721837"/>
            <a:ext cx="11353800" cy="746983"/>
          </a:xfrm>
        </p:spPr>
        <p:txBody>
          <a:bodyPr>
            <a:normAutofit fontScale="90000"/>
          </a:bodyPr>
          <a:lstStyle/>
          <a:p>
            <a:r>
              <a:rPr lang="en-US"/>
              <a:t>We conducted a high-level technical discovery into the systems that drive Community Care</a:t>
            </a:r>
          </a:p>
        </p:txBody>
      </p:sp>
      <p:sp>
        <p:nvSpPr>
          <p:cNvPr id="4" name="Slide Number Placeholder 3">
            <a:extLst>
              <a:ext uri="{FF2B5EF4-FFF2-40B4-BE49-F238E27FC236}">
                <a16:creationId xmlns:a16="http://schemas.microsoft.com/office/drawing/2014/main" id="{EF30D916-BF44-FCC1-0C2B-6AE80D374176}"/>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US"/>
              <a:t>18</a:t>
            </a:fld>
            <a:endParaRPr lang="en-US"/>
          </a:p>
        </p:txBody>
      </p:sp>
      <p:sp>
        <p:nvSpPr>
          <p:cNvPr id="5" name="Google Shape;605;p14">
            <a:extLst>
              <a:ext uri="{FF2B5EF4-FFF2-40B4-BE49-F238E27FC236}">
                <a16:creationId xmlns:a16="http://schemas.microsoft.com/office/drawing/2014/main" id="{36D64229-262E-4A6E-9C18-00F422DCB439}"/>
              </a:ext>
            </a:extLst>
          </p:cNvPr>
          <p:cNvSpPr txBox="1"/>
          <p:nvPr/>
        </p:nvSpPr>
        <p:spPr>
          <a:xfrm>
            <a:off x="419176" y="1926807"/>
            <a:ext cx="9649287" cy="991041"/>
          </a:xfrm>
          <a:prstGeom prst="rect">
            <a:avLst/>
          </a:prstGeom>
          <a:noFill/>
          <a:ln>
            <a:noFill/>
          </a:ln>
        </p:spPr>
        <p:txBody>
          <a:bodyPr spcFirstLastPara="1" wrap="square" lIns="0" tIns="0" rIns="0" bIns="0" anchor="t" anchorCtr="0">
            <a:spAutoFit/>
          </a:bodyPr>
          <a:lstStyle/>
          <a:p>
            <a:pPr>
              <a:lnSpc>
                <a:spcPct val="115000"/>
              </a:lnSpc>
              <a:buSzPts val="1400"/>
            </a:pPr>
            <a:r>
              <a:rPr lang="en-US" b="0" i="0" strike="noStrike" cap="none">
                <a:solidFill>
                  <a:schemeClr val="tx1"/>
                </a:solidFill>
                <a:latin typeface="PT Serif"/>
                <a:ea typeface="PT Serif"/>
                <a:cs typeface="PT Serif"/>
                <a:sym typeface="PT Serif"/>
                <a:hlinkClick r:id="rId2"/>
              </a:rPr>
              <a:t>User Story</a:t>
            </a:r>
            <a:r>
              <a:rPr lang="en-US" b="0" i="0" strike="noStrike" cap="none">
                <a:solidFill>
                  <a:schemeClr val="tx1"/>
                </a:solidFill>
                <a:latin typeface="PT Serif"/>
                <a:ea typeface="PT Serif"/>
                <a:cs typeface="PT Serif"/>
                <a:sym typeface="PT Serif"/>
              </a:rPr>
              <a:t>: </a:t>
            </a:r>
            <a:r>
              <a:rPr lang="en-US" b="0" i="0" strike="noStrike" cap="none">
                <a:solidFill>
                  <a:schemeClr val="tx1">
                    <a:lumMod val="50000"/>
                    <a:lumOff val="50000"/>
                  </a:schemeClr>
                </a:solidFill>
                <a:latin typeface="PT Serif"/>
                <a:ea typeface="PT Serif"/>
                <a:cs typeface="PT Serif"/>
                <a:sym typeface="PT Serif"/>
              </a:rPr>
              <a:t>CC: Iterate journey map based on additional findings from discovery activities</a:t>
            </a:r>
            <a:endParaRPr lang="en-US">
              <a:solidFill>
                <a:schemeClr val="tx1">
                  <a:lumMod val="50000"/>
                  <a:lumOff val="50000"/>
                </a:schemeClr>
              </a:solidFill>
            </a:endParaRPr>
          </a:p>
          <a:p>
            <a:pPr>
              <a:lnSpc>
                <a:spcPct val="115000"/>
              </a:lnSpc>
              <a:buSzPts val="1400"/>
            </a:pPr>
            <a:r>
              <a:rPr lang="en-US" b="0" i="0" strike="noStrike" cap="none">
                <a:solidFill>
                  <a:schemeClr val="tx1"/>
                </a:solidFill>
                <a:latin typeface="PT Serif"/>
                <a:ea typeface="PT Serif"/>
                <a:cs typeface="PT Serif"/>
                <a:sym typeface="PT Serif"/>
                <a:hlinkClick r:id="rId3"/>
              </a:rPr>
              <a:t>User Story</a:t>
            </a:r>
            <a:r>
              <a:rPr lang="en-US" b="0" i="0" strike="noStrike" cap="none">
                <a:solidFill>
                  <a:schemeClr val="tx1"/>
                </a:solidFill>
                <a:latin typeface="PT Serif"/>
                <a:ea typeface="PT Serif"/>
                <a:cs typeface="PT Serif"/>
                <a:sym typeface="PT Serif"/>
              </a:rPr>
              <a:t>: </a:t>
            </a:r>
            <a:r>
              <a:rPr lang="en-US" b="0" i="0" strike="noStrike" cap="none">
                <a:solidFill>
                  <a:schemeClr val="tx1">
                    <a:lumMod val="50000"/>
                    <a:lumOff val="50000"/>
                  </a:schemeClr>
                </a:solidFill>
                <a:latin typeface="PT Serif"/>
                <a:ea typeface="PT Serif"/>
                <a:cs typeface="PT Serif"/>
                <a:sym typeface="PT Serif"/>
              </a:rPr>
              <a:t>CC: Deeper dive into technical discovery with business partners(s)</a:t>
            </a:r>
          </a:p>
          <a:p>
            <a:pPr>
              <a:lnSpc>
                <a:spcPct val="115000"/>
              </a:lnSpc>
              <a:buSzPts val="1400"/>
            </a:pPr>
            <a:r>
              <a:rPr lang="en-US" b="0" i="0" strike="noStrike" cap="none">
                <a:solidFill>
                  <a:schemeClr val="tx1"/>
                </a:solidFill>
                <a:latin typeface="PT Serif"/>
                <a:ea typeface="PT Serif"/>
                <a:cs typeface="PT Serif"/>
                <a:sym typeface="PT Serif"/>
                <a:hlinkClick r:id="rId4"/>
              </a:rPr>
              <a:t>User Story</a:t>
            </a:r>
            <a:r>
              <a:rPr lang="en-US" b="0" i="0" strike="noStrike" cap="none">
                <a:solidFill>
                  <a:schemeClr val="tx1"/>
                </a:solidFill>
                <a:latin typeface="PT Serif"/>
                <a:ea typeface="PT Serif"/>
                <a:cs typeface="PT Serif"/>
                <a:sym typeface="PT Serif"/>
              </a:rPr>
              <a:t>: </a:t>
            </a:r>
            <a:r>
              <a:rPr lang="en-US" b="0" i="0" strike="noStrike" cap="none">
                <a:solidFill>
                  <a:schemeClr val="tx1">
                    <a:lumMod val="50000"/>
                    <a:lumOff val="50000"/>
                  </a:schemeClr>
                </a:solidFill>
                <a:latin typeface="PT Serif"/>
                <a:ea typeface="PT Serif"/>
                <a:cs typeface="PT Serif"/>
                <a:sym typeface="PT Serif"/>
              </a:rPr>
              <a:t>CC: Overlay tech finding(s) on journey map</a:t>
            </a:r>
          </a:p>
          <a:p>
            <a:pPr>
              <a:lnSpc>
                <a:spcPct val="115000"/>
              </a:lnSpc>
              <a:buSzPts val="1400"/>
            </a:pPr>
            <a:r>
              <a:rPr lang="en-US" b="0" i="0" strike="noStrike" cap="none">
                <a:solidFill>
                  <a:schemeClr val="tx1"/>
                </a:solidFill>
                <a:latin typeface="PT Serif"/>
                <a:ea typeface="PT Serif"/>
                <a:cs typeface="PT Serif"/>
                <a:sym typeface="PT Serif"/>
                <a:hlinkClick r:id="rId5"/>
              </a:rPr>
              <a:t>User Story</a:t>
            </a:r>
            <a:r>
              <a:rPr lang="en-US" b="0" i="0" strike="noStrike" cap="none">
                <a:solidFill>
                  <a:schemeClr val="tx1"/>
                </a:solidFill>
                <a:latin typeface="PT Serif"/>
                <a:ea typeface="PT Serif"/>
                <a:cs typeface="PT Serif"/>
                <a:sym typeface="PT Serif"/>
              </a:rPr>
              <a:t>: </a:t>
            </a:r>
            <a:r>
              <a:rPr lang="en-US">
                <a:solidFill>
                  <a:schemeClr val="tx1">
                    <a:lumMod val="50000"/>
                    <a:lumOff val="50000"/>
                  </a:schemeClr>
                </a:solidFill>
                <a:latin typeface="PT Serif"/>
                <a:ea typeface="PT Serif"/>
                <a:cs typeface="PT Serif"/>
                <a:sym typeface="PT Serif"/>
              </a:rPr>
              <a:t>CC: Draft high-level current state of data elements (system of records)</a:t>
            </a:r>
            <a:endParaRPr lang="en-US" b="0" i="0" strike="noStrike" cap="none">
              <a:solidFill>
                <a:schemeClr val="tx1">
                  <a:lumMod val="50000"/>
                  <a:lumOff val="50000"/>
                </a:schemeClr>
              </a:solidFill>
              <a:latin typeface="PT Serif"/>
              <a:ea typeface="PT Serif"/>
              <a:cs typeface="PT Serif"/>
              <a:sym typeface="PT Serif"/>
            </a:endParaRPr>
          </a:p>
        </p:txBody>
      </p:sp>
      <p:grpSp>
        <p:nvGrpSpPr>
          <p:cNvPr id="6" name="Google Shape;602;p14">
            <a:extLst>
              <a:ext uri="{FF2B5EF4-FFF2-40B4-BE49-F238E27FC236}">
                <a16:creationId xmlns:a16="http://schemas.microsoft.com/office/drawing/2014/main" id="{E77083C8-F76C-4F07-B275-7CDA0DAD89E4}"/>
              </a:ext>
            </a:extLst>
          </p:cNvPr>
          <p:cNvGrpSpPr/>
          <p:nvPr/>
        </p:nvGrpSpPr>
        <p:grpSpPr>
          <a:xfrm>
            <a:off x="410431" y="309109"/>
            <a:ext cx="5150524" cy="369094"/>
            <a:chOff x="410431" y="309109"/>
            <a:chExt cx="5150524" cy="369094"/>
          </a:xfrm>
        </p:grpSpPr>
        <p:sp>
          <p:nvSpPr>
            <p:cNvPr id="7" name="Google Shape;603;p14">
              <a:extLst>
                <a:ext uri="{FF2B5EF4-FFF2-40B4-BE49-F238E27FC236}">
                  <a16:creationId xmlns:a16="http://schemas.microsoft.com/office/drawing/2014/main" id="{8D8EC8C6-E4D1-4DBB-983D-FE47EF3371A4}"/>
                </a:ext>
              </a:extLst>
            </p:cNvPr>
            <p:cNvSpPr/>
            <p:nvPr/>
          </p:nvSpPr>
          <p:spPr>
            <a:xfrm>
              <a:off x="410431" y="313703"/>
              <a:ext cx="255129" cy="263129"/>
            </a:xfrm>
            <a:prstGeom prst="ellipse">
              <a:avLst/>
            </a:prstGeom>
            <a:solidFill>
              <a:srgbClr val="014479"/>
            </a:solidFill>
            <a:ln>
              <a:noFill/>
            </a:ln>
          </p:spPr>
          <p:txBody>
            <a:bodyPr spcFirstLastPara="1" wrap="square" lIns="0" tIns="0" rIns="0" bIns="0" anchor="ctr" anchorCtr="1">
              <a:noAutofit/>
            </a:bodyPr>
            <a:lstStyle/>
            <a:p>
              <a:pPr marL="0" marR="0" lvl="0" indent="0" algn="ctr" rtl="0">
                <a:lnSpc>
                  <a:spcPct val="100000"/>
                </a:lnSpc>
                <a:spcBef>
                  <a:spcPts val="0"/>
                </a:spcBef>
                <a:spcAft>
                  <a:spcPts val="0"/>
                </a:spcAft>
                <a:buClr>
                  <a:srgbClr val="FFFFFF"/>
                </a:buClr>
                <a:buSzPts val="3600"/>
                <a:buFont typeface="PT Serif"/>
                <a:buNone/>
              </a:pPr>
              <a:r>
                <a:rPr lang="en-US" sz="1200">
                  <a:solidFill>
                    <a:srgbClr val="FFFFFF"/>
                  </a:solidFill>
                  <a:latin typeface="PT Serif"/>
                </a:rPr>
                <a:t>2</a:t>
              </a:r>
              <a:endParaRPr lang="en-US" sz="1200" b="0" i="0" u="none" strike="noStrike" cap="none">
                <a:solidFill>
                  <a:srgbClr val="FFFFFF"/>
                </a:solidFill>
                <a:latin typeface="PT Serif"/>
                <a:ea typeface="Arial"/>
                <a:cs typeface="Arial"/>
              </a:endParaRPr>
            </a:p>
          </p:txBody>
        </p:sp>
        <p:sp>
          <p:nvSpPr>
            <p:cNvPr id="8" name="Google Shape;604;p14">
              <a:extLst>
                <a:ext uri="{FF2B5EF4-FFF2-40B4-BE49-F238E27FC236}">
                  <a16:creationId xmlns:a16="http://schemas.microsoft.com/office/drawing/2014/main" id="{0C428FE0-CEA6-4B06-818A-B15A33773397}"/>
                </a:ext>
              </a:extLst>
            </p:cNvPr>
            <p:cNvSpPr txBox="1"/>
            <p:nvPr/>
          </p:nvSpPr>
          <p:spPr>
            <a:xfrm>
              <a:off x="736498" y="309109"/>
              <a:ext cx="4824457" cy="369094"/>
            </a:xfrm>
            <a:prstGeom prst="rect">
              <a:avLst/>
            </a:prstGeom>
            <a:noFill/>
            <a:ln>
              <a:noFill/>
            </a:ln>
          </p:spPr>
          <p:txBody>
            <a:bodyPr spcFirstLastPara="1" wrap="square" lIns="0" tIns="45700" rIns="0" bIns="45700" anchor="t" anchorCtr="0">
              <a:normAutofit/>
            </a:bodyPr>
            <a:lstStyle/>
            <a:p>
              <a:pPr>
                <a:buSzPts val="1400"/>
              </a:pPr>
              <a:r>
                <a:rPr lang="en-US">
                  <a:solidFill>
                    <a:srgbClr val="0071BF"/>
                  </a:solidFill>
                  <a:latin typeface="Source Sans Pro"/>
                  <a:ea typeface="Source Sans Pro"/>
                </a:rPr>
                <a:t>TECH</a:t>
              </a:r>
              <a:endParaRPr lang="en-US" sz="1400" b="0" i="0" u="none" strike="noStrike" cap="none">
                <a:solidFill>
                  <a:srgbClr val="0071BF"/>
                </a:solidFill>
                <a:latin typeface="Source Sans Pro"/>
                <a:ea typeface="Source Sans Pro"/>
              </a:endParaRPr>
            </a:p>
          </p:txBody>
        </p:sp>
      </p:grpSp>
      <p:sp>
        <p:nvSpPr>
          <p:cNvPr id="9" name="Google Shape;337;p6">
            <a:extLst>
              <a:ext uri="{FF2B5EF4-FFF2-40B4-BE49-F238E27FC236}">
                <a16:creationId xmlns:a16="http://schemas.microsoft.com/office/drawing/2014/main" id="{1673559D-641B-CEF7-656B-BA67BB200460}"/>
              </a:ext>
            </a:extLst>
          </p:cNvPr>
          <p:cNvSpPr txBox="1"/>
          <p:nvPr/>
        </p:nvSpPr>
        <p:spPr>
          <a:xfrm>
            <a:off x="419100" y="6408650"/>
            <a:ext cx="2723465" cy="276999"/>
          </a:xfrm>
          <a:prstGeom prst="rect">
            <a:avLst/>
          </a:prstGeom>
          <a:noFill/>
          <a:ln>
            <a:noFill/>
          </a:ln>
        </p:spPr>
        <p:txBody>
          <a:bodyPr spcFirstLastPara="1" wrap="square" lIns="0" tIns="45700" rIns="91425" bIns="45700" anchor="t" anchorCtr="0">
            <a:spAutoFit/>
          </a:bodyPr>
          <a:lstStyle/>
          <a:p>
            <a:pPr marL="0" marR="0" lvl="0" indent="0" algn="l" rtl="0">
              <a:spcBef>
                <a:spcPts val="0"/>
              </a:spcBef>
              <a:spcAft>
                <a:spcPts val="0"/>
              </a:spcAft>
              <a:buNone/>
            </a:pPr>
            <a:r>
              <a:rPr lang="en-US" sz="1200" b="0" i="0" u="none" strike="noStrike" cap="none">
                <a:solidFill>
                  <a:srgbClr val="747C74"/>
                </a:solidFill>
                <a:latin typeface="Source Sans Pro"/>
                <a:ea typeface="Source Sans Pro"/>
                <a:cs typeface="Source Sans Pro"/>
                <a:sym typeface="Source Sans Pro"/>
              </a:rPr>
              <a:t>04-19 Sprint 6 Demo</a:t>
            </a:r>
            <a:endParaRPr sz="1200" b="0" i="0" u="none" strike="noStrike" cap="none">
              <a:solidFill>
                <a:srgbClr val="747C74"/>
              </a:solidFill>
              <a:latin typeface="Calibri"/>
              <a:ea typeface="Calibri"/>
              <a:cs typeface="Calibri"/>
              <a:sym typeface="Calibri"/>
            </a:endParaRPr>
          </a:p>
        </p:txBody>
      </p:sp>
      <p:sp>
        <p:nvSpPr>
          <p:cNvPr id="16" name="Google Shape;264;p4">
            <a:extLst>
              <a:ext uri="{FF2B5EF4-FFF2-40B4-BE49-F238E27FC236}">
                <a16:creationId xmlns:a16="http://schemas.microsoft.com/office/drawing/2014/main" id="{B45C34C9-EDCA-4783-9C15-8952930EA831}"/>
              </a:ext>
            </a:extLst>
          </p:cNvPr>
          <p:cNvSpPr txBox="1"/>
          <p:nvPr/>
        </p:nvSpPr>
        <p:spPr>
          <a:xfrm>
            <a:off x="8917360" y="6408650"/>
            <a:ext cx="2723465" cy="276999"/>
          </a:xfrm>
          <a:prstGeom prst="rect">
            <a:avLst/>
          </a:prstGeom>
          <a:noFill/>
          <a:ln>
            <a:noFill/>
          </a:ln>
        </p:spPr>
        <p:txBody>
          <a:bodyPr spcFirstLastPara="1" wrap="square" lIns="91425" tIns="45700" rIns="91425" bIns="45700" anchor="t" anchorCtr="0">
            <a:spAutoFit/>
          </a:bodyPr>
          <a:lstStyle/>
          <a:p>
            <a:pPr algn="r"/>
            <a:r>
              <a:rPr lang="en-US" sz="1200">
                <a:solidFill>
                  <a:srgbClr val="747C74"/>
                </a:solidFill>
                <a:latin typeface="Source Sans Pro"/>
                <a:ea typeface="Source Sans Pro"/>
                <a:sym typeface="Source Sans Pro"/>
              </a:rPr>
              <a:t>Community Care</a:t>
            </a:r>
            <a:endParaRPr lang="en-US"/>
          </a:p>
        </p:txBody>
      </p:sp>
      <p:sp>
        <p:nvSpPr>
          <p:cNvPr id="17" name="Text Placeholder 2">
            <a:extLst>
              <a:ext uri="{FF2B5EF4-FFF2-40B4-BE49-F238E27FC236}">
                <a16:creationId xmlns:a16="http://schemas.microsoft.com/office/drawing/2014/main" id="{16623418-AEE4-4D13-9926-C0DB516429A9}"/>
              </a:ext>
            </a:extLst>
          </p:cNvPr>
          <p:cNvSpPr>
            <a:spLocks noGrp="1"/>
          </p:cNvSpPr>
          <p:nvPr>
            <p:ph type="body" idx="1"/>
          </p:nvPr>
        </p:nvSpPr>
        <p:spPr>
          <a:xfrm>
            <a:off x="119268" y="3115018"/>
            <a:ext cx="10791593" cy="629324"/>
          </a:xfrm>
        </p:spPr>
        <p:txBody>
          <a:bodyPr>
            <a:normAutofit/>
          </a:bodyPr>
          <a:lstStyle/>
          <a:p>
            <a:pPr marL="139700" indent="0">
              <a:buNone/>
            </a:pPr>
            <a:r>
              <a:rPr lang="en-US" sz="1200"/>
              <a:t>We built a catalog of the sy</a:t>
            </a:r>
            <a:r>
              <a:rPr lang="en-US" sz="1200" b="1"/>
              <a:t>ste</a:t>
            </a:r>
            <a:r>
              <a:rPr lang="en-US" sz="1200"/>
              <a:t>ms that are used in Community care, mostly using online publicly-available sources of information. We had a few conversations with other technology teams to validate and expand on information we'd found.  </a:t>
            </a:r>
            <a:endParaRPr lang="en-US"/>
          </a:p>
          <a:p>
            <a:pPr marL="139700" indent="0">
              <a:buNone/>
            </a:pPr>
            <a:endParaRPr lang="en-US" sz="1200"/>
          </a:p>
        </p:txBody>
      </p:sp>
      <p:sp>
        <p:nvSpPr>
          <p:cNvPr id="18" name="Google Shape;609;p14">
            <a:extLst>
              <a:ext uri="{FF2B5EF4-FFF2-40B4-BE49-F238E27FC236}">
                <a16:creationId xmlns:a16="http://schemas.microsoft.com/office/drawing/2014/main" id="{B370B159-D794-4F64-86E6-5EB05042EAF3}"/>
              </a:ext>
            </a:extLst>
          </p:cNvPr>
          <p:cNvSpPr txBox="1"/>
          <p:nvPr/>
        </p:nvSpPr>
        <p:spPr>
          <a:xfrm>
            <a:off x="6813475" y="5975619"/>
            <a:ext cx="2743200" cy="461624"/>
          </a:xfrm>
          <a:prstGeom prst="rect">
            <a:avLst/>
          </a:prstGeom>
          <a:noFill/>
          <a:ln>
            <a:noFill/>
          </a:ln>
        </p:spPr>
        <p:txBody>
          <a:bodyPr spcFirstLastPara="1" wrap="square" lIns="91425" tIns="45700" rIns="91425" bIns="45700" anchor="t" anchorCtr="0">
            <a:spAutoFit/>
          </a:bodyPr>
          <a:lstStyle/>
          <a:p>
            <a:pPr>
              <a:buSzPts val="1400"/>
            </a:pPr>
            <a:r>
              <a:rPr lang="en-US" sz="1200">
                <a:latin typeface="Source Sans Pro"/>
                <a:ea typeface="Source Sans Pro"/>
                <a:hlinkClick r:id="rId6"/>
              </a:rPr>
              <a:t>Systems</a:t>
            </a:r>
            <a:r>
              <a:rPr lang="en-US" sz="1200">
                <a:latin typeface="Source Sans Pro"/>
                <a:ea typeface="Source Sans Pro"/>
                <a:hlinkClick r:id="rId6">
                  <a:extLst>
                    <a:ext uri="{A12FA001-AC4F-418D-AE19-62706E023703}">
                      <ahyp:hlinkClr xmlns:ahyp="http://schemas.microsoft.com/office/drawing/2018/hyperlinkcolor" val="tx"/>
                    </a:ext>
                  </a:extLst>
                </a:hlinkClick>
              </a:rPr>
              <a:t> touchpoints are overlaid on the journey </a:t>
            </a:r>
            <a:r>
              <a:rPr lang="en-US" sz="1200">
                <a:solidFill>
                  <a:srgbClr val="000000"/>
                </a:solidFill>
                <a:latin typeface="Source Sans Pro"/>
                <a:ea typeface="Source Sans Pro"/>
                <a:sym typeface="Arial"/>
                <a:hlinkClick r:id="rId6"/>
              </a:rPr>
              <a:t>map</a:t>
            </a:r>
            <a:r>
              <a:rPr lang="en-US" sz="1200">
                <a:latin typeface="Source Sans Pro"/>
                <a:ea typeface="Source Sans Pro"/>
              </a:rPr>
              <a:t> </a:t>
            </a:r>
            <a:endParaRPr lang="en-US"/>
          </a:p>
        </p:txBody>
      </p:sp>
      <p:pic>
        <p:nvPicPr>
          <p:cNvPr id="10" name="Picture 10" descr="Graphical user interface, text, application&#10;&#10;Description automatically generated">
            <a:extLst>
              <a:ext uri="{FF2B5EF4-FFF2-40B4-BE49-F238E27FC236}">
                <a16:creationId xmlns:a16="http://schemas.microsoft.com/office/drawing/2014/main" id="{3E992C56-5033-88A7-667E-FA2E4A8AEF15}"/>
              </a:ext>
            </a:extLst>
          </p:cNvPr>
          <p:cNvPicPr>
            <a:picLocks noChangeAspect="1"/>
          </p:cNvPicPr>
          <p:nvPr/>
        </p:nvPicPr>
        <p:blipFill>
          <a:blip r:embed="rId7"/>
          <a:stretch>
            <a:fillRect/>
          </a:stretch>
        </p:blipFill>
        <p:spPr>
          <a:xfrm>
            <a:off x="317654" y="3629550"/>
            <a:ext cx="6406307" cy="2288852"/>
          </a:xfrm>
          <a:prstGeom prst="rect">
            <a:avLst/>
          </a:prstGeom>
        </p:spPr>
      </p:pic>
      <p:sp>
        <p:nvSpPr>
          <p:cNvPr id="12" name="TextBox 11">
            <a:extLst>
              <a:ext uri="{FF2B5EF4-FFF2-40B4-BE49-F238E27FC236}">
                <a16:creationId xmlns:a16="http://schemas.microsoft.com/office/drawing/2014/main" id="{11A97723-78EB-2746-C449-97F68B2B20F8}"/>
              </a:ext>
            </a:extLst>
          </p:cNvPr>
          <p:cNvSpPr txBox="1"/>
          <p:nvPr/>
        </p:nvSpPr>
        <p:spPr>
          <a:xfrm>
            <a:off x="317653" y="5972978"/>
            <a:ext cx="2743200" cy="30777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a:solidFill>
                  <a:srgbClr val="0071C0"/>
                </a:solidFill>
                <a:latin typeface="Source Sans Pro"/>
                <a:cs typeface="Segoe UI"/>
                <a:hlinkClick r:id="rId8"/>
              </a:rPr>
              <a:t>Technical discovery</a:t>
            </a:r>
            <a:r>
              <a:rPr lang="en-US">
                <a:solidFill>
                  <a:srgbClr val="0071C0"/>
                </a:solidFill>
                <a:ea typeface="Source Sans Pro"/>
                <a:cs typeface="Segoe UI"/>
                <a:hlinkClick r:id="rId8"/>
              </a:rPr>
              <a:t> document</a:t>
            </a:r>
            <a:r>
              <a:rPr lang="en-US">
                <a:latin typeface="Source Sans Pro"/>
                <a:ea typeface="Source Sans Pro"/>
              </a:rPr>
              <a:t>​</a:t>
            </a:r>
            <a:endParaRPr lang="en-US"/>
          </a:p>
        </p:txBody>
      </p:sp>
      <p:pic>
        <p:nvPicPr>
          <p:cNvPr id="13" name="Picture 13">
            <a:extLst>
              <a:ext uri="{FF2B5EF4-FFF2-40B4-BE49-F238E27FC236}">
                <a16:creationId xmlns:a16="http://schemas.microsoft.com/office/drawing/2014/main" id="{ADA510CB-1F13-998E-5596-6A5EB814B6B1}"/>
              </a:ext>
            </a:extLst>
          </p:cNvPr>
          <p:cNvPicPr>
            <a:picLocks noChangeAspect="1"/>
          </p:cNvPicPr>
          <p:nvPr/>
        </p:nvPicPr>
        <p:blipFill>
          <a:blip r:embed="rId9"/>
          <a:stretch>
            <a:fillRect/>
          </a:stretch>
        </p:blipFill>
        <p:spPr>
          <a:xfrm>
            <a:off x="6762520" y="3836496"/>
            <a:ext cx="5240355" cy="1213948"/>
          </a:xfrm>
          <a:prstGeom prst="rect">
            <a:avLst/>
          </a:prstGeom>
        </p:spPr>
      </p:pic>
    </p:spTree>
    <p:extLst>
      <p:ext uri="{BB962C8B-B14F-4D97-AF65-F5344CB8AC3E}">
        <p14:creationId xmlns:p14="http://schemas.microsoft.com/office/powerpoint/2010/main" val="60465421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Shape 459"/>
        <p:cNvGrpSpPr/>
        <p:nvPr/>
      </p:nvGrpSpPr>
      <p:grpSpPr>
        <a:xfrm>
          <a:off x="0" y="0"/>
          <a:ext cx="0" cy="0"/>
          <a:chOff x="0" y="0"/>
          <a:chExt cx="0" cy="0"/>
        </a:xfrm>
      </p:grpSpPr>
      <p:sp>
        <p:nvSpPr>
          <p:cNvPr id="460" name="Google Shape;460;p8"/>
          <p:cNvSpPr txBox="1">
            <a:spLocks noGrp="1"/>
          </p:cNvSpPr>
          <p:nvPr>
            <p:ph type="ctrTitle"/>
          </p:nvPr>
        </p:nvSpPr>
        <p:spPr>
          <a:xfrm>
            <a:off x="248880" y="2938176"/>
            <a:ext cx="7261656" cy="1632577"/>
          </a:xfrm>
          <a:prstGeom prst="rect">
            <a:avLst/>
          </a:prstGeom>
          <a:noFill/>
          <a:ln>
            <a:noFill/>
          </a:ln>
        </p:spPr>
        <p:txBody>
          <a:bodyPr spcFirstLastPara="1" wrap="square" lIns="91425" tIns="45700" rIns="91425" bIns="45700" anchor="t" anchorCtr="0">
            <a:noAutofit/>
          </a:bodyPr>
          <a:lstStyle/>
          <a:p>
            <a:r>
              <a:rPr lang="en-US"/>
              <a:t>Sprint Deliverables</a:t>
            </a:r>
          </a:p>
        </p:txBody>
      </p:sp>
      <p:sp>
        <p:nvSpPr>
          <p:cNvPr id="461" name="Google Shape;461;p8"/>
          <p:cNvSpPr txBox="1">
            <a:spLocks noGrp="1"/>
          </p:cNvSpPr>
          <p:nvPr>
            <p:ph type="body" idx="1"/>
          </p:nvPr>
        </p:nvSpPr>
        <p:spPr>
          <a:xfrm>
            <a:off x="341868" y="2523777"/>
            <a:ext cx="4246607" cy="366651"/>
          </a:xfrm>
          <a:prstGeom prst="rect">
            <a:avLst/>
          </a:prstGeom>
          <a:noFill/>
          <a:ln>
            <a:noFill/>
          </a:ln>
        </p:spPr>
        <p:txBody>
          <a:bodyPr spcFirstLastPara="1" wrap="square" lIns="91425" tIns="45700" rIns="91425" bIns="45700" anchor="t" anchorCtr="0">
            <a:normAutofit/>
          </a:bodyPr>
          <a:lstStyle/>
          <a:p>
            <a:pPr marL="0" lvl="0" indent="0" algn="l" rtl="0">
              <a:lnSpc>
                <a:spcPct val="90000"/>
              </a:lnSpc>
              <a:spcBef>
                <a:spcPts val="0"/>
              </a:spcBef>
              <a:spcAft>
                <a:spcPts val="0"/>
              </a:spcAft>
              <a:buClr>
                <a:schemeClr val="lt1"/>
              </a:buClr>
              <a:buSzPts val="1600"/>
              <a:buNone/>
            </a:pPr>
            <a:r>
              <a:rPr lang="en-US"/>
              <a:t>SPRINT 6 DEMO</a:t>
            </a:r>
            <a:endParaRPr/>
          </a:p>
        </p:txBody>
      </p:sp>
      <p:sp>
        <p:nvSpPr>
          <p:cNvPr id="462" name="Google Shape;462;p8"/>
          <p:cNvSpPr txBox="1">
            <a:spLocks noGrp="1"/>
          </p:cNvSpPr>
          <p:nvPr>
            <p:ph type="sldNum" idx="12"/>
          </p:nvPr>
        </p:nvSpPr>
        <p:spPr>
          <a:xfrm>
            <a:off x="11474969" y="6356350"/>
            <a:ext cx="406052" cy="365125"/>
          </a:xfrm>
          <a:prstGeom prst="rect">
            <a:avLst/>
          </a:prstGeom>
          <a:noFill/>
          <a:ln>
            <a:noFill/>
          </a:ln>
        </p:spPr>
        <p:txBody>
          <a:bodyPr spcFirstLastPara="1" wrap="square" lIns="91425" tIns="45700" rIns="91425" bIns="45700" anchor="ctr" anchorCtr="0">
            <a:noAutofit/>
          </a:bodyPr>
          <a:lstStyle/>
          <a:p>
            <a:pPr marL="0" lvl="0" indent="0" algn="r" rtl="0">
              <a:spcBef>
                <a:spcPts val="0"/>
              </a:spcBef>
              <a:spcAft>
                <a:spcPts val="0"/>
              </a:spcAft>
              <a:buNone/>
            </a:pPr>
            <a:fld id="{00000000-1234-1234-1234-123412341234}" type="slidenum">
              <a:rPr lang="en-US"/>
              <a:t>19</a:t>
            </a:fld>
            <a:endParaRPr/>
          </a:p>
        </p:txBody>
      </p:sp>
      <p:sp>
        <p:nvSpPr>
          <p:cNvPr id="2" name="Google Shape;265;p4">
            <a:extLst>
              <a:ext uri="{FF2B5EF4-FFF2-40B4-BE49-F238E27FC236}">
                <a16:creationId xmlns:a16="http://schemas.microsoft.com/office/drawing/2014/main" id="{820A4734-2A64-812C-44F5-9C35D9905FB2}"/>
              </a:ext>
            </a:extLst>
          </p:cNvPr>
          <p:cNvSpPr txBox="1"/>
          <p:nvPr/>
        </p:nvSpPr>
        <p:spPr>
          <a:xfrm>
            <a:off x="419100" y="6408650"/>
            <a:ext cx="2723465" cy="276999"/>
          </a:xfrm>
          <a:prstGeom prst="rect">
            <a:avLst/>
          </a:prstGeom>
          <a:noFill/>
          <a:ln>
            <a:noFill/>
          </a:ln>
        </p:spPr>
        <p:txBody>
          <a:bodyPr spcFirstLastPara="1" wrap="square" lIns="0" tIns="45700" rIns="91425" bIns="45700" anchor="t" anchorCtr="0">
            <a:spAutoFit/>
          </a:bodyPr>
          <a:lstStyle/>
          <a:p>
            <a:pPr marL="0" marR="0" lvl="0" indent="0" algn="l" rtl="0">
              <a:spcBef>
                <a:spcPts val="0"/>
              </a:spcBef>
              <a:spcAft>
                <a:spcPts val="0"/>
              </a:spcAft>
              <a:buNone/>
            </a:pPr>
            <a:r>
              <a:rPr lang="en-US" sz="1200" b="0" i="0" u="none" strike="noStrike" cap="none">
                <a:solidFill>
                  <a:srgbClr val="747C74"/>
                </a:solidFill>
                <a:latin typeface="Source Sans Pro"/>
                <a:ea typeface="Source Sans Pro"/>
                <a:cs typeface="Source Sans Pro"/>
                <a:sym typeface="Source Sans Pro"/>
              </a:rPr>
              <a:t>04-19 Sprint 6 Demo</a:t>
            </a:r>
            <a:endParaRPr sz="1800" b="0" i="0" u="none" strike="noStrike" cap="none">
              <a:solidFill>
                <a:srgbClr val="747C74"/>
              </a:solidFill>
              <a:latin typeface="Calibri"/>
              <a:ea typeface="Calibri"/>
              <a:cs typeface="Calibri"/>
              <a:sym typeface="Calibri"/>
            </a:endParaRPr>
          </a:p>
        </p:txBody>
      </p:sp>
    </p:spTree>
    <p:extLst>
      <p:ext uri="{BB962C8B-B14F-4D97-AF65-F5344CB8AC3E}">
        <p14:creationId xmlns:p14="http://schemas.microsoft.com/office/powerpoint/2010/main" val="110128774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190"/>
        <p:cNvGrpSpPr/>
        <p:nvPr/>
      </p:nvGrpSpPr>
      <p:grpSpPr>
        <a:xfrm>
          <a:off x="0" y="0"/>
          <a:ext cx="0" cy="0"/>
          <a:chOff x="0" y="0"/>
          <a:chExt cx="0" cy="0"/>
        </a:xfrm>
      </p:grpSpPr>
      <p:sp>
        <p:nvSpPr>
          <p:cNvPr id="191" name="Google Shape;191;p2"/>
          <p:cNvSpPr txBox="1">
            <a:spLocks noGrp="1"/>
          </p:cNvSpPr>
          <p:nvPr>
            <p:ph type="title"/>
          </p:nvPr>
        </p:nvSpPr>
        <p:spPr>
          <a:xfrm>
            <a:off x="312812" y="373491"/>
            <a:ext cx="11353800" cy="746983"/>
          </a:xfrm>
          <a:prstGeom prst="rect">
            <a:avLst/>
          </a:prstGeom>
          <a:noFill/>
          <a:ln>
            <a:noFill/>
          </a:ln>
        </p:spPr>
        <p:txBody>
          <a:bodyPr spcFirstLastPara="1" wrap="square" lIns="91425" tIns="45700" rIns="91425" bIns="45700" anchor="t" anchorCtr="0">
            <a:normAutofit/>
          </a:bodyPr>
          <a:lstStyle/>
          <a:p>
            <a:pPr marL="0" lvl="0" indent="0" algn="l" rtl="0">
              <a:lnSpc>
                <a:spcPct val="90000"/>
              </a:lnSpc>
              <a:spcBef>
                <a:spcPts val="0"/>
              </a:spcBef>
              <a:spcAft>
                <a:spcPts val="0"/>
              </a:spcAft>
              <a:buClr>
                <a:schemeClr val="dk1"/>
              </a:buClr>
              <a:buSzPts val="3600"/>
              <a:buFont typeface="PT Serif"/>
              <a:buNone/>
            </a:pPr>
            <a:r>
              <a:rPr lang="en-US" sz="3600">
                <a:latin typeface="PT Serif" panose="020A0603040505020204" pitchFamily="18" charset="0"/>
              </a:rPr>
              <a:t>Get to know the team</a:t>
            </a:r>
            <a:endParaRPr sz="3600">
              <a:latin typeface="PT Serif" panose="020A0603040505020204" pitchFamily="18" charset="0"/>
            </a:endParaRPr>
          </a:p>
        </p:txBody>
      </p:sp>
      <p:sp>
        <p:nvSpPr>
          <p:cNvPr id="192" name="Google Shape;192;p2"/>
          <p:cNvSpPr txBox="1">
            <a:spLocks noGrp="1"/>
          </p:cNvSpPr>
          <p:nvPr>
            <p:ph type="body" idx="4294967295"/>
          </p:nvPr>
        </p:nvSpPr>
        <p:spPr>
          <a:xfrm>
            <a:off x="419100" y="1253332"/>
            <a:ext cx="1446561" cy="277000"/>
          </a:xfrm>
          <a:prstGeom prst="rect">
            <a:avLst/>
          </a:prstGeom>
          <a:noFill/>
          <a:ln>
            <a:noFill/>
          </a:ln>
        </p:spPr>
        <p:txBody>
          <a:bodyPr spcFirstLastPara="1" wrap="square" lIns="0" tIns="45700" rIns="0" bIns="45700" anchor="t" anchorCtr="0">
            <a:noAutofit/>
          </a:bodyPr>
          <a:lstStyle/>
          <a:p>
            <a:pPr marL="0" lvl="0" indent="0" algn="l" rtl="0">
              <a:lnSpc>
                <a:spcPct val="90000"/>
              </a:lnSpc>
              <a:spcBef>
                <a:spcPts val="0"/>
              </a:spcBef>
              <a:spcAft>
                <a:spcPts val="0"/>
              </a:spcAft>
              <a:buClr>
                <a:schemeClr val="accent2"/>
              </a:buClr>
              <a:buSzPts val="1600"/>
              <a:buNone/>
            </a:pPr>
            <a:r>
              <a:rPr lang="en-US" sz="1600">
                <a:solidFill>
                  <a:schemeClr val="accent2"/>
                </a:solidFill>
              </a:rPr>
              <a:t>Core team</a:t>
            </a:r>
            <a:endParaRPr/>
          </a:p>
        </p:txBody>
      </p:sp>
      <p:sp>
        <p:nvSpPr>
          <p:cNvPr id="193" name="Google Shape;193;p2"/>
          <p:cNvSpPr txBox="1">
            <a:spLocks noGrp="1"/>
          </p:cNvSpPr>
          <p:nvPr>
            <p:ph type="sldNum" idx="12"/>
          </p:nvPr>
        </p:nvSpPr>
        <p:spPr>
          <a:xfrm>
            <a:off x="11474969" y="6356350"/>
            <a:ext cx="406052" cy="365125"/>
          </a:xfrm>
          <a:prstGeom prst="rect">
            <a:avLst/>
          </a:prstGeom>
          <a:noFill/>
          <a:ln>
            <a:noFill/>
          </a:ln>
        </p:spPr>
        <p:txBody>
          <a:bodyPr spcFirstLastPara="1" wrap="square" lIns="91425" tIns="45700" rIns="91425" bIns="45700" anchor="ctr" anchorCtr="0">
            <a:noAutofit/>
          </a:bodyPr>
          <a:lstStyle/>
          <a:p>
            <a:pPr marL="0" lvl="0" indent="0" algn="r" rtl="0">
              <a:spcBef>
                <a:spcPts val="0"/>
              </a:spcBef>
              <a:spcAft>
                <a:spcPts val="0"/>
              </a:spcAft>
              <a:buNone/>
            </a:pPr>
            <a:fld id="{00000000-1234-1234-1234-123412341234}" type="slidenum">
              <a:rPr lang="en-US">
                <a:latin typeface="Source Sans Pro"/>
                <a:ea typeface="Source Sans Pro"/>
                <a:cs typeface="Source Sans Pro"/>
                <a:sym typeface="Source Sans Pro"/>
              </a:rPr>
              <a:t>2</a:t>
            </a:fld>
            <a:endParaRPr>
              <a:latin typeface="Source Sans Pro"/>
              <a:ea typeface="Source Sans Pro"/>
              <a:cs typeface="Source Sans Pro"/>
              <a:sym typeface="Source Sans Pro"/>
            </a:endParaRPr>
          </a:p>
        </p:txBody>
      </p:sp>
      <p:sp>
        <p:nvSpPr>
          <p:cNvPr id="194" name="Google Shape;194;p2"/>
          <p:cNvSpPr txBox="1"/>
          <p:nvPr/>
        </p:nvSpPr>
        <p:spPr>
          <a:xfrm>
            <a:off x="8917360" y="6408650"/>
            <a:ext cx="2723465" cy="276959"/>
          </a:xfrm>
          <a:prstGeom prst="rect">
            <a:avLst/>
          </a:prstGeom>
          <a:noFill/>
          <a:ln>
            <a:noFill/>
          </a:ln>
        </p:spPr>
        <p:txBody>
          <a:bodyPr spcFirstLastPara="1" wrap="square" lIns="91425" tIns="45700" rIns="91425" bIns="45700" anchor="t" anchorCtr="0">
            <a:spAutoFit/>
          </a:bodyPr>
          <a:lstStyle/>
          <a:p>
            <a:pPr marL="0" marR="0" lvl="0" indent="0" algn="r" rtl="0">
              <a:spcBef>
                <a:spcPts val="0"/>
              </a:spcBef>
              <a:spcAft>
                <a:spcPts val="0"/>
              </a:spcAft>
              <a:buClr>
                <a:srgbClr val="747C74"/>
              </a:buClr>
              <a:buSzPts val="1200"/>
              <a:buFont typeface="Source Sans Pro"/>
              <a:buNone/>
            </a:pPr>
            <a:r>
              <a:rPr lang="en-US" sz="1200" b="0" i="0" u="none" strike="noStrike" cap="none">
                <a:solidFill>
                  <a:srgbClr val="747C74"/>
                </a:solidFill>
                <a:latin typeface="Source Sans Pro"/>
                <a:ea typeface="Source Sans Pro"/>
                <a:cs typeface="Source Sans Pro"/>
                <a:sym typeface="Source Sans Pro"/>
              </a:rPr>
              <a:t>Introduction</a:t>
            </a:r>
            <a:endParaRPr sz="1800" b="0" i="0" u="none" strike="noStrike" cap="none">
              <a:solidFill>
                <a:schemeClr val="dk1"/>
              </a:solidFill>
              <a:latin typeface="Calibri"/>
              <a:ea typeface="Calibri"/>
              <a:cs typeface="Calibri"/>
              <a:sym typeface="Calibri"/>
            </a:endParaRPr>
          </a:p>
        </p:txBody>
      </p:sp>
      <p:sp>
        <p:nvSpPr>
          <p:cNvPr id="195" name="Google Shape;195;p2"/>
          <p:cNvSpPr txBox="1"/>
          <p:nvPr/>
        </p:nvSpPr>
        <p:spPr>
          <a:xfrm>
            <a:off x="419100" y="6408650"/>
            <a:ext cx="2723465" cy="276959"/>
          </a:xfrm>
          <a:prstGeom prst="rect">
            <a:avLst/>
          </a:prstGeom>
          <a:noFill/>
          <a:ln>
            <a:noFill/>
          </a:ln>
        </p:spPr>
        <p:txBody>
          <a:bodyPr spcFirstLastPara="1" wrap="square" lIns="0" tIns="45700" rIns="91425" bIns="45700" anchor="t" anchorCtr="0">
            <a:spAutoFit/>
          </a:bodyPr>
          <a:lstStyle/>
          <a:p>
            <a:pPr marL="0" marR="0" lvl="0" indent="0" algn="l" rtl="0">
              <a:spcBef>
                <a:spcPts val="0"/>
              </a:spcBef>
              <a:spcAft>
                <a:spcPts val="0"/>
              </a:spcAft>
              <a:buNone/>
            </a:pPr>
            <a:r>
              <a:rPr lang="en-US" sz="1200">
                <a:solidFill>
                  <a:srgbClr val="747C74"/>
                </a:solidFill>
                <a:latin typeface="Source Sans Pro"/>
                <a:ea typeface="Source Sans Pro"/>
                <a:cs typeface="Source Sans Pro"/>
                <a:sym typeface="Source Sans Pro"/>
              </a:rPr>
              <a:t>04-19</a:t>
            </a:r>
            <a:r>
              <a:rPr lang="en-US" sz="1200" b="0" i="0" u="none" strike="noStrike" cap="none">
                <a:solidFill>
                  <a:srgbClr val="747C74"/>
                </a:solidFill>
                <a:latin typeface="Source Sans Pro"/>
                <a:ea typeface="Source Sans Pro"/>
                <a:cs typeface="Source Sans Pro"/>
                <a:sym typeface="Source Sans Pro"/>
              </a:rPr>
              <a:t> Sprint 6 Demo</a:t>
            </a:r>
            <a:endParaRPr sz="1800" b="0" i="0" u="none" strike="noStrike" cap="none">
              <a:solidFill>
                <a:srgbClr val="747C74"/>
              </a:solidFill>
              <a:latin typeface="Calibri"/>
              <a:ea typeface="Calibri"/>
              <a:cs typeface="Calibri"/>
              <a:sym typeface="Calibri"/>
            </a:endParaRPr>
          </a:p>
        </p:txBody>
      </p:sp>
      <p:sp>
        <p:nvSpPr>
          <p:cNvPr id="196" name="Google Shape;196;p2"/>
          <p:cNvSpPr txBox="1"/>
          <p:nvPr/>
        </p:nvSpPr>
        <p:spPr>
          <a:xfrm>
            <a:off x="7651170" y="1368152"/>
            <a:ext cx="1446561" cy="277000"/>
          </a:xfrm>
          <a:prstGeom prst="rect">
            <a:avLst/>
          </a:prstGeom>
          <a:noFill/>
          <a:ln>
            <a:noFill/>
          </a:ln>
        </p:spPr>
        <p:txBody>
          <a:bodyPr spcFirstLastPara="1" wrap="square" lIns="0" tIns="45700" rIns="0" bIns="45700" anchor="t" anchorCtr="0">
            <a:normAutofit fontScale="92500" lnSpcReduction="10000"/>
          </a:bodyPr>
          <a:lstStyle/>
          <a:p>
            <a:pPr marL="0" marR="0" lvl="0" indent="0" algn="l" rtl="0">
              <a:lnSpc>
                <a:spcPct val="90000"/>
              </a:lnSpc>
              <a:spcBef>
                <a:spcPts val="0"/>
              </a:spcBef>
              <a:spcAft>
                <a:spcPts val="0"/>
              </a:spcAft>
              <a:buClr>
                <a:schemeClr val="accent2"/>
              </a:buClr>
              <a:buSzPct val="100000"/>
              <a:buFont typeface="Arial"/>
              <a:buNone/>
            </a:pPr>
            <a:r>
              <a:rPr lang="en-US" sz="1600" b="0" i="0" u="none" strike="noStrike" cap="none">
                <a:solidFill>
                  <a:schemeClr val="accent2"/>
                </a:solidFill>
                <a:latin typeface="PT Serif"/>
                <a:ea typeface="PT Serif"/>
                <a:cs typeface="PT Serif"/>
                <a:sym typeface="PT Serif"/>
              </a:rPr>
              <a:t>Executive team</a:t>
            </a:r>
            <a:endParaRPr/>
          </a:p>
        </p:txBody>
      </p:sp>
      <p:sp>
        <p:nvSpPr>
          <p:cNvPr id="197" name="Google Shape;197;p2"/>
          <p:cNvSpPr txBox="1"/>
          <p:nvPr/>
        </p:nvSpPr>
        <p:spPr>
          <a:xfrm>
            <a:off x="438638" y="1716674"/>
            <a:ext cx="738427" cy="276998"/>
          </a:xfrm>
          <a:prstGeom prst="rect">
            <a:avLst/>
          </a:prstGeom>
          <a:noFill/>
          <a:ln>
            <a:noFill/>
          </a:ln>
        </p:spPr>
        <p:txBody>
          <a:bodyPr spcFirstLastPara="1" wrap="square" lIns="0" tIns="45700" rIns="0" bIns="45700" anchor="t" anchorCtr="0">
            <a:normAutofit/>
          </a:bodyPr>
          <a:lstStyle/>
          <a:p>
            <a:pPr marL="0" marR="0" lvl="0" indent="0" algn="l" rtl="0">
              <a:lnSpc>
                <a:spcPct val="90000"/>
              </a:lnSpc>
              <a:spcBef>
                <a:spcPts val="0"/>
              </a:spcBef>
              <a:spcAft>
                <a:spcPts val="0"/>
              </a:spcAft>
              <a:buClr>
                <a:schemeClr val="dk2"/>
              </a:buClr>
              <a:buSzPts val="1050"/>
              <a:buFont typeface="Arial"/>
              <a:buNone/>
            </a:pPr>
            <a:r>
              <a:rPr lang="en-US" sz="1050" b="1" i="0" u="none" strike="noStrike" cap="none">
                <a:solidFill>
                  <a:schemeClr val="dk2"/>
                </a:solidFill>
                <a:latin typeface="Source Sans Pro Semibold"/>
                <a:ea typeface="Source Sans Pro Semibold"/>
                <a:cs typeface="Source Sans Pro Semibold"/>
                <a:sym typeface="Source Sans Pro SemiBold"/>
              </a:rPr>
              <a:t>PRODUCT</a:t>
            </a:r>
            <a:endParaRPr/>
          </a:p>
        </p:txBody>
      </p:sp>
      <p:sp>
        <p:nvSpPr>
          <p:cNvPr id="198" name="Google Shape;198;p2"/>
          <p:cNvSpPr txBox="1"/>
          <p:nvPr/>
        </p:nvSpPr>
        <p:spPr>
          <a:xfrm>
            <a:off x="5637660" y="1716674"/>
            <a:ext cx="921014" cy="355291"/>
          </a:xfrm>
          <a:prstGeom prst="rect">
            <a:avLst/>
          </a:prstGeom>
          <a:noFill/>
          <a:ln>
            <a:noFill/>
          </a:ln>
        </p:spPr>
        <p:txBody>
          <a:bodyPr spcFirstLastPara="1" wrap="square" lIns="0" tIns="45700" rIns="0" bIns="45700" anchor="t" anchorCtr="0">
            <a:normAutofit/>
          </a:bodyPr>
          <a:lstStyle/>
          <a:p>
            <a:pPr marL="0" marR="0" lvl="0" indent="0" algn="l" rtl="0">
              <a:lnSpc>
                <a:spcPct val="90000"/>
              </a:lnSpc>
              <a:spcBef>
                <a:spcPts val="0"/>
              </a:spcBef>
              <a:spcAft>
                <a:spcPts val="0"/>
              </a:spcAft>
              <a:buClr>
                <a:schemeClr val="dk2"/>
              </a:buClr>
              <a:buSzPts val="1050"/>
              <a:buFont typeface="Arial"/>
              <a:buNone/>
            </a:pPr>
            <a:r>
              <a:rPr lang="en-US" sz="1050" b="1" i="0" u="none" strike="noStrike" cap="none">
                <a:solidFill>
                  <a:schemeClr val="dk2"/>
                </a:solidFill>
                <a:latin typeface="Source Sans Pro Semibold"/>
                <a:ea typeface="Source Sans Pro Semibold"/>
                <a:cs typeface="Source Sans Pro Semibold"/>
                <a:sym typeface="Source Sans Pro SemiBold"/>
              </a:rPr>
              <a:t>ENGINEERING</a:t>
            </a:r>
            <a:endParaRPr/>
          </a:p>
        </p:txBody>
      </p:sp>
      <p:sp>
        <p:nvSpPr>
          <p:cNvPr id="199" name="Google Shape;199;p2"/>
          <p:cNvSpPr txBox="1"/>
          <p:nvPr/>
        </p:nvSpPr>
        <p:spPr>
          <a:xfrm>
            <a:off x="438638" y="4145503"/>
            <a:ext cx="652990" cy="276998"/>
          </a:xfrm>
          <a:prstGeom prst="rect">
            <a:avLst/>
          </a:prstGeom>
          <a:noFill/>
          <a:ln>
            <a:noFill/>
          </a:ln>
        </p:spPr>
        <p:txBody>
          <a:bodyPr spcFirstLastPara="1" wrap="square" lIns="0" tIns="45700" rIns="0" bIns="45700" anchor="t" anchorCtr="0">
            <a:normAutofit/>
          </a:bodyPr>
          <a:lstStyle/>
          <a:p>
            <a:pPr marL="0" marR="0" lvl="0" indent="0" algn="l" rtl="0">
              <a:lnSpc>
                <a:spcPct val="90000"/>
              </a:lnSpc>
              <a:spcBef>
                <a:spcPts val="0"/>
              </a:spcBef>
              <a:spcAft>
                <a:spcPts val="0"/>
              </a:spcAft>
              <a:buClr>
                <a:schemeClr val="dk2"/>
              </a:buClr>
              <a:buSzPts val="1050"/>
              <a:buFont typeface="Arial"/>
              <a:buNone/>
            </a:pPr>
            <a:r>
              <a:rPr lang="en-US" sz="1050" b="1" i="0" u="none" strike="noStrike" cap="none">
                <a:solidFill>
                  <a:schemeClr val="dk2"/>
                </a:solidFill>
                <a:latin typeface="Source Sans Pro Semibold"/>
                <a:ea typeface="Source Sans Pro Semibold"/>
                <a:cs typeface="Source Sans Pro Semibold"/>
                <a:sym typeface="Source Sans Pro SemiBold"/>
              </a:rPr>
              <a:t>DESIGN</a:t>
            </a:r>
            <a:endParaRPr/>
          </a:p>
        </p:txBody>
      </p:sp>
      <p:pic>
        <p:nvPicPr>
          <p:cNvPr id="201" name="Google Shape;201;p2"/>
          <p:cNvPicPr preferRelativeResize="0"/>
          <p:nvPr/>
        </p:nvPicPr>
        <p:blipFill rotWithShape="1">
          <a:blip r:embed="rId3">
            <a:alphaModFix/>
          </a:blip>
          <a:srcRect l="25632" t="13823" r="25632" b="26974"/>
          <a:stretch/>
        </p:blipFill>
        <p:spPr>
          <a:xfrm>
            <a:off x="2136127" y="2182333"/>
            <a:ext cx="891768" cy="891768"/>
          </a:xfrm>
          <a:prstGeom prst="ellipse">
            <a:avLst/>
          </a:prstGeom>
          <a:noFill/>
          <a:ln>
            <a:noFill/>
          </a:ln>
        </p:spPr>
      </p:pic>
      <p:pic>
        <p:nvPicPr>
          <p:cNvPr id="202" name="Google Shape;202;p2"/>
          <p:cNvPicPr preferRelativeResize="0"/>
          <p:nvPr/>
        </p:nvPicPr>
        <p:blipFill rotWithShape="1">
          <a:blip r:embed="rId4">
            <a:alphaModFix/>
          </a:blip>
          <a:srcRect t="11610" b="16390"/>
          <a:stretch/>
        </p:blipFill>
        <p:spPr>
          <a:xfrm>
            <a:off x="3858003" y="2169282"/>
            <a:ext cx="891768" cy="891768"/>
          </a:xfrm>
          <a:prstGeom prst="ellipse">
            <a:avLst/>
          </a:prstGeom>
          <a:noFill/>
          <a:ln>
            <a:noFill/>
          </a:ln>
        </p:spPr>
      </p:pic>
      <p:pic>
        <p:nvPicPr>
          <p:cNvPr id="204" name="Google Shape;204;p2"/>
          <p:cNvPicPr preferRelativeResize="0"/>
          <p:nvPr/>
        </p:nvPicPr>
        <p:blipFill rotWithShape="1">
          <a:blip r:embed="rId5">
            <a:alphaModFix/>
          </a:blip>
          <a:srcRect/>
          <a:stretch/>
        </p:blipFill>
        <p:spPr>
          <a:xfrm>
            <a:off x="2139644" y="4535323"/>
            <a:ext cx="900063" cy="900063"/>
          </a:xfrm>
          <a:prstGeom prst="ellipse">
            <a:avLst/>
          </a:prstGeom>
          <a:noFill/>
          <a:ln>
            <a:noFill/>
          </a:ln>
        </p:spPr>
      </p:pic>
      <p:pic>
        <p:nvPicPr>
          <p:cNvPr id="207" name="Google Shape;207;p2"/>
          <p:cNvPicPr preferRelativeResize="0"/>
          <p:nvPr/>
        </p:nvPicPr>
        <p:blipFill rotWithShape="1">
          <a:blip r:embed="rId6">
            <a:alphaModFix/>
          </a:blip>
          <a:srcRect/>
          <a:stretch/>
        </p:blipFill>
        <p:spPr>
          <a:xfrm>
            <a:off x="7642085" y="2150698"/>
            <a:ext cx="900063" cy="900063"/>
          </a:xfrm>
          <a:prstGeom prst="ellipse">
            <a:avLst/>
          </a:prstGeom>
          <a:noFill/>
          <a:ln>
            <a:noFill/>
          </a:ln>
        </p:spPr>
      </p:pic>
      <p:pic>
        <p:nvPicPr>
          <p:cNvPr id="208" name="Google Shape;208;p2"/>
          <p:cNvPicPr preferRelativeResize="0"/>
          <p:nvPr/>
        </p:nvPicPr>
        <p:blipFill rotWithShape="1">
          <a:blip r:embed="rId7">
            <a:alphaModFix/>
          </a:blip>
          <a:srcRect/>
          <a:stretch/>
        </p:blipFill>
        <p:spPr>
          <a:xfrm>
            <a:off x="9193566" y="2117001"/>
            <a:ext cx="900063" cy="900063"/>
          </a:xfrm>
          <a:prstGeom prst="ellipse">
            <a:avLst/>
          </a:prstGeom>
          <a:noFill/>
          <a:ln>
            <a:noFill/>
          </a:ln>
        </p:spPr>
      </p:pic>
      <p:pic>
        <p:nvPicPr>
          <p:cNvPr id="209" name="Google Shape;209;p2"/>
          <p:cNvPicPr preferRelativeResize="0"/>
          <p:nvPr/>
        </p:nvPicPr>
        <p:blipFill rotWithShape="1">
          <a:blip r:embed="rId8">
            <a:alphaModFix/>
          </a:blip>
          <a:srcRect/>
          <a:stretch/>
        </p:blipFill>
        <p:spPr>
          <a:xfrm>
            <a:off x="10754084" y="2121123"/>
            <a:ext cx="906673" cy="906673"/>
          </a:xfrm>
          <a:prstGeom prst="ellipse">
            <a:avLst/>
          </a:prstGeom>
          <a:noFill/>
          <a:ln>
            <a:noFill/>
          </a:ln>
        </p:spPr>
      </p:pic>
      <p:pic>
        <p:nvPicPr>
          <p:cNvPr id="210" name="Google Shape;210;p2"/>
          <p:cNvPicPr preferRelativeResize="0"/>
          <p:nvPr/>
        </p:nvPicPr>
        <p:blipFill rotWithShape="1">
          <a:blip r:embed="rId9">
            <a:alphaModFix/>
          </a:blip>
          <a:srcRect/>
          <a:stretch/>
        </p:blipFill>
        <p:spPr>
          <a:xfrm>
            <a:off x="7635476" y="4481036"/>
            <a:ext cx="906673" cy="906673"/>
          </a:xfrm>
          <a:prstGeom prst="ellipse">
            <a:avLst/>
          </a:prstGeom>
          <a:noFill/>
          <a:ln>
            <a:noFill/>
          </a:ln>
        </p:spPr>
      </p:pic>
      <p:pic>
        <p:nvPicPr>
          <p:cNvPr id="211" name="Google Shape;211;p2"/>
          <p:cNvPicPr preferRelativeResize="0"/>
          <p:nvPr/>
        </p:nvPicPr>
        <p:blipFill rotWithShape="1">
          <a:blip r:embed="rId10">
            <a:alphaModFix/>
          </a:blip>
          <a:srcRect/>
          <a:stretch/>
        </p:blipFill>
        <p:spPr>
          <a:xfrm>
            <a:off x="9168370" y="4459571"/>
            <a:ext cx="906673" cy="906673"/>
          </a:xfrm>
          <a:prstGeom prst="ellipse">
            <a:avLst/>
          </a:prstGeom>
          <a:noFill/>
          <a:ln>
            <a:noFill/>
          </a:ln>
        </p:spPr>
      </p:pic>
      <p:sp>
        <p:nvSpPr>
          <p:cNvPr id="212" name="Google Shape;212;p2"/>
          <p:cNvSpPr txBox="1"/>
          <p:nvPr/>
        </p:nvSpPr>
        <p:spPr>
          <a:xfrm>
            <a:off x="2131133" y="3162236"/>
            <a:ext cx="1226148" cy="507831"/>
          </a:xfrm>
          <a:prstGeom prst="rect">
            <a:avLst/>
          </a:prstGeom>
          <a:noFill/>
          <a:ln>
            <a:noFill/>
          </a:ln>
        </p:spPr>
        <p:txBody>
          <a:bodyPr spcFirstLastPara="1" wrap="square" lIns="0" tIns="0" rIns="0" bIns="0" anchor="t" anchorCtr="0">
            <a:spAutoFit/>
          </a:bodyPr>
          <a:lstStyle/>
          <a:p>
            <a:pPr>
              <a:buClr>
                <a:schemeClr val="dk2"/>
              </a:buClr>
              <a:buSzPts val="1200"/>
              <a:buFont typeface="PT Serif"/>
            </a:pPr>
            <a:r>
              <a:rPr lang="en-US" sz="1100" b="1" i="0" u="none" strike="noStrike" cap="none">
                <a:solidFill>
                  <a:schemeClr val="dk2"/>
                </a:solidFill>
                <a:latin typeface="PT Serif"/>
                <a:ea typeface="PT Serif"/>
                <a:cs typeface="PT Serif"/>
                <a:sym typeface="PT Serif"/>
              </a:rPr>
              <a:t>Jordan White</a:t>
            </a:r>
            <a:br>
              <a:rPr lang="en-US" sz="1100" b="0" i="0" u="none" strike="noStrike" cap="none">
                <a:latin typeface="PT Serif"/>
                <a:ea typeface="PT Serif"/>
                <a:cs typeface="PT Serif"/>
              </a:rPr>
            </a:br>
            <a:r>
              <a:rPr lang="en-US" sz="1100" b="0" i="0" u="none" strike="noStrike" cap="none">
                <a:solidFill>
                  <a:schemeClr val="dk2"/>
                </a:solidFill>
                <a:latin typeface="Source Sans Pro"/>
                <a:ea typeface="Source Sans Pro"/>
                <a:cs typeface="Source Sans Pro"/>
                <a:sym typeface="Source Sans Pro"/>
              </a:rPr>
              <a:t>Dallas, TX</a:t>
            </a:r>
            <a:br>
              <a:rPr lang="en-US" sz="1100" b="0" i="0" u="none" strike="noStrike" cap="none">
                <a:latin typeface="Source Sans Pro"/>
                <a:ea typeface="Source Sans Pro"/>
                <a:cs typeface="Source Sans Pro"/>
              </a:rPr>
            </a:br>
            <a:r>
              <a:rPr lang="en-US" sz="1100" b="0" i="0" u="none" strike="noStrike" cap="none">
                <a:solidFill>
                  <a:schemeClr val="dk2"/>
                </a:solidFill>
                <a:latin typeface="Source Sans Pro"/>
                <a:ea typeface="Source Sans Pro"/>
                <a:cs typeface="Source Sans Pro"/>
                <a:sym typeface="Source Sans Pro"/>
              </a:rPr>
              <a:t>Product </a:t>
            </a:r>
            <a:r>
              <a:rPr lang="en-US" sz="1100">
                <a:solidFill>
                  <a:schemeClr val="dk2"/>
                </a:solidFill>
                <a:latin typeface="Source Sans Pro"/>
                <a:ea typeface="Source Sans Pro"/>
                <a:cs typeface="Source Sans Pro"/>
                <a:sym typeface="Source Sans Pro"/>
              </a:rPr>
              <a:t>Manager</a:t>
            </a:r>
            <a:endParaRPr lang="en-US" sz="1100" b="0" i="0" u="none" strike="noStrike" cap="none">
              <a:solidFill>
                <a:schemeClr val="dk2"/>
              </a:solidFill>
              <a:latin typeface="Source Sans Pro"/>
              <a:ea typeface="Source Sans Pro"/>
              <a:cs typeface="Source Sans Pro"/>
            </a:endParaRPr>
          </a:p>
        </p:txBody>
      </p:sp>
      <p:sp>
        <p:nvSpPr>
          <p:cNvPr id="213" name="Google Shape;213;p2"/>
          <p:cNvSpPr txBox="1"/>
          <p:nvPr/>
        </p:nvSpPr>
        <p:spPr>
          <a:xfrm>
            <a:off x="3847615" y="3162236"/>
            <a:ext cx="1226148" cy="507831"/>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chemeClr val="dk2"/>
              </a:buClr>
              <a:buSzPts val="1200"/>
              <a:buFont typeface="PT Serif"/>
              <a:buNone/>
            </a:pPr>
            <a:r>
              <a:rPr lang="en-US" sz="1100" b="1" i="0" u="none" strike="noStrike" cap="none">
                <a:solidFill>
                  <a:schemeClr val="dk2"/>
                </a:solidFill>
                <a:latin typeface="PT Serif"/>
                <a:ea typeface="PT Serif"/>
                <a:cs typeface="PT Serif"/>
                <a:sym typeface="PT Serif"/>
              </a:rPr>
              <a:t>Tami Corson</a:t>
            </a:r>
            <a:endParaRPr sz="1100" b="1" i="0" u="none" strike="noStrike" cap="none">
              <a:solidFill>
                <a:schemeClr val="dk2"/>
              </a:solidFill>
              <a:latin typeface="PT Serif"/>
              <a:ea typeface="PT Serif"/>
              <a:cs typeface="PT Serif"/>
              <a:sym typeface="PT Serif"/>
            </a:endParaRPr>
          </a:p>
          <a:p>
            <a:pPr marL="0" marR="0" lvl="0" indent="0" algn="l" rtl="0">
              <a:lnSpc>
                <a:spcPct val="100000"/>
              </a:lnSpc>
              <a:spcBef>
                <a:spcPts val="0"/>
              </a:spcBef>
              <a:spcAft>
                <a:spcPts val="0"/>
              </a:spcAft>
              <a:buClr>
                <a:schemeClr val="dk2"/>
              </a:buClr>
              <a:buSzPts val="1200"/>
              <a:buFont typeface="PT Serif"/>
              <a:buNone/>
            </a:pPr>
            <a:r>
              <a:rPr lang="en-US" sz="1100">
                <a:solidFill>
                  <a:schemeClr val="dk2"/>
                </a:solidFill>
                <a:latin typeface="Source Sans Pro"/>
                <a:ea typeface="Source Sans Pro"/>
                <a:cs typeface="Source Sans Pro"/>
                <a:sym typeface="Source Sans Pro"/>
              </a:rPr>
              <a:t>N</a:t>
            </a:r>
            <a:r>
              <a:rPr lang="en-US" sz="1100" b="0" i="0" u="none" strike="noStrike" cap="none">
                <a:solidFill>
                  <a:schemeClr val="dk2"/>
                </a:solidFill>
                <a:latin typeface="Source Sans Pro"/>
                <a:ea typeface="Source Sans Pro"/>
                <a:cs typeface="Source Sans Pro"/>
                <a:sym typeface="Source Sans Pro"/>
              </a:rPr>
              <a:t>orth Carolina</a:t>
            </a:r>
            <a:endParaRPr sz="1100" b="0" i="0" u="none" strike="noStrike" cap="none">
              <a:solidFill>
                <a:schemeClr val="dk2"/>
              </a:solidFill>
              <a:latin typeface="Source Sans Pro"/>
              <a:ea typeface="Source Sans Pro"/>
              <a:cs typeface="Source Sans Pro"/>
              <a:sym typeface="Source Sans Pro"/>
            </a:endParaRPr>
          </a:p>
          <a:p>
            <a:pPr marL="0" marR="0" lvl="0" indent="0" algn="l" rtl="0">
              <a:lnSpc>
                <a:spcPct val="100000"/>
              </a:lnSpc>
              <a:spcBef>
                <a:spcPts val="0"/>
              </a:spcBef>
              <a:spcAft>
                <a:spcPts val="0"/>
              </a:spcAft>
              <a:buClr>
                <a:schemeClr val="dk2"/>
              </a:buClr>
              <a:buSzPts val="1200"/>
              <a:buFont typeface="PT Serif"/>
              <a:buNone/>
            </a:pPr>
            <a:r>
              <a:rPr lang="en-US" sz="1100" b="0" i="0" u="none" strike="noStrike" cap="none">
                <a:solidFill>
                  <a:schemeClr val="dk2"/>
                </a:solidFill>
                <a:latin typeface="Source Sans Pro"/>
                <a:ea typeface="Source Sans Pro"/>
                <a:cs typeface="Source Sans Pro"/>
                <a:sym typeface="Source Sans Pro"/>
              </a:rPr>
              <a:t>Clinical SME / Scrum </a:t>
            </a:r>
            <a:endParaRPr sz="1100" b="0" i="0" u="none" strike="noStrike" cap="none">
              <a:solidFill>
                <a:schemeClr val="dk2"/>
              </a:solidFill>
              <a:latin typeface="Source Sans Pro"/>
              <a:ea typeface="Source Sans Pro"/>
              <a:cs typeface="Source Sans Pro"/>
              <a:sym typeface="Source Sans Pro"/>
            </a:endParaRPr>
          </a:p>
        </p:txBody>
      </p:sp>
      <p:sp>
        <p:nvSpPr>
          <p:cNvPr id="218" name="Google Shape;218;p2"/>
          <p:cNvSpPr txBox="1"/>
          <p:nvPr/>
        </p:nvSpPr>
        <p:spPr>
          <a:xfrm>
            <a:off x="7696822" y="3183700"/>
            <a:ext cx="1226148" cy="338554"/>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chemeClr val="dk2"/>
              </a:buClr>
              <a:buSzPts val="1200"/>
              <a:buFont typeface="PT Serif"/>
              <a:buNone/>
            </a:pPr>
            <a:r>
              <a:rPr lang="en-US" sz="1100" b="1" i="0" u="none" strike="noStrike" cap="none">
                <a:solidFill>
                  <a:schemeClr val="dk2"/>
                </a:solidFill>
                <a:latin typeface="PT Serif"/>
                <a:ea typeface="PT Serif"/>
                <a:cs typeface="PT Serif"/>
                <a:sym typeface="PT Serif"/>
              </a:rPr>
              <a:t>Jeff </a:t>
            </a:r>
            <a:r>
              <a:rPr lang="en-US" sz="1100" b="1" i="0" u="none" strike="noStrike" cap="none" err="1">
                <a:solidFill>
                  <a:schemeClr val="dk2"/>
                </a:solidFill>
                <a:latin typeface="PT Serif"/>
                <a:ea typeface="PT Serif"/>
                <a:cs typeface="PT Serif"/>
                <a:sym typeface="PT Serif"/>
              </a:rPr>
              <a:t>Scheire</a:t>
            </a:r>
            <a:endParaRPr sz="1100" b="0" i="0" u="none" strike="noStrike" cap="none">
              <a:solidFill>
                <a:schemeClr val="dk2"/>
              </a:solidFill>
              <a:latin typeface="PT Serif"/>
              <a:ea typeface="PT Serif"/>
              <a:cs typeface="PT Serif"/>
              <a:sym typeface="PT Serif"/>
            </a:endParaRPr>
          </a:p>
          <a:p>
            <a:pPr marL="0" marR="0" lvl="0" indent="0" algn="l" rtl="0">
              <a:lnSpc>
                <a:spcPct val="100000"/>
              </a:lnSpc>
              <a:spcBef>
                <a:spcPts val="0"/>
              </a:spcBef>
              <a:spcAft>
                <a:spcPts val="0"/>
              </a:spcAft>
              <a:buClr>
                <a:schemeClr val="dk2"/>
              </a:buClr>
              <a:buSzPts val="1200"/>
              <a:buFont typeface="PT Serif"/>
              <a:buNone/>
            </a:pPr>
            <a:r>
              <a:rPr lang="en-US" sz="1100" b="0" i="0" u="none" strike="noStrike" cap="none">
                <a:solidFill>
                  <a:schemeClr val="dk2"/>
                </a:solidFill>
                <a:latin typeface="Source Sans Pro"/>
                <a:ea typeface="Source Sans Pro"/>
                <a:cs typeface="Source Sans Pro"/>
                <a:sym typeface="Source Sans Pro"/>
              </a:rPr>
              <a:t>MO Studio</a:t>
            </a:r>
            <a:endParaRPr sz="1100" b="0" i="0" u="none" strike="noStrike" cap="none">
              <a:solidFill>
                <a:schemeClr val="dk2"/>
              </a:solidFill>
              <a:latin typeface="Source Sans Pro"/>
              <a:ea typeface="Source Sans Pro"/>
              <a:cs typeface="Source Sans Pro"/>
              <a:sym typeface="Source Sans Pro"/>
            </a:endParaRPr>
          </a:p>
        </p:txBody>
      </p:sp>
      <p:sp>
        <p:nvSpPr>
          <p:cNvPr id="219" name="Google Shape;219;p2"/>
          <p:cNvSpPr txBox="1"/>
          <p:nvPr/>
        </p:nvSpPr>
        <p:spPr>
          <a:xfrm>
            <a:off x="10754711" y="3172968"/>
            <a:ext cx="1003124" cy="338554"/>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chemeClr val="dk2"/>
              </a:buClr>
              <a:buSzPts val="1200"/>
              <a:buFont typeface="PT Serif"/>
              <a:buNone/>
            </a:pPr>
            <a:r>
              <a:rPr lang="en-US" sz="1100" b="1" i="0" u="none" strike="noStrike" cap="none">
                <a:solidFill>
                  <a:schemeClr val="dk2"/>
                </a:solidFill>
                <a:latin typeface="PT Serif"/>
                <a:ea typeface="PT Serif"/>
                <a:cs typeface="PT Serif"/>
                <a:sym typeface="PT Serif"/>
              </a:rPr>
              <a:t>Kevin London</a:t>
            </a:r>
            <a:br>
              <a:rPr lang="en-US" sz="1100" b="0" i="0" u="none" strike="noStrike" cap="none">
                <a:solidFill>
                  <a:schemeClr val="dk2"/>
                </a:solidFill>
                <a:latin typeface="PT Serif"/>
                <a:ea typeface="PT Serif"/>
                <a:cs typeface="PT Serif"/>
                <a:sym typeface="PT Serif"/>
              </a:rPr>
            </a:br>
            <a:r>
              <a:rPr lang="en-US" sz="1100" b="0" i="0" u="none" strike="noStrike" cap="none">
                <a:solidFill>
                  <a:schemeClr val="dk2"/>
                </a:solidFill>
                <a:latin typeface="Source Sans Pro"/>
                <a:ea typeface="Source Sans Pro"/>
                <a:cs typeface="Source Sans Pro"/>
                <a:sym typeface="Source Sans Pro"/>
              </a:rPr>
              <a:t>Frog Design</a:t>
            </a:r>
            <a:endParaRPr sz="1100" b="0" i="0" u="none" strike="noStrike" cap="none">
              <a:solidFill>
                <a:schemeClr val="dk2"/>
              </a:solidFill>
              <a:latin typeface="Source Sans Pro"/>
              <a:ea typeface="Source Sans Pro"/>
              <a:cs typeface="Source Sans Pro"/>
              <a:sym typeface="Source Sans Pro"/>
            </a:endParaRPr>
          </a:p>
        </p:txBody>
      </p:sp>
      <p:sp>
        <p:nvSpPr>
          <p:cNvPr id="220" name="Google Shape;220;p2"/>
          <p:cNvSpPr txBox="1"/>
          <p:nvPr/>
        </p:nvSpPr>
        <p:spPr>
          <a:xfrm>
            <a:off x="9236150" y="3162236"/>
            <a:ext cx="1226148" cy="338554"/>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chemeClr val="dk2"/>
              </a:buClr>
              <a:buSzPts val="1200"/>
              <a:buFont typeface="PT Serif"/>
              <a:buNone/>
            </a:pPr>
            <a:r>
              <a:rPr lang="en-US" sz="1100" b="1" i="0" u="none" strike="noStrike" cap="none">
                <a:solidFill>
                  <a:schemeClr val="dk2"/>
                </a:solidFill>
                <a:latin typeface="PT Serif"/>
                <a:ea typeface="PT Serif"/>
                <a:cs typeface="PT Serif"/>
                <a:sym typeface="PT Serif"/>
              </a:rPr>
              <a:t>Marcy Jacobs</a:t>
            </a:r>
            <a:endParaRPr sz="1100" b="1" i="0" u="none" strike="noStrike" cap="none">
              <a:solidFill>
                <a:schemeClr val="dk2"/>
              </a:solidFill>
              <a:latin typeface="PT Serif"/>
              <a:ea typeface="PT Serif"/>
              <a:cs typeface="PT Serif"/>
              <a:sym typeface="PT Serif"/>
            </a:endParaRPr>
          </a:p>
          <a:p>
            <a:pPr marL="0" marR="0" lvl="0" indent="0" algn="l" rtl="0">
              <a:lnSpc>
                <a:spcPct val="100000"/>
              </a:lnSpc>
              <a:spcBef>
                <a:spcPts val="0"/>
              </a:spcBef>
              <a:spcAft>
                <a:spcPts val="0"/>
              </a:spcAft>
              <a:buClr>
                <a:schemeClr val="dk2"/>
              </a:buClr>
              <a:buSzPts val="1200"/>
              <a:buFont typeface="PT Serif"/>
              <a:buNone/>
            </a:pPr>
            <a:r>
              <a:rPr lang="en-US" sz="1100" b="0" i="0" u="none" strike="noStrike" cap="none">
                <a:solidFill>
                  <a:schemeClr val="dk2"/>
                </a:solidFill>
                <a:latin typeface="Source Sans Pro"/>
                <a:ea typeface="Source Sans Pro"/>
                <a:cs typeface="Source Sans Pro"/>
                <a:sym typeface="Source Sans Pro"/>
              </a:rPr>
              <a:t>McKinsey &amp; Co</a:t>
            </a:r>
            <a:endParaRPr sz="1100" b="0" i="0" u="none" strike="noStrike" cap="none">
              <a:solidFill>
                <a:schemeClr val="dk2"/>
              </a:solidFill>
              <a:latin typeface="Source Sans Pro"/>
              <a:ea typeface="Source Sans Pro"/>
              <a:cs typeface="Source Sans Pro"/>
              <a:sym typeface="Source Sans Pro"/>
            </a:endParaRPr>
          </a:p>
        </p:txBody>
      </p:sp>
      <p:sp>
        <p:nvSpPr>
          <p:cNvPr id="221" name="Google Shape;221;p2"/>
          <p:cNvSpPr txBox="1"/>
          <p:nvPr/>
        </p:nvSpPr>
        <p:spPr>
          <a:xfrm>
            <a:off x="3846394" y="5568913"/>
            <a:ext cx="1226148" cy="677108"/>
          </a:xfrm>
          <a:prstGeom prst="rect">
            <a:avLst/>
          </a:prstGeom>
          <a:noFill/>
          <a:ln>
            <a:noFill/>
          </a:ln>
        </p:spPr>
        <p:txBody>
          <a:bodyPr spcFirstLastPara="1" wrap="square" lIns="0" tIns="0" rIns="0" bIns="0" anchor="t" anchorCtr="0">
            <a:spAutoFit/>
          </a:bodyPr>
          <a:lstStyle/>
          <a:p>
            <a:pPr>
              <a:buClr>
                <a:schemeClr val="dk2"/>
              </a:buClr>
              <a:buSzPts val="1200"/>
            </a:pPr>
            <a:r>
              <a:rPr lang="en-US" sz="1100" b="1" i="0" u="none" strike="noStrike" cap="none">
                <a:solidFill>
                  <a:schemeClr val="dk2"/>
                </a:solidFill>
                <a:latin typeface="PT Serif"/>
                <a:ea typeface="PT Serif"/>
                <a:cs typeface="PT Serif"/>
                <a:sym typeface="PT Serif"/>
              </a:rPr>
              <a:t>Carolyn Williams</a:t>
            </a:r>
            <a:br>
              <a:rPr lang="en-US" sz="1100" b="0" i="0" u="none" strike="noStrike" cap="none">
                <a:latin typeface="PT Serif"/>
                <a:ea typeface="PT Serif"/>
                <a:cs typeface="PT Serif"/>
              </a:rPr>
            </a:br>
            <a:r>
              <a:rPr lang="en-US" sz="1100">
                <a:solidFill>
                  <a:schemeClr val="dk2"/>
                </a:solidFill>
                <a:latin typeface="Source Sans Pro"/>
                <a:ea typeface="Source Sans Pro"/>
                <a:cs typeface="PT Serif"/>
                <a:sym typeface="Source Sans Pro"/>
              </a:rPr>
              <a:t>Chicago, IL</a:t>
            </a:r>
            <a:br>
              <a:rPr lang="en-US" sz="1100" b="0" i="0" u="none" strike="noStrike" cap="none">
                <a:latin typeface="Source Sans Pro"/>
                <a:ea typeface="Source Sans Pro"/>
                <a:cs typeface="Source Sans Pro"/>
              </a:rPr>
            </a:br>
            <a:r>
              <a:rPr lang="en-US" sz="1100" b="0" i="0" u="none" strike="noStrike" cap="none">
                <a:solidFill>
                  <a:schemeClr val="dk2"/>
                </a:solidFill>
                <a:latin typeface="Source Sans Pro"/>
                <a:ea typeface="Source Sans Pro"/>
                <a:cs typeface="Source Sans Pro"/>
                <a:sym typeface="Source Sans Pro"/>
              </a:rPr>
              <a:t>Experience </a:t>
            </a:r>
            <a:endParaRPr lang="en-US" sz="1100">
              <a:solidFill>
                <a:schemeClr val="dk2"/>
              </a:solidFill>
              <a:latin typeface="Source Sans Pro"/>
              <a:ea typeface="Source Sans Pro"/>
              <a:cs typeface="Source Sans Pro"/>
              <a:sym typeface="Source Sans Pro"/>
            </a:endParaRPr>
          </a:p>
          <a:p>
            <a:pPr marL="0" marR="0" lvl="0" indent="0" algn="l">
              <a:lnSpc>
                <a:spcPct val="100000"/>
              </a:lnSpc>
              <a:spcBef>
                <a:spcPts val="0"/>
              </a:spcBef>
              <a:spcAft>
                <a:spcPts val="0"/>
              </a:spcAft>
              <a:buSzPts val="1200"/>
              <a:buFont typeface="PT Serif"/>
              <a:buNone/>
            </a:pPr>
            <a:r>
              <a:rPr lang="en-US" sz="1100" b="0" i="0" u="none" strike="noStrike" cap="none">
                <a:solidFill>
                  <a:schemeClr val="dk2"/>
                </a:solidFill>
                <a:latin typeface="Source Sans Pro"/>
                <a:ea typeface="Source Sans Pro"/>
                <a:cs typeface="Source Sans Pro"/>
                <a:sym typeface="Source Sans Pro"/>
              </a:rPr>
              <a:t>Designer</a:t>
            </a:r>
            <a:endParaRPr sz="1100" b="0" i="0" u="none" strike="noStrike" cap="none">
              <a:solidFill>
                <a:schemeClr val="dk2"/>
              </a:solidFill>
              <a:latin typeface="Source Sans Pro"/>
              <a:ea typeface="Source Sans Pro"/>
              <a:cs typeface="Source Sans Pro"/>
            </a:endParaRPr>
          </a:p>
        </p:txBody>
      </p:sp>
      <p:sp>
        <p:nvSpPr>
          <p:cNvPr id="222" name="Google Shape;222;p2"/>
          <p:cNvSpPr txBox="1"/>
          <p:nvPr/>
        </p:nvSpPr>
        <p:spPr>
          <a:xfrm>
            <a:off x="2131133" y="5577231"/>
            <a:ext cx="1322977" cy="846386"/>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chemeClr val="dk2"/>
              </a:buClr>
              <a:buSzPts val="1200"/>
              <a:buFont typeface="PT Serif"/>
              <a:buNone/>
            </a:pPr>
            <a:r>
              <a:rPr lang="en-US" sz="1100" b="1" i="0" u="none" strike="noStrike" cap="none">
                <a:solidFill>
                  <a:schemeClr val="dk2"/>
                </a:solidFill>
                <a:latin typeface="PT Serif"/>
                <a:ea typeface="PT Serif"/>
                <a:cs typeface="PT Serif"/>
                <a:sym typeface="PT Serif"/>
              </a:rPr>
              <a:t>Carl Dickerson</a:t>
            </a:r>
            <a:br>
              <a:rPr lang="en-US" sz="1100" b="0" i="0" u="none" strike="noStrike" cap="none">
                <a:solidFill>
                  <a:schemeClr val="dk2"/>
                </a:solidFill>
                <a:latin typeface="PT Serif"/>
                <a:ea typeface="PT Serif"/>
                <a:cs typeface="PT Serif"/>
                <a:sym typeface="PT Serif"/>
              </a:rPr>
            </a:br>
            <a:r>
              <a:rPr lang="en-US" sz="1100" b="0" i="0" u="none" strike="noStrike" cap="none">
                <a:solidFill>
                  <a:schemeClr val="dk2"/>
                </a:solidFill>
                <a:latin typeface="Source Sans Pro"/>
                <a:ea typeface="Source Sans Pro"/>
                <a:cs typeface="Source Sans Pro"/>
                <a:sym typeface="Source Sans Pro"/>
              </a:rPr>
              <a:t>Atlanta, GA</a:t>
            </a:r>
            <a:br>
              <a:rPr lang="en-US" sz="1100" b="0" i="0" u="none" strike="noStrike" cap="none">
                <a:solidFill>
                  <a:schemeClr val="dk2"/>
                </a:solidFill>
                <a:latin typeface="Source Sans Pro"/>
                <a:ea typeface="Source Sans Pro"/>
                <a:cs typeface="Source Sans Pro"/>
                <a:sym typeface="Source Sans Pro"/>
              </a:rPr>
            </a:br>
            <a:r>
              <a:rPr lang="en-US" sz="1100" b="0" i="0" u="none" strike="noStrike" cap="none">
                <a:solidFill>
                  <a:schemeClr val="dk2"/>
                </a:solidFill>
                <a:latin typeface="Source Sans Pro"/>
                <a:ea typeface="Source Sans Pro"/>
                <a:cs typeface="Source Sans Pro"/>
                <a:sym typeface="Source Sans Pro"/>
              </a:rPr>
              <a:t>Content Strategist and Plain Language Content Creator</a:t>
            </a:r>
            <a:endParaRPr sz="1100" b="0" i="0" u="none" strike="noStrike" cap="none">
              <a:solidFill>
                <a:schemeClr val="dk2"/>
              </a:solidFill>
              <a:latin typeface="Source Sans Pro"/>
              <a:ea typeface="Source Sans Pro"/>
              <a:cs typeface="Source Sans Pro"/>
              <a:sym typeface="Source Sans Pro"/>
            </a:endParaRPr>
          </a:p>
        </p:txBody>
      </p:sp>
      <p:sp>
        <p:nvSpPr>
          <p:cNvPr id="223" name="Google Shape;223;p2"/>
          <p:cNvSpPr txBox="1"/>
          <p:nvPr/>
        </p:nvSpPr>
        <p:spPr>
          <a:xfrm>
            <a:off x="439886" y="5593837"/>
            <a:ext cx="1226148" cy="677108"/>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chemeClr val="dk2"/>
              </a:buClr>
              <a:buSzPts val="1200"/>
              <a:buFont typeface="PT Serif"/>
              <a:buNone/>
            </a:pPr>
            <a:r>
              <a:rPr lang="en-US" sz="1100" b="1" i="0" u="none" strike="noStrike" cap="none">
                <a:solidFill>
                  <a:schemeClr val="dk2"/>
                </a:solidFill>
                <a:latin typeface="PT Serif"/>
                <a:ea typeface="PT Serif"/>
                <a:cs typeface="PT Serif"/>
                <a:sym typeface="PT Serif"/>
              </a:rPr>
              <a:t>Thomas McCue </a:t>
            </a:r>
            <a:br>
              <a:rPr lang="en-US" sz="1100" b="0" i="0" u="none" strike="noStrike" cap="none">
                <a:solidFill>
                  <a:schemeClr val="dk2"/>
                </a:solidFill>
                <a:latin typeface="PT Serif"/>
                <a:ea typeface="PT Serif"/>
                <a:cs typeface="PT Serif"/>
                <a:sym typeface="PT Serif"/>
              </a:rPr>
            </a:br>
            <a:r>
              <a:rPr lang="en-US" sz="1100">
                <a:solidFill>
                  <a:schemeClr val="dk2"/>
                </a:solidFill>
                <a:latin typeface="Source Sans Pro"/>
                <a:ea typeface="Source Sans Pro"/>
                <a:cs typeface="PT Serif"/>
                <a:sym typeface="Source Sans Pro"/>
              </a:rPr>
              <a:t>Chicago</a:t>
            </a:r>
            <a:r>
              <a:rPr lang="en-US" sz="1100" b="0" i="0" u="none" strike="noStrike" cap="none">
                <a:solidFill>
                  <a:schemeClr val="dk2"/>
                </a:solidFill>
                <a:latin typeface="Source Sans Pro"/>
                <a:ea typeface="Source Sans Pro"/>
                <a:cs typeface="Source Sans Pro"/>
                <a:sym typeface="Source Sans Pro"/>
              </a:rPr>
              <a:t>, </a:t>
            </a:r>
            <a:r>
              <a:rPr lang="en-US" sz="1100">
                <a:solidFill>
                  <a:schemeClr val="dk2"/>
                </a:solidFill>
                <a:latin typeface="Source Sans Pro"/>
                <a:ea typeface="Source Sans Pro"/>
                <a:cs typeface="Source Sans Pro"/>
                <a:sym typeface="Source Sans Pro"/>
              </a:rPr>
              <a:t>IL</a:t>
            </a:r>
            <a:br>
              <a:rPr lang="en-US" sz="1100" b="0" i="0" u="none" strike="noStrike" cap="none">
                <a:solidFill>
                  <a:schemeClr val="dk2"/>
                </a:solidFill>
                <a:latin typeface="Source Sans Pro"/>
                <a:ea typeface="Source Sans Pro"/>
                <a:cs typeface="Source Sans Pro"/>
                <a:sym typeface="Source Sans Pro"/>
              </a:rPr>
            </a:br>
            <a:r>
              <a:rPr lang="en-US" sz="1100" b="0" i="0" u="none" strike="noStrike" cap="none">
                <a:solidFill>
                  <a:schemeClr val="dk2"/>
                </a:solidFill>
                <a:latin typeface="Source Sans Pro"/>
                <a:ea typeface="Source Sans Pro"/>
                <a:cs typeface="Source Sans Pro"/>
                <a:sym typeface="Source Sans Pro"/>
              </a:rPr>
              <a:t>Principal Design Director</a:t>
            </a:r>
            <a:endParaRPr sz="1100" b="0" i="0" u="none" strike="noStrike" cap="none">
              <a:solidFill>
                <a:schemeClr val="dk2"/>
              </a:solidFill>
              <a:latin typeface="Source Sans Pro"/>
              <a:ea typeface="Source Sans Pro"/>
              <a:cs typeface="Source Sans Pro"/>
              <a:sym typeface="Source Sans Pro"/>
            </a:endParaRPr>
          </a:p>
        </p:txBody>
      </p:sp>
      <p:sp>
        <p:nvSpPr>
          <p:cNvPr id="225" name="Google Shape;225;p2"/>
          <p:cNvSpPr txBox="1"/>
          <p:nvPr/>
        </p:nvSpPr>
        <p:spPr>
          <a:xfrm>
            <a:off x="7651130" y="5580786"/>
            <a:ext cx="1226148" cy="338554"/>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chemeClr val="dk2"/>
              </a:buClr>
              <a:buSzPts val="1200"/>
              <a:buFont typeface="PT Serif"/>
              <a:buNone/>
            </a:pPr>
            <a:r>
              <a:rPr lang="en-US" sz="1100" b="1" i="0" u="none" strike="noStrike" cap="none">
                <a:solidFill>
                  <a:schemeClr val="dk2"/>
                </a:solidFill>
                <a:latin typeface="PT Serif"/>
                <a:ea typeface="PT Serif"/>
                <a:cs typeface="PT Serif"/>
                <a:sym typeface="PT Serif"/>
              </a:rPr>
              <a:t>Will Reynolds </a:t>
            </a:r>
            <a:br>
              <a:rPr lang="en-US" sz="1100" b="0" i="0" u="none" strike="noStrike" cap="none">
                <a:solidFill>
                  <a:schemeClr val="dk2"/>
                </a:solidFill>
                <a:latin typeface="PT Serif"/>
                <a:ea typeface="PT Serif"/>
                <a:cs typeface="PT Serif"/>
                <a:sym typeface="PT Serif"/>
              </a:rPr>
            </a:br>
            <a:r>
              <a:rPr lang="en-US" sz="1100" b="0" i="0" u="none" strike="noStrike" cap="none">
                <a:solidFill>
                  <a:schemeClr val="dk2"/>
                </a:solidFill>
                <a:latin typeface="Source Sans Pro"/>
                <a:ea typeface="Source Sans Pro"/>
                <a:cs typeface="Source Sans Pro"/>
                <a:sym typeface="Source Sans Pro"/>
              </a:rPr>
              <a:t>SERVE Advisory</a:t>
            </a:r>
            <a:endParaRPr sz="1100" b="0" i="0" u="none" strike="noStrike" cap="none">
              <a:solidFill>
                <a:schemeClr val="dk2"/>
              </a:solidFill>
              <a:latin typeface="Source Sans Pro"/>
              <a:ea typeface="Source Sans Pro"/>
              <a:cs typeface="Source Sans Pro"/>
              <a:sym typeface="Source Sans Pro"/>
            </a:endParaRPr>
          </a:p>
        </p:txBody>
      </p:sp>
      <p:sp>
        <p:nvSpPr>
          <p:cNvPr id="226" name="Google Shape;226;p2"/>
          <p:cNvSpPr txBox="1"/>
          <p:nvPr/>
        </p:nvSpPr>
        <p:spPr>
          <a:xfrm>
            <a:off x="9220947" y="5555242"/>
            <a:ext cx="1226148" cy="338554"/>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chemeClr val="dk2"/>
              </a:buClr>
              <a:buSzPts val="1200"/>
              <a:buFont typeface="PT Serif"/>
              <a:buNone/>
            </a:pPr>
            <a:r>
              <a:rPr lang="en-US" sz="1100" b="1" i="0" u="none" strike="noStrike" cap="none">
                <a:solidFill>
                  <a:schemeClr val="dk2"/>
                </a:solidFill>
                <a:latin typeface="PT Serif"/>
                <a:ea typeface="PT Serif"/>
                <a:cs typeface="PT Serif"/>
                <a:sym typeface="PT Serif"/>
              </a:rPr>
              <a:t>Ben Morris</a:t>
            </a:r>
            <a:endParaRPr sz="1100" b="0" i="0" u="none" strike="noStrike" cap="none">
              <a:solidFill>
                <a:schemeClr val="dk2"/>
              </a:solidFill>
              <a:latin typeface="PT Serif"/>
              <a:ea typeface="PT Serif"/>
              <a:cs typeface="PT Serif"/>
              <a:sym typeface="PT Serif"/>
            </a:endParaRPr>
          </a:p>
          <a:p>
            <a:pPr marL="0" marR="0" lvl="0" indent="0" algn="l" rtl="0">
              <a:lnSpc>
                <a:spcPct val="100000"/>
              </a:lnSpc>
              <a:spcBef>
                <a:spcPts val="0"/>
              </a:spcBef>
              <a:spcAft>
                <a:spcPts val="0"/>
              </a:spcAft>
              <a:buClr>
                <a:schemeClr val="dk2"/>
              </a:buClr>
              <a:buSzPts val="1200"/>
              <a:buFont typeface="PT Serif"/>
              <a:buNone/>
            </a:pPr>
            <a:r>
              <a:rPr lang="en-US" sz="1100" b="0" i="0" u="none" strike="noStrike" cap="none">
                <a:solidFill>
                  <a:schemeClr val="dk2"/>
                </a:solidFill>
                <a:latin typeface="Source Sans Pro"/>
                <a:ea typeface="Source Sans Pro"/>
                <a:cs typeface="Source Sans Pro"/>
                <a:sym typeface="Source Sans Pro"/>
              </a:rPr>
              <a:t>Pluribus Digital</a:t>
            </a:r>
            <a:endParaRPr sz="1100" b="0" i="0" u="none" strike="noStrike" cap="none">
              <a:solidFill>
                <a:schemeClr val="dk2"/>
              </a:solidFill>
              <a:latin typeface="Source Sans Pro"/>
              <a:ea typeface="Source Sans Pro"/>
              <a:cs typeface="Source Sans Pro"/>
              <a:sym typeface="Source Sans Pro"/>
            </a:endParaRPr>
          </a:p>
        </p:txBody>
      </p:sp>
      <p:cxnSp>
        <p:nvCxnSpPr>
          <p:cNvPr id="227" name="Google Shape;227;p2"/>
          <p:cNvCxnSpPr>
            <a:cxnSpLocks/>
          </p:cNvCxnSpPr>
          <p:nvPr/>
        </p:nvCxnSpPr>
        <p:spPr>
          <a:xfrm>
            <a:off x="7108793" y="1366372"/>
            <a:ext cx="14242" cy="5043896"/>
          </a:xfrm>
          <a:prstGeom prst="straightConnector1">
            <a:avLst/>
          </a:prstGeom>
          <a:noFill/>
          <a:ln w="12700" cap="flat" cmpd="sng">
            <a:solidFill>
              <a:srgbClr val="C7C7C7"/>
            </a:solidFill>
            <a:prstDash val="solid"/>
            <a:miter lim="800000"/>
            <a:headEnd type="none" w="sm" len="sm"/>
            <a:tailEnd type="none" w="sm" len="sm"/>
          </a:ln>
        </p:spPr>
      </p:cxnSp>
      <p:grpSp>
        <p:nvGrpSpPr>
          <p:cNvPr id="228" name="Google Shape;228;p2"/>
          <p:cNvGrpSpPr/>
          <p:nvPr/>
        </p:nvGrpSpPr>
        <p:grpSpPr>
          <a:xfrm>
            <a:off x="5597836" y="4555300"/>
            <a:ext cx="1254831" cy="1726244"/>
            <a:chOff x="4825555" y="2139454"/>
            <a:chExt cx="1254831" cy="1726244"/>
          </a:xfrm>
        </p:grpSpPr>
        <p:sp>
          <p:nvSpPr>
            <p:cNvPr id="229" name="Google Shape;229;p2"/>
            <p:cNvSpPr txBox="1"/>
            <p:nvPr/>
          </p:nvSpPr>
          <p:spPr>
            <a:xfrm>
              <a:off x="4825555" y="3188590"/>
              <a:ext cx="1254831" cy="677108"/>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chemeClr val="dk2"/>
                </a:buClr>
                <a:buSzPts val="1200"/>
                <a:buFont typeface="PT Serif"/>
                <a:buNone/>
              </a:pPr>
              <a:r>
                <a:rPr lang="en-US" sz="1100" b="1" i="0" u="none" strike="noStrike" cap="none">
                  <a:solidFill>
                    <a:schemeClr val="dk2"/>
                  </a:solidFill>
                  <a:latin typeface="PT Serif"/>
                  <a:ea typeface="PT Serif"/>
                  <a:cs typeface="PT Serif"/>
                  <a:sym typeface="PT Serif"/>
                </a:rPr>
                <a:t>Teagan Stephenson</a:t>
              </a:r>
              <a:br>
                <a:rPr lang="en-US" sz="1100" b="0" i="0" u="none" strike="noStrike" cap="none">
                  <a:solidFill>
                    <a:schemeClr val="dk2"/>
                  </a:solidFill>
                  <a:latin typeface="PT Serif"/>
                  <a:ea typeface="PT Serif"/>
                  <a:cs typeface="PT Serif"/>
                  <a:sym typeface="PT Serif"/>
                </a:rPr>
              </a:br>
              <a:r>
                <a:rPr lang="en-US" sz="1100" b="0" i="0" u="none" strike="noStrike" cap="none">
                  <a:solidFill>
                    <a:schemeClr val="dk2"/>
                  </a:solidFill>
                  <a:latin typeface="Source Sans Pro"/>
                  <a:ea typeface="Source Sans Pro"/>
                  <a:cs typeface="Source Sans Pro"/>
                  <a:sym typeface="Source Sans Pro"/>
                </a:rPr>
                <a:t>Ft. Lauderdale, FL</a:t>
              </a:r>
              <a:br>
                <a:rPr lang="en-US" sz="1100" b="0" i="0" u="none" strike="noStrike" cap="none">
                  <a:solidFill>
                    <a:schemeClr val="dk2"/>
                  </a:solidFill>
                  <a:latin typeface="Source Sans Pro"/>
                  <a:ea typeface="Source Sans Pro"/>
                  <a:cs typeface="Source Sans Pro"/>
                  <a:sym typeface="Source Sans Pro"/>
                </a:rPr>
              </a:br>
              <a:r>
                <a:rPr lang="en-US" sz="1100" b="0" i="0" u="none" strike="noStrike" cap="none">
                  <a:solidFill>
                    <a:schemeClr val="dk2"/>
                  </a:solidFill>
                  <a:latin typeface="Source Sans Pro"/>
                  <a:ea typeface="Source Sans Pro"/>
                  <a:cs typeface="Source Sans Pro"/>
                  <a:sym typeface="Source Sans Pro"/>
                </a:rPr>
                <a:t>Full Stack Engineer</a:t>
              </a:r>
              <a:endParaRPr sz="1100" b="0" i="0" u="none" strike="noStrike" cap="none">
                <a:solidFill>
                  <a:schemeClr val="dk2"/>
                </a:solidFill>
                <a:latin typeface="Source Sans Pro"/>
                <a:ea typeface="Source Sans Pro"/>
                <a:cs typeface="Source Sans Pro"/>
                <a:sym typeface="Source Sans Pro"/>
              </a:endParaRPr>
            </a:p>
          </p:txBody>
        </p:sp>
        <p:pic>
          <p:nvPicPr>
            <p:cNvPr id="230" name="Google Shape;230;p2" descr="A picture containing sky, outdoor, person, person&#10;&#10;Description automatically generated"/>
            <p:cNvPicPr preferRelativeResize="0"/>
            <p:nvPr/>
          </p:nvPicPr>
          <p:blipFill rotWithShape="1">
            <a:blip r:embed="rId11">
              <a:alphaModFix/>
            </a:blip>
            <a:srcRect/>
            <a:stretch/>
          </p:blipFill>
          <p:spPr>
            <a:xfrm>
              <a:off x="4831579" y="2139454"/>
              <a:ext cx="889673" cy="907869"/>
            </a:xfrm>
            <a:prstGeom prst="flowChartConnector">
              <a:avLst/>
            </a:prstGeom>
            <a:noFill/>
            <a:ln>
              <a:noFill/>
            </a:ln>
          </p:spPr>
        </p:pic>
      </p:grpSp>
      <p:sp>
        <p:nvSpPr>
          <p:cNvPr id="44" name="Google Shape;212;p2">
            <a:extLst>
              <a:ext uri="{FF2B5EF4-FFF2-40B4-BE49-F238E27FC236}">
                <a16:creationId xmlns:a16="http://schemas.microsoft.com/office/drawing/2014/main" id="{28E8AA2B-7E30-48CF-86E4-5464130C7279}"/>
              </a:ext>
            </a:extLst>
          </p:cNvPr>
          <p:cNvSpPr txBox="1"/>
          <p:nvPr/>
        </p:nvSpPr>
        <p:spPr>
          <a:xfrm>
            <a:off x="447146" y="3182770"/>
            <a:ext cx="1226148" cy="507831"/>
          </a:xfrm>
          <a:prstGeom prst="rect">
            <a:avLst/>
          </a:prstGeom>
          <a:noFill/>
          <a:ln>
            <a:noFill/>
          </a:ln>
        </p:spPr>
        <p:txBody>
          <a:bodyPr spcFirstLastPara="1" wrap="square" lIns="0" tIns="0" rIns="0" bIns="0" anchor="t" anchorCtr="0">
            <a:spAutoFit/>
          </a:bodyPr>
          <a:lstStyle/>
          <a:p>
            <a:r>
              <a:rPr lang="en-US" sz="1100" b="1">
                <a:solidFill>
                  <a:schemeClr val="dk2"/>
                </a:solidFill>
                <a:latin typeface="PT Serif"/>
                <a:ea typeface="Source Sans Pro"/>
                <a:cs typeface="Source Sans Pro"/>
                <a:sym typeface="PT Serif"/>
              </a:rPr>
              <a:t>Munish Sikka</a:t>
            </a:r>
          </a:p>
          <a:p>
            <a:r>
              <a:rPr lang="en-US" sz="1100">
                <a:solidFill>
                  <a:schemeClr val="dk2"/>
                </a:solidFill>
                <a:latin typeface="Source Sans Pro"/>
                <a:ea typeface="Source Sans Pro"/>
                <a:cs typeface="Source Sans Pro"/>
                <a:sym typeface="PT Serif"/>
              </a:rPr>
              <a:t>Washington DC</a:t>
            </a:r>
            <a:endParaRPr lang="en-US" sz="1100">
              <a:solidFill>
                <a:schemeClr val="dk2"/>
              </a:solidFill>
              <a:latin typeface="Source Sans Pro"/>
              <a:ea typeface="Source Sans Pro"/>
              <a:cs typeface="Source Sans Pro"/>
            </a:endParaRPr>
          </a:p>
          <a:p>
            <a:r>
              <a:rPr lang="en-US" sz="1100" b="0" i="0" u="none" strike="noStrike" cap="none">
                <a:solidFill>
                  <a:schemeClr val="dk2"/>
                </a:solidFill>
                <a:latin typeface="Source Sans Pro"/>
                <a:ea typeface="Source Sans Pro"/>
                <a:cs typeface="Source Sans Pro"/>
                <a:sym typeface="Source Sans Pro"/>
              </a:rPr>
              <a:t>Product </a:t>
            </a:r>
            <a:r>
              <a:rPr lang="en-US" sz="1100">
                <a:solidFill>
                  <a:schemeClr val="dk2"/>
                </a:solidFill>
                <a:latin typeface="Source Sans Pro"/>
                <a:ea typeface="Source Sans Pro"/>
                <a:cs typeface="Source Sans Pro"/>
                <a:sym typeface="Source Sans Pro"/>
              </a:rPr>
              <a:t>Lead</a:t>
            </a:r>
            <a:endParaRPr lang="en-US" sz="1100" b="0" i="0" u="none" strike="noStrike" cap="none">
              <a:solidFill>
                <a:schemeClr val="dk2"/>
              </a:solidFill>
              <a:latin typeface="Source Sans Pro"/>
              <a:ea typeface="Source Sans Pro"/>
              <a:cs typeface="Source Sans Pro"/>
            </a:endParaRPr>
          </a:p>
        </p:txBody>
      </p:sp>
      <p:pic>
        <p:nvPicPr>
          <p:cNvPr id="6" name="Picture 5">
            <a:extLst>
              <a:ext uri="{FF2B5EF4-FFF2-40B4-BE49-F238E27FC236}">
                <a16:creationId xmlns:a16="http://schemas.microsoft.com/office/drawing/2014/main" id="{7948A3F3-9796-46CE-9F61-00A80F8DEF69}"/>
              </a:ext>
            </a:extLst>
          </p:cNvPr>
          <p:cNvPicPr>
            <a:picLocks noChangeAspect="1"/>
          </p:cNvPicPr>
          <p:nvPr/>
        </p:nvPicPr>
        <p:blipFill rotWithShape="1">
          <a:blip r:embed="rId12"/>
          <a:srcRect l="14185" t="16338" r="8961" b="12605"/>
          <a:stretch/>
        </p:blipFill>
        <p:spPr>
          <a:xfrm>
            <a:off x="447147" y="2148419"/>
            <a:ext cx="891768" cy="920424"/>
          </a:xfrm>
          <a:prstGeom prst="flowChartConnector">
            <a:avLst/>
          </a:prstGeom>
        </p:spPr>
      </p:pic>
      <p:pic>
        <p:nvPicPr>
          <p:cNvPr id="7" name="Picture 6" descr="A person with a beard&#10;&#10;Description automatically generated with low confidence">
            <a:extLst>
              <a:ext uri="{FF2B5EF4-FFF2-40B4-BE49-F238E27FC236}">
                <a16:creationId xmlns:a16="http://schemas.microsoft.com/office/drawing/2014/main" id="{95A77363-E608-4059-A435-11A522FD102A}"/>
              </a:ext>
            </a:extLst>
          </p:cNvPr>
          <p:cNvPicPr>
            <a:picLocks noChangeAspect="1"/>
          </p:cNvPicPr>
          <p:nvPr/>
        </p:nvPicPr>
        <p:blipFill rotWithShape="1">
          <a:blip r:embed="rId13"/>
          <a:srcRect l="14161" r="14005"/>
          <a:stretch/>
        </p:blipFill>
        <p:spPr>
          <a:xfrm>
            <a:off x="10796053" y="4482868"/>
            <a:ext cx="880529" cy="908764"/>
          </a:xfrm>
          <a:prstGeom prst="flowChartConnector">
            <a:avLst/>
          </a:prstGeom>
        </p:spPr>
      </p:pic>
      <p:sp>
        <p:nvSpPr>
          <p:cNvPr id="52" name="Google Shape;218;p2">
            <a:extLst>
              <a:ext uri="{FF2B5EF4-FFF2-40B4-BE49-F238E27FC236}">
                <a16:creationId xmlns:a16="http://schemas.microsoft.com/office/drawing/2014/main" id="{6C9D2FE4-3EA2-442C-939B-BC72E4710CD2}"/>
              </a:ext>
            </a:extLst>
          </p:cNvPr>
          <p:cNvSpPr txBox="1"/>
          <p:nvPr/>
        </p:nvSpPr>
        <p:spPr>
          <a:xfrm>
            <a:off x="10805733" y="5573668"/>
            <a:ext cx="1003124" cy="484748"/>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chemeClr val="dk2"/>
              </a:buClr>
              <a:buSzPts val="1200"/>
              <a:buFont typeface="PT Serif"/>
              <a:buNone/>
            </a:pPr>
            <a:r>
              <a:rPr lang="en-US" sz="1050" b="1">
                <a:solidFill>
                  <a:schemeClr val="dk2"/>
                </a:solidFill>
                <a:latin typeface="PT Serif"/>
                <a:ea typeface="PT Serif"/>
                <a:cs typeface="PT Serif"/>
                <a:sym typeface="PT Serif"/>
              </a:rPr>
              <a:t>Travis</a:t>
            </a:r>
            <a:r>
              <a:rPr lang="en-US" sz="1050" b="1" i="0" u="none" strike="noStrike" cap="none">
                <a:solidFill>
                  <a:schemeClr val="dk2"/>
                </a:solidFill>
                <a:latin typeface="PT Serif"/>
                <a:ea typeface="PT Serif"/>
                <a:cs typeface="PT Serif"/>
                <a:sym typeface="PT Serif"/>
              </a:rPr>
              <a:t> Hoffmann</a:t>
            </a:r>
            <a:endParaRPr sz="1050" b="0" i="0" u="none" strike="noStrike" cap="none">
              <a:solidFill>
                <a:schemeClr val="dk2"/>
              </a:solidFill>
              <a:latin typeface="PT Serif"/>
              <a:ea typeface="PT Serif"/>
              <a:cs typeface="PT Serif"/>
              <a:sym typeface="PT Serif"/>
            </a:endParaRPr>
          </a:p>
          <a:p>
            <a:pPr marL="0" marR="0" lvl="0" indent="0" algn="l" rtl="0">
              <a:lnSpc>
                <a:spcPct val="100000"/>
              </a:lnSpc>
              <a:spcBef>
                <a:spcPts val="0"/>
              </a:spcBef>
              <a:spcAft>
                <a:spcPts val="0"/>
              </a:spcAft>
              <a:buClr>
                <a:schemeClr val="dk2"/>
              </a:buClr>
              <a:buSzPts val="1200"/>
              <a:buFont typeface="PT Serif"/>
              <a:buNone/>
            </a:pPr>
            <a:r>
              <a:rPr lang="en-US" sz="1050" b="0" i="0" u="none" strike="noStrike" cap="none">
                <a:solidFill>
                  <a:schemeClr val="dk2"/>
                </a:solidFill>
                <a:latin typeface="Source Sans Pro"/>
                <a:ea typeface="Source Sans Pro"/>
                <a:cs typeface="Source Sans Pro"/>
                <a:sym typeface="Source Sans Pro"/>
              </a:rPr>
              <a:t>MO Studio</a:t>
            </a:r>
            <a:endParaRPr sz="1050" b="0" i="0" u="none" strike="noStrike" cap="none">
              <a:solidFill>
                <a:schemeClr val="dk2"/>
              </a:solidFill>
              <a:latin typeface="Source Sans Pro"/>
              <a:ea typeface="Source Sans Pro"/>
              <a:cs typeface="Source Sans Pro"/>
              <a:sym typeface="Source Sans Pro"/>
            </a:endParaRPr>
          </a:p>
        </p:txBody>
      </p:sp>
      <p:sp>
        <p:nvSpPr>
          <p:cNvPr id="41" name="Google Shape;221;p2">
            <a:extLst>
              <a:ext uri="{FF2B5EF4-FFF2-40B4-BE49-F238E27FC236}">
                <a16:creationId xmlns:a16="http://schemas.microsoft.com/office/drawing/2014/main" id="{D7465A85-8A15-4EAD-96FC-B47DC0EA8700}"/>
              </a:ext>
            </a:extLst>
          </p:cNvPr>
          <p:cNvSpPr txBox="1"/>
          <p:nvPr/>
        </p:nvSpPr>
        <p:spPr>
          <a:xfrm>
            <a:off x="5590936" y="3183700"/>
            <a:ext cx="1259761" cy="677108"/>
          </a:xfrm>
          <a:prstGeom prst="rect">
            <a:avLst/>
          </a:prstGeom>
          <a:noFill/>
          <a:ln>
            <a:noFill/>
          </a:ln>
        </p:spPr>
        <p:txBody>
          <a:bodyPr spcFirstLastPara="1" wrap="square" lIns="0" tIns="0" rIns="0" bIns="0" anchor="t" anchorCtr="0">
            <a:spAutoFit/>
          </a:bodyPr>
          <a:lstStyle/>
          <a:p>
            <a:pPr>
              <a:buClr>
                <a:schemeClr val="dk2"/>
              </a:buClr>
              <a:buSzPts val="1200"/>
            </a:pPr>
            <a:r>
              <a:rPr lang="en-US" sz="1100" b="1" i="0" u="none" strike="noStrike" cap="none">
                <a:solidFill>
                  <a:schemeClr val="dk2"/>
                </a:solidFill>
                <a:latin typeface="PT Serif"/>
                <a:ea typeface="PT Serif"/>
                <a:cs typeface="PT Serif"/>
                <a:sym typeface="PT Serif"/>
              </a:rPr>
              <a:t>Shashank Khandelwal</a:t>
            </a:r>
          </a:p>
          <a:p>
            <a:pPr>
              <a:buClr>
                <a:schemeClr val="dk2"/>
              </a:buClr>
              <a:buSzPts val="1200"/>
            </a:pPr>
            <a:r>
              <a:rPr lang="en-US" sz="1100" b="0" i="0" u="none" strike="noStrike" cap="none">
                <a:solidFill>
                  <a:schemeClr val="dk2"/>
                </a:solidFill>
                <a:latin typeface="Source Sans Pro"/>
                <a:ea typeface="Source Sans Pro"/>
                <a:cs typeface="Source Sans Pro"/>
                <a:sym typeface="Source Sans Pro"/>
              </a:rPr>
              <a:t>Rockville, MD</a:t>
            </a:r>
            <a:endParaRPr lang="en-US" sz="1100" b="0" i="0" u="none" strike="noStrike" cap="none">
              <a:solidFill>
                <a:schemeClr val="dk2"/>
              </a:solidFill>
              <a:latin typeface="Source Sans Pro"/>
              <a:ea typeface="Source Sans Pro"/>
              <a:cs typeface="Source Sans Pro"/>
            </a:endParaRPr>
          </a:p>
          <a:p>
            <a:r>
              <a:rPr lang="en-US" sz="1100">
                <a:latin typeface="Source Sans Pro"/>
                <a:ea typeface="Source Sans Pro"/>
                <a:cs typeface="Source Sans Pro"/>
                <a:sym typeface="Source Sans Pro"/>
              </a:rPr>
              <a:t>Tech Lead</a:t>
            </a:r>
            <a:endParaRPr lang="en-US"/>
          </a:p>
        </p:txBody>
      </p:sp>
      <p:pic>
        <p:nvPicPr>
          <p:cNvPr id="3" name="Picture 2" descr="A person with a beard&#10;&#10;Description automatically generated with low confidence">
            <a:extLst>
              <a:ext uri="{FF2B5EF4-FFF2-40B4-BE49-F238E27FC236}">
                <a16:creationId xmlns:a16="http://schemas.microsoft.com/office/drawing/2014/main" id="{94870796-FFF7-457A-B411-194834B58735}"/>
              </a:ext>
            </a:extLst>
          </p:cNvPr>
          <p:cNvPicPr>
            <a:picLocks noChangeAspect="1"/>
          </p:cNvPicPr>
          <p:nvPr/>
        </p:nvPicPr>
        <p:blipFill rotWithShape="1">
          <a:blip r:embed="rId14">
            <a:extLst>
              <a:ext uri="{28A0092B-C50C-407E-A947-70E740481C1C}">
                <a14:useLocalDpi xmlns:a14="http://schemas.microsoft.com/office/drawing/2010/main" val="0"/>
              </a:ext>
            </a:extLst>
          </a:blip>
          <a:srcRect r="215" b="21596"/>
          <a:stretch/>
        </p:blipFill>
        <p:spPr>
          <a:xfrm>
            <a:off x="5602138" y="2150428"/>
            <a:ext cx="900063" cy="942943"/>
          </a:xfrm>
          <a:prstGeom prst="flowChartConnector">
            <a:avLst/>
          </a:prstGeom>
          <a:ln>
            <a:noFill/>
          </a:ln>
        </p:spPr>
      </p:pic>
      <p:pic>
        <p:nvPicPr>
          <p:cNvPr id="5" name="Picture 4" descr="A person wearing sunglasses&#10;&#10;Description automatically generated with medium confidence">
            <a:extLst>
              <a:ext uri="{FF2B5EF4-FFF2-40B4-BE49-F238E27FC236}">
                <a16:creationId xmlns:a16="http://schemas.microsoft.com/office/drawing/2014/main" id="{FC019060-1B28-4D51-9887-32F13B56AFC1}"/>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3885409" y="4533836"/>
            <a:ext cx="841059" cy="910240"/>
          </a:xfrm>
          <a:prstGeom prst="flowChartConnector">
            <a:avLst/>
          </a:prstGeom>
        </p:spPr>
      </p:pic>
      <p:pic>
        <p:nvPicPr>
          <p:cNvPr id="15" name="Picture 14" descr="A picture containing person, person&#10;&#10;Description automatically generated">
            <a:extLst>
              <a:ext uri="{FF2B5EF4-FFF2-40B4-BE49-F238E27FC236}">
                <a16:creationId xmlns:a16="http://schemas.microsoft.com/office/drawing/2014/main" id="{30F030A8-E0C2-4D8F-B8FE-82950621BB39}"/>
              </a:ext>
            </a:extLst>
          </p:cNvPr>
          <p:cNvPicPr>
            <a:picLocks noChangeAspect="1"/>
          </p:cNvPicPr>
          <p:nvPr/>
        </p:nvPicPr>
        <p:blipFill rotWithShape="1">
          <a:blip r:embed="rId16">
            <a:extLst>
              <a:ext uri="{28A0092B-C50C-407E-A947-70E740481C1C}">
                <a14:useLocalDpi xmlns:a14="http://schemas.microsoft.com/office/drawing/2010/main" val="0"/>
              </a:ext>
            </a:extLst>
          </a:blip>
          <a:srcRect l="13916" r="13417" b="48592"/>
          <a:stretch/>
        </p:blipFill>
        <p:spPr>
          <a:xfrm>
            <a:off x="373766" y="4449277"/>
            <a:ext cx="1024121" cy="937158"/>
          </a:xfrm>
          <a:prstGeom prst="flowChartConnector">
            <a:avLst/>
          </a:prstGeom>
        </p:spPr>
      </p:pic>
      <p:sp>
        <p:nvSpPr>
          <p:cNvPr id="2" name="TextBox 1">
            <a:extLst>
              <a:ext uri="{FF2B5EF4-FFF2-40B4-BE49-F238E27FC236}">
                <a16:creationId xmlns:a16="http://schemas.microsoft.com/office/drawing/2014/main" id="{4CACD35F-2F4A-499E-8CF3-489D34CA2416}"/>
              </a:ext>
            </a:extLst>
          </p:cNvPr>
          <p:cNvSpPr txBox="1"/>
          <p:nvPr/>
        </p:nvSpPr>
        <p:spPr>
          <a:xfrm>
            <a:off x="10581036" y="467622"/>
            <a:ext cx="1304455" cy="507831"/>
          </a:xfrm>
          <a:prstGeom prst="rect">
            <a:avLst/>
          </a:prstGeom>
          <a:noFill/>
        </p:spPr>
        <p:txBody>
          <a:bodyPr wrap="square" lIns="91440" tIns="45720" rIns="91440" bIns="45720" rtlCol="0" anchor="t">
            <a:spAutoFit/>
          </a:bodyPr>
          <a:lstStyle/>
          <a:p>
            <a:r>
              <a:rPr lang="en-US" sz="900">
                <a:solidFill>
                  <a:schemeClr val="tx1">
                    <a:lumMod val="50000"/>
                    <a:lumOff val="50000"/>
                  </a:schemeClr>
                </a:solidFill>
                <a:latin typeface="Source Sans Pro"/>
              </a:rPr>
              <a:t>Frog Design staff roll off, Friday 4/22:</a:t>
            </a:r>
          </a:p>
          <a:p>
            <a:r>
              <a:rPr lang="en-US" sz="900" b="1">
                <a:solidFill>
                  <a:schemeClr val="tx1">
                    <a:lumMod val="50000"/>
                    <a:lumOff val="50000"/>
                  </a:schemeClr>
                </a:solidFill>
                <a:latin typeface="Source Sans Pro"/>
              </a:rPr>
              <a:t>Kit, James, Grace</a:t>
            </a:r>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Shape 691"/>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339F7FD-B9B1-4B3D-82B8-0B1D2490A086}"/>
              </a:ext>
            </a:extLst>
          </p:cNvPr>
          <p:cNvGraphicFramePr>
            <a:graphicFrameLocks noChangeAspect="1"/>
          </p:cNvGraphicFramePr>
          <p:nvPr>
            <p:custDataLst>
              <p:tags r:id="rId2"/>
            </p:custDataLst>
            <p:extLst>
              <p:ext uri="{D42A27DB-BD31-4B8C-83A1-F6EECF244321}">
                <p14:modId xmlns:p14="http://schemas.microsoft.com/office/powerpoint/2010/main" val="17998197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465" name="think-cell Slide" r:id="rId5" imgW="395" imgH="396" progId="TCLayout.ActiveDocument.1">
                  <p:embed/>
                </p:oleObj>
              </mc:Choice>
              <mc:Fallback>
                <p:oleObj name="think-cell Slide" r:id="rId5" imgW="395" imgH="396" progId="TCLayout.ActiveDocument.1">
                  <p:embed/>
                  <p:pic>
                    <p:nvPicPr>
                      <p:cNvPr id="3" name="Object 2" hidden="1">
                        <a:extLst>
                          <a:ext uri="{FF2B5EF4-FFF2-40B4-BE49-F238E27FC236}">
                            <a16:creationId xmlns:a16="http://schemas.microsoft.com/office/drawing/2014/main" id="{E339F7FD-B9B1-4B3D-82B8-0B1D2490A08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92" name="Google Shape;692;p20"/>
          <p:cNvSpPr txBox="1">
            <a:spLocks noGrp="1"/>
          </p:cNvSpPr>
          <p:nvPr>
            <p:ph type="title"/>
          </p:nvPr>
        </p:nvSpPr>
        <p:spPr>
          <a:xfrm>
            <a:off x="312812" y="373491"/>
            <a:ext cx="11353800" cy="746983"/>
          </a:xfrm>
          <a:prstGeom prst="rect">
            <a:avLst/>
          </a:prstGeom>
          <a:noFill/>
          <a:ln>
            <a:noFill/>
          </a:ln>
        </p:spPr>
        <p:txBody>
          <a:bodyPr spcFirstLastPara="1" wrap="square" lIns="91425" tIns="45700" rIns="91425" bIns="45700" anchor="t" anchorCtr="0">
            <a:normAutofit/>
          </a:bodyPr>
          <a:lstStyle/>
          <a:p>
            <a:r>
              <a:rPr lang="en-US" sz="3200"/>
              <a:t>Sprint 6 Deliverables 1095-B (1 of 2)</a:t>
            </a:r>
          </a:p>
        </p:txBody>
      </p:sp>
      <p:sp>
        <p:nvSpPr>
          <p:cNvPr id="693" name="Google Shape;693;p20"/>
          <p:cNvSpPr txBox="1">
            <a:spLocks noGrp="1"/>
          </p:cNvSpPr>
          <p:nvPr>
            <p:ph type="sldNum" idx="12"/>
          </p:nvPr>
        </p:nvSpPr>
        <p:spPr>
          <a:xfrm>
            <a:off x="11474969" y="6363970"/>
            <a:ext cx="406052" cy="365125"/>
          </a:xfrm>
          <a:prstGeom prst="rect">
            <a:avLst/>
          </a:prstGeom>
          <a:noFill/>
          <a:ln>
            <a:noFill/>
          </a:ln>
        </p:spPr>
        <p:txBody>
          <a:bodyPr spcFirstLastPara="1" wrap="square" lIns="91425" tIns="45700" rIns="91425" bIns="45700" anchor="ctr" anchorCtr="0">
            <a:noAutofit/>
          </a:bodyPr>
          <a:lstStyle/>
          <a:p>
            <a:pPr marL="0" lvl="0" indent="0" algn="r" rtl="0">
              <a:spcBef>
                <a:spcPts val="0"/>
              </a:spcBef>
              <a:spcAft>
                <a:spcPts val="0"/>
              </a:spcAft>
              <a:buNone/>
            </a:pPr>
            <a:fld id="{00000000-1234-1234-1234-123412341234}" type="slidenum">
              <a:rPr lang="en-US">
                <a:latin typeface="Source Sans Pro"/>
                <a:ea typeface="Source Sans Pro"/>
                <a:cs typeface="Source Sans Pro"/>
                <a:sym typeface="Source Sans Pro"/>
              </a:rPr>
              <a:t>20</a:t>
            </a:fld>
            <a:endParaRPr>
              <a:latin typeface="Source Sans Pro"/>
              <a:ea typeface="Source Sans Pro"/>
              <a:cs typeface="Source Sans Pro"/>
              <a:sym typeface="Source Sans Pro"/>
            </a:endParaRPr>
          </a:p>
        </p:txBody>
      </p:sp>
      <p:graphicFrame>
        <p:nvGraphicFramePr>
          <p:cNvPr id="694" name="Google Shape;694;p20"/>
          <p:cNvGraphicFramePr/>
          <p:nvPr>
            <p:extLst>
              <p:ext uri="{D42A27DB-BD31-4B8C-83A1-F6EECF244321}">
                <p14:modId xmlns:p14="http://schemas.microsoft.com/office/powerpoint/2010/main" val="1044149215"/>
              </p:ext>
            </p:extLst>
          </p:nvPr>
        </p:nvGraphicFramePr>
        <p:xfrm>
          <a:off x="431214" y="1030271"/>
          <a:ext cx="11329571" cy="4576601"/>
        </p:xfrm>
        <a:graphic>
          <a:graphicData uri="http://schemas.openxmlformats.org/drawingml/2006/table">
            <a:tbl>
              <a:tblPr>
                <a:noFill/>
                <a:tableStyleId>{1F4BC13E-62C9-4DB2-9D77-78E559E1D0AC}</a:tableStyleId>
              </a:tblPr>
              <a:tblGrid>
                <a:gridCol w="824272">
                  <a:extLst>
                    <a:ext uri="{9D8B030D-6E8A-4147-A177-3AD203B41FA5}">
                      <a16:colId xmlns:a16="http://schemas.microsoft.com/office/drawing/2014/main" val="20000"/>
                    </a:ext>
                  </a:extLst>
                </a:gridCol>
                <a:gridCol w="4085545">
                  <a:extLst>
                    <a:ext uri="{9D8B030D-6E8A-4147-A177-3AD203B41FA5}">
                      <a16:colId xmlns:a16="http://schemas.microsoft.com/office/drawing/2014/main" val="20001"/>
                    </a:ext>
                  </a:extLst>
                </a:gridCol>
                <a:gridCol w="747202">
                  <a:extLst>
                    <a:ext uri="{9D8B030D-6E8A-4147-A177-3AD203B41FA5}">
                      <a16:colId xmlns:a16="http://schemas.microsoft.com/office/drawing/2014/main" val="20002"/>
                    </a:ext>
                  </a:extLst>
                </a:gridCol>
                <a:gridCol w="914146">
                  <a:extLst>
                    <a:ext uri="{9D8B030D-6E8A-4147-A177-3AD203B41FA5}">
                      <a16:colId xmlns:a16="http://schemas.microsoft.com/office/drawing/2014/main" val="20003"/>
                    </a:ext>
                  </a:extLst>
                </a:gridCol>
                <a:gridCol w="2039353">
                  <a:extLst>
                    <a:ext uri="{9D8B030D-6E8A-4147-A177-3AD203B41FA5}">
                      <a16:colId xmlns:a16="http://schemas.microsoft.com/office/drawing/2014/main" val="20004"/>
                    </a:ext>
                  </a:extLst>
                </a:gridCol>
                <a:gridCol w="1358880">
                  <a:extLst>
                    <a:ext uri="{9D8B030D-6E8A-4147-A177-3AD203B41FA5}">
                      <a16:colId xmlns:a16="http://schemas.microsoft.com/office/drawing/2014/main" val="20005"/>
                    </a:ext>
                  </a:extLst>
                </a:gridCol>
                <a:gridCol w="1360173">
                  <a:extLst>
                    <a:ext uri="{9D8B030D-6E8A-4147-A177-3AD203B41FA5}">
                      <a16:colId xmlns:a16="http://schemas.microsoft.com/office/drawing/2014/main" val="20006"/>
                    </a:ext>
                  </a:extLst>
                </a:gridCol>
              </a:tblGrid>
              <a:tr h="362504">
                <a:tc>
                  <a:txBody>
                    <a:bodyPr/>
                    <a:lstStyle/>
                    <a:p>
                      <a:pPr marL="0" marR="0" lvl="0" indent="0" algn="l" rtl="0">
                        <a:spcBef>
                          <a:spcPts val="0"/>
                        </a:spcBef>
                        <a:spcAft>
                          <a:spcPts val="0"/>
                        </a:spcAft>
                        <a:buClr>
                          <a:schemeClr val="accent1"/>
                        </a:buClr>
                        <a:buSzPts val="1100"/>
                        <a:buFont typeface="Source Sans Pro SemiBold"/>
                        <a:buNone/>
                      </a:pPr>
                      <a:r>
                        <a:rPr lang="en-US" sz="1000" u="none" strike="noStrike" cap="none">
                          <a:solidFill>
                            <a:schemeClr val="accent1"/>
                          </a:solidFill>
                          <a:latin typeface="Source Sans Pro SemiBold"/>
                          <a:ea typeface="Source Sans Pro SemiBold"/>
                          <a:cs typeface="Source Sans Pro SemiBold"/>
                          <a:sym typeface="Source Sans Pro SemiBold"/>
                        </a:rPr>
                        <a:t>EPIC</a:t>
                      </a:r>
                      <a:endParaRPr sz="1000">
                        <a:latin typeface="Source Sans Pro SemiBold"/>
                        <a:ea typeface="Source Sans Pro SemiBold"/>
                        <a:cs typeface="Source Sans Pro SemiBold"/>
                        <a:sym typeface="Source Sans Pro SemiBold"/>
                      </a:endParaRPr>
                    </a:p>
                  </a:txBody>
                  <a:tcPr marL="0" marR="91450" marT="9144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12700" cap="flat" cmpd="sng" algn="ctr">
                      <a:solidFill>
                        <a:schemeClr val="tx1"/>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rgbClr val="022D50"/>
                        </a:buClr>
                        <a:buSzPts val="1100"/>
                        <a:buFont typeface="Source Sans Pro SemiBold"/>
                        <a:buNone/>
                      </a:pPr>
                      <a:r>
                        <a:rPr lang="en-US" sz="1000" b="0" i="0" u="none" strike="noStrike" cap="none">
                          <a:solidFill>
                            <a:srgbClr val="022D50"/>
                          </a:solidFill>
                          <a:latin typeface="Source Sans Pro SemiBold"/>
                          <a:ea typeface="Source Sans Pro SemiBold"/>
                          <a:cs typeface="Source Sans Pro SemiBold"/>
                          <a:sym typeface="Source Sans Pro SemiBold"/>
                        </a:rPr>
                        <a:t>STORY</a:t>
                      </a:r>
                      <a:endParaRPr sz="1000" b="0" i="0" u="none" strike="noStrike" cap="none">
                        <a:solidFill>
                          <a:srgbClr val="202120"/>
                        </a:solidFill>
                        <a:latin typeface="Source Sans Pro SemiBold"/>
                        <a:ea typeface="Source Sans Pro SemiBold"/>
                        <a:cs typeface="Source Sans Pro SemiBold"/>
                        <a:sym typeface="Source Sans Pro SemiBold"/>
                      </a:endParaRPr>
                    </a:p>
                  </a:txBody>
                  <a:tcPr marL="0" marR="91450" marT="9144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12700" cap="flat" cmpd="sng" algn="ctr">
                      <a:solidFill>
                        <a:schemeClr val="tx1"/>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accent1"/>
                        </a:buClr>
                        <a:buSzPts val="1400"/>
                        <a:buFont typeface="Source Sans Pro SemiBold"/>
                        <a:buNone/>
                      </a:pPr>
                      <a:r>
                        <a:rPr lang="en-US" sz="1000" b="1" i="0" u="none" strike="noStrike">
                          <a:solidFill>
                            <a:schemeClr val="accent1"/>
                          </a:solidFill>
                          <a:latin typeface="Source Sans Pro Semibold"/>
                          <a:ea typeface="Source Sans Pro Semibold"/>
                          <a:cs typeface="Source Sans Pro Semibold"/>
                          <a:sym typeface="Source Sans Pro SemiBold"/>
                        </a:rPr>
                        <a:t>ESTIMATE</a:t>
                      </a:r>
                      <a:endParaRPr sz="1000">
                        <a:latin typeface="Source Sans Pro SemiBold"/>
                        <a:ea typeface="Source Sans Pro SemiBold"/>
                        <a:cs typeface="Source Sans Pro SemiBold"/>
                        <a:sym typeface="Source Sans Pro SemiBold"/>
                      </a:endParaRPr>
                    </a:p>
                  </a:txBody>
                  <a:tcPr marL="0" marR="91450" marT="9144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12700" cap="flat" cmpd="sng" algn="ctr">
                      <a:solidFill>
                        <a:schemeClr val="tx1"/>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rgbClr val="022D50"/>
                        </a:buClr>
                        <a:buSzPts val="1400"/>
                        <a:buFont typeface="Source Sans Pro SemiBold"/>
                        <a:buNone/>
                      </a:pPr>
                      <a:r>
                        <a:rPr lang="en-US" sz="1000" b="1" i="0" u="none" strike="noStrike" cap="none">
                          <a:solidFill>
                            <a:srgbClr val="022D50"/>
                          </a:solidFill>
                          <a:latin typeface="Source Sans Pro Semibold"/>
                          <a:ea typeface="Source Sans Pro Semibold"/>
                          <a:cs typeface="Source Sans Pro Semibold"/>
                          <a:sym typeface="Source Sans Pro SemiBold"/>
                        </a:rPr>
                        <a:t>ASSIGNED</a:t>
                      </a:r>
                      <a:endParaRPr sz="1000" b="0" i="0" u="none" strike="noStrike" cap="none">
                        <a:solidFill>
                          <a:srgbClr val="202120"/>
                        </a:solidFill>
                        <a:latin typeface="Source Sans Pro SemiBold"/>
                        <a:ea typeface="Source Sans Pro SemiBold"/>
                        <a:cs typeface="Source Sans Pro SemiBold"/>
                        <a:sym typeface="Source Sans Pro SemiBold"/>
                      </a:endParaRPr>
                    </a:p>
                  </a:txBody>
                  <a:tcPr marL="0" marR="91450" marT="9144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12700" cap="flat" cmpd="sng" algn="ctr">
                      <a:solidFill>
                        <a:schemeClr val="tx1"/>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rgbClr val="022D50"/>
                        </a:buClr>
                        <a:buSzPts val="1400"/>
                        <a:buFont typeface="Source Sans Pro SemiBold"/>
                        <a:buNone/>
                      </a:pPr>
                      <a:r>
                        <a:rPr lang="en-US" sz="1000" b="1" i="0" u="none" strike="noStrike" cap="none">
                          <a:solidFill>
                            <a:srgbClr val="022D50"/>
                          </a:solidFill>
                          <a:latin typeface="Source Sans Pro Semibold"/>
                          <a:ea typeface="Source Sans Pro Semibold"/>
                          <a:cs typeface="Source Sans Pro Semibold"/>
                          <a:sym typeface="Source Sans Pro SemiBold"/>
                        </a:rPr>
                        <a:t>OUTPUT</a:t>
                      </a:r>
                      <a:endParaRPr sz="1000" b="0" i="0" u="none" strike="noStrike" cap="none">
                        <a:solidFill>
                          <a:srgbClr val="202120"/>
                        </a:solidFill>
                        <a:latin typeface="Source Sans Pro SemiBold"/>
                        <a:ea typeface="Source Sans Pro SemiBold"/>
                        <a:cs typeface="Source Sans Pro SemiBold"/>
                        <a:sym typeface="Source Sans Pro SemiBold"/>
                      </a:endParaRPr>
                    </a:p>
                  </a:txBody>
                  <a:tcPr marL="0" marR="0" marT="9144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12700" cap="flat" cmpd="sng" algn="ctr">
                      <a:solidFill>
                        <a:schemeClr val="tx1"/>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rgbClr val="022D50"/>
                        </a:buClr>
                        <a:buSzPts val="1400"/>
                        <a:buFont typeface="Source Sans Pro SemiBold"/>
                        <a:buNone/>
                      </a:pPr>
                      <a:r>
                        <a:rPr lang="en-US" sz="1000" b="1" i="0" u="none" strike="noStrike" cap="none">
                          <a:solidFill>
                            <a:srgbClr val="022D50"/>
                          </a:solidFill>
                          <a:latin typeface="Source Sans Pro Semibold"/>
                          <a:ea typeface="Source Sans Pro Semibold"/>
                          <a:cs typeface="Source Sans Pro Semibold"/>
                          <a:sym typeface="Source Sans Pro SemiBold"/>
                        </a:rPr>
                        <a:t>REVIEWED W/ VA-PO</a:t>
                      </a:r>
                      <a:endParaRPr sz="1000" b="0" i="0" u="none" strike="noStrike" cap="none">
                        <a:solidFill>
                          <a:srgbClr val="202120"/>
                        </a:solidFill>
                        <a:latin typeface="Source Sans Pro SemiBold"/>
                        <a:ea typeface="Source Sans Pro SemiBold"/>
                        <a:cs typeface="Source Sans Pro SemiBold"/>
                        <a:sym typeface="Source Sans Pro SemiBold"/>
                      </a:endParaRPr>
                    </a:p>
                  </a:txBody>
                  <a:tcPr marL="0" marR="0" marT="9144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12700" cap="flat" cmpd="sng" algn="ctr">
                      <a:solidFill>
                        <a:schemeClr val="tx1"/>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accent1"/>
                        </a:buClr>
                        <a:buSzPts val="1400"/>
                        <a:buFont typeface="Source Sans Pro SemiBold"/>
                        <a:buNone/>
                      </a:pPr>
                      <a:r>
                        <a:rPr lang="en-US" sz="1000" b="1" i="0" u="none" strike="noStrike">
                          <a:solidFill>
                            <a:schemeClr val="accent1"/>
                          </a:solidFill>
                          <a:latin typeface="Source Sans Pro Semibold"/>
                          <a:ea typeface="Source Sans Pro Semibold"/>
                          <a:cs typeface="Source Sans Pro Semibold"/>
                          <a:sym typeface="Source Sans Pro SemiBold"/>
                        </a:rPr>
                        <a:t>SPRINT TEAM GOAL COMPLETED?</a:t>
                      </a:r>
                      <a:endParaRPr sz="1000">
                        <a:latin typeface="Source Sans Pro SemiBold"/>
                        <a:ea typeface="Source Sans Pro SemiBold"/>
                        <a:cs typeface="Source Sans Pro SemiBold"/>
                        <a:sym typeface="Source Sans Pro SemiBold"/>
                      </a:endParaRPr>
                    </a:p>
                  </a:txBody>
                  <a:tcPr marL="91450" marR="91450" marT="0" marB="0">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12700" cap="flat" cmpd="sng" algn="ctr">
                      <a:solidFill>
                        <a:schemeClr val="tx1"/>
                      </a:solidFill>
                      <a:prstDash val="solid"/>
                      <a:round/>
                      <a:headEnd type="none" w="sm" len="sm"/>
                      <a:tailEnd type="none" w="sm" len="sm"/>
                    </a:lnB>
                  </a:tcPr>
                </a:tc>
                <a:extLst>
                  <a:ext uri="{0D108BD9-81ED-4DB2-BD59-A6C34878D82A}">
                    <a16:rowId xmlns:a16="http://schemas.microsoft.com/office/drawing/2014/main" val="10000"/>
                  </a:ext>
                </a:extLst>
              </a:tr>
              <a:tr h="503619">
                <a:tc>
                  <a:txBody>
                    <a:bodyPr/>
                    <a:lstStyle/>
                    <a:p>
                      <a:pPr marL="0" marR="0" lvl="0" indent="0" algn="l" rtl="0">
                        <a:lnSpc>
                          <a:spcPct val="100000"/>
                        </a:lnSpc>
                        <a:spcBef>
                          <a:spcPts val="0"/>
                        </a:spcBef>
                        <a:spcAft>
                          <a:spcPts val="0"/>
                        </a:spcAft>
                        <a:buClr>
                          <a:schemeClr val="dk2"/>
                        </a:buClr>
                        <a:buSzPts val="1050"/>
                        <a:buFont typeface="PT Serif"/>
                        <a:buNone/>
                      </a:pPr>
                      <a:r>
                        <a:rPr lang="en-US" sz="1000" b="0" i="0" u="none" strike="noStrike" cap="none">
                          <a:solidFill>
                            <a:schemeClr val="dk2"/>
                          </a:solidFill>
                          <a:latin typeface="Source Sans Pro"/>
                          <a:ea typeface="Source Sans Pro"/>
                          <a:cs typeface="Source Sans Pro"/>
                          <a:sym typeface="Source Sans Pro"/>
                        </a:rPr>
                        <a:t>Design</a:t>
                      </a:r>
                      <a:endParaRPr sz="1000" u="none" strike="noStrike" cap="none">
                        <a:latin typeface="Source Sans Pro"/>
                        <a:ea typeface="Source Sans Pro"/>
                        <a:cs typeface="Source Sans Pro"/>
                        <a:sym typeface="Source Sans Pro"/>
                      </a:endParaRPr>
                    </a:p>
                  </a:txBody>
                  <a:tcPr marL="0" marR="36575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12700" cap="flat" cmpd="sng">
                      <a:solidFill>
                        <a:schemeClr val="tx1"/>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defTabSz="914400" rtl="0" eaLnBrk="1" fontAlgn="auto" latinLnBrk="0" hangingPunct="1">
                        <a:lnSpc>
                          <a:spcPct val="100000"/>
                        </a:lnSpc>
                        <a:spcBef>
                          <a:spcPts val="0"/>
                        </a:spcBef>
                        <a:spcAft>
                          <a:spcPts val="0"/>
                        </a:spcAft>
                        <a:buClr>
                          <a:schemeClr val="dk1"/>
                        </a:buClr>
                        <a:buSzPts val="1050"/>
                        <a:buFont typeface="PT Serif"/>
                        <a:buNone/>
                        <a:tabLst/>
                        <a:defRPr/>
                      </a:pPr>
                      <a:r>
                        <a:rPr lang="en-US" sz="1000" b="0" i="0" u="none" strike="noStrike" cap="none">
                          <a:solidFill>
                            <a:schemeClr val="dk1"/>
                          </a:solidFill>
                          <a:latin typeface="Source Sans Pro"/>
                          <a:ea typeface="Source Sans Pro"/>
                          <a:hlinkClick r:id="rId7"/>
                        </a:rPr>
                        <a:t>#38035 </a:t>
                      </a:r>
                      <a:r>
                        <a:rPr lang="en-US" sz="1000" b="0" i="0" u="none" strike="noStrike" cap="none">
                          <a:solidFill>
                            <a:schemeClr val="dk1"/>
                          </a:solidFill>
                          <a:latin typeface="Source Sans Pro"/>
                          <a:ea typeface="Source Sans Pro"/>
                        </a:rPr>
                        <a:t>Conduct design QA of coded designs</a:t>
                      </a:r>
                      <a:endParaRPr sz="1000" b="1" i="0" u="none" strike="noStrike" cap="none">
                        <a:solidFill>
                          <a:schemeClr val="bg2"/>
                        </a:solidFill>
                        <a:latin typeface="Source Sans Pro"/>
                        <a:ea typeface="Source Sans Pro"/>
                        <a:cs typeface="Source Sans Pro SemiBold"/>
                        <a:sym typeface="Source Sans Pro SemiBold"/>
                      </a:endParaRPr>
                    </a:p>
                  </a:txBody>
                  <a:tcPr marL="0" marR="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12700" cap="flat" cmpd="sng">
                      <a:solidFill>
                        <a:schemeClr val="tx1"/>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chemeClr val="dk2"/>
                        </a:buClr>
                        <a:buSzPts val="1050"/>
                        <a:buFont typeface="PT Serif"/>
                        <a:buNone/>
                      </a:pPr>
                      <a:r>
                        <a:rPr lang="en-US" sz="1000" u="none" strike="noStrike" cap="none">
                          <a:latin typeface="Source Sans Pro"/>
                          <a:ea typeface="Source Sans Pro"/>
                          <a:cs typeface="Source Sans Pro"/>
                          <a:sym typeface="Source Sans Pro"/>
                        </a:rPr>
                        <a:t>1</a:t>
                      </a:r>
                      <a:endParaRPr sz="1000" u="none" strike="noStrike" cap="none">
                        <a:latin typeface="Source Sans Pro"/>
                        <a:ea typeface="Source Sans Pro"/>
                        <a:cs typeface="Source Sans Pro"/>
                        <a:sym typeface="Source Sans Pro"/>
                      </a:endParaRPr>
                    </a:p>
                  </a:txBody>
                  <a:tcPr marL="0" marR="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12700" cap="flat" cmpd="sng">
                      <a:solidFill>
                        <a:schemeClr val="tx1"/>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2"/>
                        </a:buClr>
                        <a:buSzPts val="1050"/>
                        <a:buFont typeface="PT Serif"/>
                        <a:buNone/>
                      </a:pPr>
                      <a:r>
                        <a:rPr lang="en-US" sz="1000" u="none" strike="noStrike" cap="none">
                          <a:latin typeface="Source Sans Pro"/>
                          <a:ea typeface="Source Sans Pro"/>
                          <a:cs typeface="Source Sans Pro"/>
                          <a:sym typeface="Source Sans Pro"/>
                        </a:rPr>
                        <a:t>James</a:t>
                      </a:r>
                      <a:endParaRPr sz="1000" u="none" strike="noStrike" cap="none">
                        <a:latin typeface="Source Sans Pro"/>
                        <a:ea typeface="Source Sans Pro"/>
                        <a:cs typeface="Source Sans Pro"/>
                        <a:sym typeface="Source Sans Pro"/>
                      </a:endParaRPr>
                    </a:p>
                  </a:txBody>
                  <a:tcPr marL="0" marR="36575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12700" cap="flat" cmpd="sng">
                      <a:solidFill>
                        <a:schemeClr val="tx1"/>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120650" marR="0" lvl="0" indent="-120650" algn="l" rtl="0">
                        <a:lnSpc>
                          <a:spcPct val="100000"/>
                        </a:lnSpc>
                        <a:spcBef>
                          <a:spcPts val="0"/>
                        </a:spcBef>
                        <a:spcAft>
                          <a:spcPts val="0"/>
                        </a:spcAft>
                        <a:buClr>
                          <a:schemeClr val="dk1"/>
                        </a:buClr>
                        <a:buSzPts val="800"/>
                        <a:buFont typeface="Noto Sans Symbols"/>
                        <a:buChar char="▪"/>
                      </a:pPr>
                      <a:r>
                        <a:rPr lang="en-US" sz="1000" b="0" i="0" u="none" strike="noStrike" cap="none">
                          <a:solidFill>
                            <a:schemeClr val="dk1"/>
                          </a:solidFill>
                          <a:latin typeface="Source Sans Pro"/>
                          <a:ea typeface="Source Sans Pro"/>
                          <a:hlinkClick r:id="rId8"/>
                        </a:rPr>
                        <a:t>Sitewide production model</a:t>
                      </a:r>
                      <a:endParaRPr lang="en-US" sz="1000" b="0" i="0" u="none" strike="noStrike" cap="none">
                        <a:solidFill>
                          <a:schemeClr val="dk1"/>
                        </a:solidFill>
                        <a:latin typeface="Source Sans Pro"/>
                        <a:ea typeface="Source Sans Pro"/>
                      </a:endParaRPr>
                    </a:p>
                    <a:p>
                      <a:pPr marL="120650" marR="0" lvl="0" indent="-120650" algn="l" rtl="0">
                        <a:lnSpc>
                          <a:spcPct val="100000"/>
                        </a:lnSpc>
                        <a:spcBef>
                          <a:spcPts val="0"/>
                        </a:spcBef>
                        <a:spcAft>
                          <a:spcPts val="0"/>
                        </a:spcAft>
                        <a:buClr>
                          <a:schemeClr val="dk1"/>
                        </a:buClr>
                        <a:buSzPts val="800"/>
                        <a:buFont typeface="Noto Sans Symbols"/>
                        <a:buChar char="▪"/>
                      </a:pPr>
                      <a:r>
                        <a:rPr lang="en-US" sz="1000" b="0" i="0" u="none" strike="noStrike" cap="none">
                          <a:solidFill>
                            <a:schemeClr val="dk1"/>
                          </a:solidFill>
                          <a:latin typeface="Source Sans Pro"/>
                          <a:ea typeface="Source Sans Pro"/>
                          <a:hlinkClick r:id="rId9"/>
                        </a:rPr>
                        <a:t>Unauthenticated desktop (final)</a:t>
                      </a:r>
                      <a:endParaRPr lang="en-US" sz="1000" b="0" i="0" u="none" strike="noStrike" cap="none">
                        <a:solidFill>
                          <a:schemeClr val="dk1"/>
                        </a:solidFill>
                        <a:latin typeface="Source Sans Pro"/>
                        <a:ea typeface="Source Sans Pro"/>
                      </a:endParaRPr>
                    </a:p>
                    <a:p>
                      <a:pPr marL="120650" marR="0" lvl="0" indent="-120650" algn="l" rtl="0">
                        <a:lnSpc>
                          <a:spcPct val="100000"/>
                        </a:lnSpc>
                        <a:spcBef>
                          <a:spcPts val="0"/>
                        </a:spcBef>
                        <a:spcAft>
                          <a:spcPts val="0"/>
                        </a:spcAft>
                        <a:buClr>
                          <a:schemeClr val="dk1"/>
                        </a:buClr>
                        <a:buSzPts val="800"/>
                        <a:buFont typeface="Noto Sans Symbols"/>
                        <a:buChar char="▪"/>
                      </a:pPr>
                      <a:r>
                        <a:rPr lang="en-US" sz="1000" b="0" i="0" u="none" strike="noStrike" cap="none">
                          <a:solidFill>
                            <a:schemeClr val="dk1"/>
                          </a:solidFill>
                          <a:latin typeface="Source Sans Pro"/>
                          <a:ea typeface="Source Sans Pro"/>
                          <a:hlinkClick r:id="rId10"/>
                        </a:rPr>
                        <a:t>Unauthenticated mobile (final)</a:t>
                      </a:r>
                      <a:endParaRPr lang="en-US" sz="1000" b="0" i="0" u="none" strike="noStrike" cap="none">
                        <a:solidFill>
                          <a:schemeClr val="dk1"/>
                        </a:solidFill>
                        <a:latin typeface="Source Sans Pro"/>
                        <a:ea typeface="Source Sans Pro"/>
                      </a:endParaRPr>
                    </a:p>
                  </a:txBody>
                  <a:tcPr marL="0" marR="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12700" cap="flat" cmpd="sng">
                      <a:solidFill>
                        <a:schemeClr val="tx1"/>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defTabSz="914400" rtl="0" eaLnBrk="1" fontAlgn="auto" latinLnBrk="0" hangingPunct="1">
                        <a:lnSpc>
                          <a:spcPct val="100000"/>
                        </a:lnSpc>
                        <a:spcBef>
                          <a:spcPts val="0"/>
                        </a:spcBef>
                        <a:spcAft>
                          <a:spcPts val="0"/>
                        </a:spcAft>
                        <a:buClr>
                          <a:srgbClr val="000000"/>
                        </a:buClr>
                        <a:buSzPts val="1050"/>
                        <a:buFont typeface="PT Serif"/>
                        <a:buNone/>
                        <a:tabLst/>
                        <a:defRPr/>
                      </a:pPr>
                      <a:r>
                        <a:rPr lang="en-US" sz="1000" b="0" i="0" u="none" strike="noStrike" kern="0" cap="none" spc="0" normalizeH="0" baseline="0" noProof="0">
                          <a:ln>
                            <a:noFill/>
                          </a:ln>
                          <a:solidFill>
                            <a:srgbClr val="303A46"/>
                          </a:solidFill>
                          <a:effectLst/>
                          <a:uLnTx/>
                          <a:uFillTx/>
                          <a:latin typeface="Source Sans Pro"/>
                          <a:ea typeface="Source Sans Pro"/>
                          <a:cs typeface="Source Sans Pro"/>
                        </a:rPr>
                        <a:t>4/19/22</a:t>
                      </a:r>
                      <a:endParaRPr kumimoji="0" lang="en-US" sz="1000" b="0" i="0" u="none" strike="noStrike" kern="0" cap="none" spc="0" normalizeH="0" baseline="0" noProof="0">
                        <a:ln>
                          <a:noFill/>
                        </a:ln>
                        <a:solidFill>
                          <a:srgbClr val="303A46"/>
                        </a:solidFill>
                        <a:effectLst/>
                        <a:uLnTx/>
                        <a:uFillTx/>
                        <a:latin typeface="Source Sans Pro"/>
                        <a:ea typeface="Source Sans Pro"/>
                        <a:cs typeface="Source Sans Pro"/>
                        <a:sym typeface="Source Sans Pro"/>
                      </a:endParaRPr>
                    </a:p>
                  </a:txBody>
                  <a:tcPr marL="0" marR="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12700" cap="flat" cmpd="sng">
                      <a:solidFill>
                        <a:schemeClr val="tx1"/>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ctr" defTabSz="914400" rtl="0" eaLnBrk="1" fontAlgn="auto" latinLnBrk="0" hangingPunct="1">
                        <a:lnSpc>
                          <a:spcPct val="100000"/>
                        </a:lnSpc>
                        <a:spcBef>
                          <a:spcPts val="0"/>
                        </a:spcBef>
                        <a:spcAft>
                          <a:spcPts val="0"/>
                        </a:spcAft>
                        <a:buClr>
                          <a:srgbClr val="000000"/>
                        </a:buClr>
                        <a:buSzPts val="1050"/>
                        <a:buFont typeface="PT Serif"/>
                        <a:buNone/>
                        <a:tabLst/>
                        <a:defRPr/>
                      </a:pPr>
                      <a:endParaRPr kumimoji="0" lang="en-US" sz="1000" b="0" i="0" u="none" strike="noStrike" kern="0" cap="none" spc="0" normalizeH="0" baseline="0" noProof="0">
                        <a:ln>
                          <a:noFill/>
                        </a:ln>
                        <a:solidFill>
                          <a:srgbClr val="303A46"/>
                        </a:solidFill>
                        <a:effectLst/>
                        <a:uLnTx/>
                        <a:uFillTx/>
                        <a:latin typeface="Source Sans Pro" panose="020B0503030403020204" pitchFamily="34" charset="0"/>
                        <a:ea typeface="Source Sans Pro" panose="020B0503030403020204" pitchFamily="34" charset="0"/>
                        <a:cs typeface="Source Sans Pro"/>
                        <a:sym typeface="Source Sans Pro"/>
                      </a:endParaRPr>
                    </a:p>
                    <a:p>
                      <a:pPr marL="0" marR="0" lvl="0" indent="0" algn="ctr" defTabSz="914400" rtl="0" eaLnBrk="1" fontAlgn="auto" latinLnBrk="0" hangingPunct="1">
                        <a:lnSpc>
                          <a:spcPct val="100000"/>
                        </a:lnSpc>
                        <a:spcBef>
                          <a:spcPts val="0"/>
                        </a:spcBef>
                        <a:spcAft>
                          <a:spcPts val="0"/>
                        </a:spcAft>
                        <a:buClr>
                          <a:srgbClr val="000000"/>
                        </a:buClr>
                        <a:buSzPts val="1050"/>
                        <a:buFont typeface="PT Serif"/>
                        <a:buNone/>
                        <a:tabLst/>
                        <a:defRPr/>
                      </a:pPr>
                      <a:r>
                        <a:rPr kumimoji="0" lang="en-US" sz="1000" b="0" i="0" u="none" strike="noStrike" kern="0" cap="none" spc="0" normalizeH="0" baseline="0" noProof="0">
                          <a:ln>
                            <a:noFill/>
                          </a:ln>
                          <a:solidFill>
                            <a:srgbClr val="303A46"/>
                          </a:solidFill>
                          <a:effectLst/>
                          <a:uLnTx/>
                          <a:uFillTx/>
                          <a:latin typeface="Source Sans Pro"/>
                          <a:ea typeface="Source Sans Pro"/>
                          <a:cs typeface="Source Sans Pro"/>
                          <a:sym typeface="Source Sans Pro"/>
                        </a:rPr>
                        <a:t>✓</a:t>
                      </a:r>
                    </a:p>
                  </a:txBody>
                  <a:tcPr marL="0" marR="0" marT="0" marB="0">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12700" cap="flat" cmpd="sng">
                      <a:solidFill>
                        <a:schemeClr val="tx1"/>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extLst>
                  <a:ext uri="{0D108BD9-81ED-4DB2-BD59-A6C34878D82A}">
                    <a16:rowId xmlns:a16="http://schemas.microsoft.com/office/drawing/2014/main" val="10001"/>
                  </a:ext>
                </a:extLst>
              </a:tr>
              <a:tr h="349735">
                <a:tc>
                  <a:txBody>
                    <a:bodyPr/>
                    <a:lstStyle/>
                    <a:p>
                      <a:pPr marL="0" marR="0" lvl="0" indent="0" algn="l" rtl="0">
                        <a:lnSpc>
                          <a:spcPct val="100000"/>
                        </a:lnSpc>
                        <a:spcBef>
                          <a:spcPts val="0"/>
                        </a:spcBef>
                        <a:spcAft>
                          <a:spcPts val="0"/>
                        </a:spcAft>
                        <a:buClr>
                          <a:schemeClr val="dk2"/>
                        </a:buClr>
                        <a:buSzPts val="1050"/>
                        <a:buFont typeface="PT Serif"/>
                        <a:buNone/>
                      </a:pPr>
                      <a:r>
                        <a:rPr lang="en-US" sz="1000" b="0" i="0" u="none" strike="noStrike" cap="none">
                          <a:solidFill>
                            <a:schemeClr val="dk2"/>
                          </a:solidFill>
                          <a:latin typeface="Source Sans Pro"/>
                          <a:ea typeface="Source Sans Pro"/>
                          <a:cs typeface="Source Sans Pro"/>
                          <a:sym typeface="Source Sans Pro"/>
                        </a:rPr>
                        <a:t>Design</a:t>
                      </a:r>
                      <a:endParaRPr sz="1000" u="none" strike="noStrike" cap="none">
                        <a:latin typeface="Source Sans Pro"/>
                        <a:ea typeface="Source Sans Pro"/>
                        <a:cs typeface="Source Sans Pro"/>
                        <a:sym typeface="Source Sans Pro"/>
                      </a:endParaRPr>
                    </a:p>
                  </a:txBody>
                  <a:tcPr marL="0" marR="36575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1"/>
                        </a:buClr>
                        <a:buSzPts val="1050"/>
                        <a:buFont typeface="PT Serif"/>
                        <a:buNone/>
                      </a:pPr>
                      <a:r>
                        <a:rPr lang="en-US" sz="1000" b="0" i="0" u="none" strike="noStrike" cap="none">
                          <a:solidFill>
                            <a:schemeClr val="dk1"/>
                          </a:solidFill>
                          <a:latin typeface="Source Sans Pro"/>
                          <a:ea typeface="Source Sans Pro"/>
                          <a:hlinkClick r:id="rId11"/>
                        </a:rPr>
                        <a:t>#39276 </a:t>
                      </a:r>
                      <a:r>
                        <a:rPr lang="en-US" sz="1000" b="0" i="0" u="none" strike="noStrike" cap="none">
                          <a:solidFill>
                            <a:schemeClr val="dk1"/>
                          </a:solidFill>
                          <a:latin typeface="Source Sans Pro"/>
                          <a:ea typeface="Source Sans Pro"/>
                        </a:rPr>
                        <a:t>As a Veteran, I want to be informed that my 1095-B will only be delivered digitally when I opt-in to digital delivery</a:t>
                      </a:r>
                      <a:endParaRPr lang="en-US" sz="1000" b="1" i="0" u="none" strike="noStrike" cap="none">
                        <a:solidFill>
                          <a:schemeClr val="bg2"/>
                        </a:solidFill>
                        <a:latin typeface="Source Sans Pro"/>
                        <a:ea typeface="Source Sans Pro"/>
                        <a:cs typeface="Source Sans Pro SemiBold"/>
                        <a:sym typeface="Source Sans Pro SemiBold"/>
                      </a:endParaRPr>
                    </a:p>
                  </a:txBody>
                  <a:tcPr marL="0" marR="0" marT="0" marB="0" anchor="ctr">
                    <a:lnL w="9525" cap="flat" cmpd="sng">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chemeClr val="dk2"/>
                        </a:buClr>
                        <a:buSzPts val="1050"/>
                        <a:buFont typeface="PT Serif"/>
                        <a:buNone/>
                      </a:pPr>
                      <a:r>
                        <a:rPr lang="en-US" sz="1000" u="none" strike="noStrike" cap="none">
                          <a:latin typeface="Source Sans Pro"/>
                          <a:ea typeface="Source Sans Pro"/>
                          <a:cs typeface="Source Sans Pro"/>
                          <a:sym typeface="Source Sans Pro"/>
                        </a:rPr>
                        <a:t>5</a:t>
                      </a:r>
                    </a:p>
                  </a:txBody>
                  <a:tcPr marL="0" marR="0" marT="0" marB="0" anchor="ctr">
                    <a:lnL w="9525" cap="flat" cmpd="sng" algn="ctr">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2"/>
                        </a:buClr>
                        <a:buSzPts val="1050"/>
                        <a:buFont typeface="PT Serif"/>
                        <a:buNone/>
                      </a:pPr>
                      <a:r>
                        <a:rPr lang="en-US" sz="1000" u="none" strike="noStrike" cap="none">
                          <a:latin typeface="Source Sans Pro"/>
                          <a:ea typeface="Source Sans Pro"/>
                          <a:cs typeface="Source Sans Pro"/>
                          <a:sym typeface="Source Sans Pro"/>
                        </a:rPr>
                        <a:t>Carl</a:t>
                      </a:r>
                    </a:p>
                  </a:txBody>
                  <a:tcPr marL="0" marR="365750" marT="0" marB="0" anchor="ctr">
                    <a:lnL w="9525" cap="flat" cmpd="sng">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120650" marR="0" lvl="0" indent="-120650" algn="l" rtl="0">
                        <a:lnSpc>
                          <a:spcPct val="100000"/>
                        </a:lnSpc>
                        <a:spcBef>
                          <a:spcPts val="0"/>
                        </a:spcBef>
                        <a:spcAft>
                          <a:spcPts val="0"/>
                        </a:spcAft>
                        <a:buClr>
                          <a:schemeClr val="dk1"/>
                        </a:buClr>
                        <a:buSzPts val="800"/>
                        <a:buFont typeface="Noto Sans Symbols"/>
                        <a:buChar char="▪"/>
                      </a:pPr>
                      <a:r>
                        <a:rPr lang="en-US" sz="1000" b="0" i="0" u="none" strike="noStrike" cap="none">
                          <a:solidFill>
                            <a:schemeClr val="dk1"/>
                          </a:solidFill>
                          <a:latin typeface="Source Sans Pro"/>
                          <a:ea typeface="Source Sans Pro"/>
                          <a:hlinkClick r:id="rId12"/>
                        </a:rPr>
                        <a:t>Letter (final draft)</a:t>
                      </a:r>
                      <a:endParaRPr lang="en-US" sz="1000" u="none">
                        <a:latin typeface="Source Sans Pro"/>
                        <a:ea typeface="Source Sans Pro"/>
                      </a:endParaRPr>
                    </a:p>
                  </a:txBody>
                  <a:tcPr marL="0" marR="0" marT="0" marB="0" anchor="ctr">
                    <a:lnL w="9525" cap="flat" cmpd="sng" algn="ctr">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defTabSz="914400" rtl="0" eaLnBrk="1" fontAlgn="auto" latinLnBrk="0" hangingPunct="1">
                        <a:lnSpc>
                          <a:spcPct val="100000"/>
                        </a:lnSpc>
                        <a:spcBef>
                          <a:spcPts val="0"/>
                        </a:spcBef>
                        <a:spcAft>
                          <a:spcPts val="0"/>
                        </a:spcAft>
                        <a:buClr>
                          <a:srgbClr val="000000"/>
                        </a:buClr>
                        <a:buSzPts val="1050"/>
                        <a:buFont typeface="PT Serif"/>
                        <a:buNone/>
                        <a:tabLst/>
                        <a:defRPr/>
                      </a:pPr>
                      <a:r>
                        <a:rPr lang="en-US" sz="1000" b="0" i="0" u="none" strike="noStrike" kern="0" cap="none" spc="0" normalizeH="0" baseline="0" noProof="0">
                          <a:ln>
                            <a:noFill/>
                          </a:ln>
                          <a:solidFill>
                            <a:srgbClr val="303A46"/>
                          </a:solidFill>
                          <a:effectLst/>
                          <a:uLnTx/>
                          <a:uFillTx/>
                          <a:latin typeface="Source Sans Pro"/>
                          <a:ea typeface="Source Sans Pro"/>
                          <a:cs typeface="Source Sans Pro"/>
                        </a:rPr>
                        <a:t>4/15/22</a:t>
                      </a:r>
                      <a:endParaRPr kumimoji="0" lang="en-US" sz="1000" b="0" i="0" u="none" strike="noStrike" kern="0" cap="none" spc="0" normalizeH="0" baseline="0" noProof="0">
                        <a:ln>
                          <a:noFill/>
                        </a:ln>
                        <a:solidFill>
                          <a:srgbClr val="303A46"/>
                        </a:solidFill>
                        <a:effectLst/>
                        <a:uLnTx/>
                        <a:uFillTx/>
                        <a:latin typeface="Source Sans Pro"/>
                        <a:ea typeface="Source Sans Pro"/>
                        <a:cs typeface="Source Sans Pro"/>
                        <a:sym typeface="Source Sans Pro"/>
                      </a:endParaRPr>
                    </a:p>
                  </a:txBody>
                  <a:tcPr marL="0" marR="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ctr" defTabSz="914400" rtl="0" eaLnBrk="1" fontAlgn="auto" latinLnBrk="0" hangingPunct="1">
                        <a:lnSpc>
                          <a:spcPct val="100000"/>
                        </a:lnSpc>
                        <a:spcBef>
                          <a:spcPts val="0"/>
                        </a:spcBef>
                        <a:spcAft>
                          <a:spcPts val="0"/>
                        </a:spcAft>
                        <a:buClr>
                          <a:srgbClr val="000000"/>
                        </a:buClr>
                        <a:buSzPts val="1050"/>
                        <a:buFont typeface="PT Serif"/>
                        <a:buNone/>
                        <a:tabLst/>
                        <a:defRPr/>
                      </a:pPr>
                      <a:endParaRPr kumimoji="0" lang="en-US" sz="1000" b="0" i="0" u="none" strike="noStrike" kern="0" cap="none" spc="0" normalizeH="0" baseline="0" noProof="0">
                        <a:ln>
                          <a:noFill/>
                        </a:ln>
                        <a:solidFill>
                          <a:srgbClr val="303A46"/>
                        </a:solidFill>
                        <a:effectLst/>
                        <a:uLnTx/>
                        <a:uFillTx/>
                        <a:latin typeface="Source Sans Pro" panose="020B0503030403020204" pitchFamily="34" charset="0"/>
                        <a:ea typeface="Source Sans Pro" panose="020B0503030403020204" pitchFamily="34" charset="0"/>
                        <a:cs typeface="Source Sans Pro"/>
                        <a:sym typeface="Source Sans Pro"/>
                      </a:endParaRPr>
                    </a:p>
                    <a:p>
                      <a:pPr marL="0" marR="0" lvl="0" indent="0" algn="ctr" defTabSz="914400" rtl="0" eaLnBrk="1" fontAlgn="auto" latinLnBrk="0" hangingPunct="1">
                        <a:lnSpc>
                          <a:spcPct val="100000"/>
                        </a:lnSpc>
                        <a:spcBef>
                          <a:spcPts val="0"/>
                        </a:spcBef>
                        <a:spcAft>
                          <a:spcPts val="0"/>
                        </a:spcAft>
                        <a:buClr>
                          <a:srgbClr val="000000"/>
                        </a:buClr>
                        <a:buSzPts val="1050"/>
                        <a:buFont typeface="PT Serif"/>
                        <a:buNone/>
                        <a:tabLst/>
                        <a:defRPr/>
                      </a:pPr>
                      <a:r>
                        <a:rPr kumimoji="0" lang="en-US" sz="1000" b="0" i="0" u="none" strike="noStrike" kern="0" cap="none" spc="0" normalizeH="0" baseline="0" noProof="0">
                          <a:ln>
                            <a:noFill/>
                          </a:ln>
                          <a:solidFill>
                            <a:srgbClr val="303A46"/>
                          </a:solidFill>
                          <a:effectLst/>
                          <a:uLnTx/>
                          <a:uFillTx/>
                          <a:latin typeface="Source Sans Pro"/>
                          <a:ea typeface="Source Sans Pro"/>
                          <a:cs typeface="Source Sans Pro"/>
                          <a:sym typeface="Source Sans Pro"/>
                        </a:rPr>
                        <a:t>✓</a:t>
                      </a:r>
                    </a:p>
                  </a:txBody>
                  <a:tcPr marL="0" marR="0" marT="0" marB="0">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extLst>
                  <a:ext uri="{0D108BD9-81ED-4DB2-BD59-A6C34878D82A}">
                    <a16:rowId xmlns:a16="http://schemas.microsoft.com/office/drawing/2014/main" val="10002"/>
                  </a:ext>
                </a:extLst>
              </a:tr>
              <a:tr h="349735">
                <a:tc>
                  <a:txBody>
                    <a:bodyPr/>
                    <a:lstStyle/>
                    <a:p>
                      <a:pPr marL="0" marR="0" lvl="0" indent="0" algn="l" rtl="0">
                        <a:lnSpc>
                          <a:spcPct val="100000"/>
                        </a:lnSpc>
                        <a:spcBef>
                          <a:spcPts val="0"/>
                        </a:spcBef>
                        <a:spcAft>
                          <a:spcPts val="0"/>
                        </a:spcAft>
                        <a:buClr>
                          <a:schemeClr val="dk2"/>
                        </a:buClr>
                        <a:buSzPts val="1050"/>
                        <a:buFont typeface="PT Serif"/>
                        <a:buNone/>
                      </a:pPr>
                      <a:r>
                        <a:rPr lang="en-US" sz="1000" b="0" i="0" u="none" strike="noStrike" cap="none">
                          <a:solidFill>
                            <a:schemeClr val="dk2"/>
                          </a:solidFill>
                          <a:latin typeface="Source Sans Pro"/>
                          <a:ea typeface="Source Sans Pro"/>
                          <a:cs typeface="Source Sans Pro"/>
                          <a:sym typeface="Source Sans Pro"/>
                        </a:rPr>
                        <a:t>Design</a:t>
                      </a:r>
                      <a:endParaRPr sz="1000" u="none" strike="noStrike" cap="none">
                        <a:latin typeface="Source Sans Pro"/>
                        <a:ea typeface="Source Sans Pro"/>
                        <a:cs typeface="Source Sans Pro"/>
                        <a:sym typeface="Source Sans Pro"/>
                      </a:endParaRPr>
                    </a:p>
                  </a:txBody>
                  <a:tcPr marL="0" marR="36575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1"/>
                        </a:buClr>
                        <a:buSzPts val="1050"/>
                        <a:buFont typeface="PT Serif"/>
                        <a:buNone/>
                      </a:pPr>
                      <a:r>
                        <a:rPr lang="en-US" sz="1000" b="0" i="0" u="none" strike="noStrike" cap="none">
                          <a:solidFill>
                            <a:schemeClr val="dk1"/>
                          </a:solidFill>
                          <a:latin typeface="Source Sans Pro"/>
                          <a:ea typeface="Source Sans Pro"/>
                          <a:hlinkClick r:id="rId13"/>
                        </a:rPr>
                        <a:t>#39583 </a:t>
                      </a:r>
                      <a:r>
                        <a:rPr lang="en-US" sz="1000" b="0" i="0" u="none" strike="noStrike" cap="none">
                          <a:solidFill>
                            <a:schemeClr val="dk1"/>
                          </a:solidFill>
                          <a:latin typeface="Source Sans Pro"/>
                          <a:ea typeface="Source Sans Pro"/>
                        </a:rPr>
                        <a:t>Update materials for HEC and Contact Center to reflect address change using VA profile</a:t>
                      </a:r>
                      <a:endParaRPr lang="en-US" sz="1000" b="1" i="0" u="none" strike="noStrike" cap="none">
                        <a:solidFill>
                          <a:schemeClr val="bg2"/>
                        </a:solidFill>
                        <a:latin typeface="Source Sans Pro"/>
                        <a:ea typeface="Source Sans Pro"/>
                        <a:cs typeface="Source Sans Pro SemiBold"/>
                        <a:sym typeface="Source Sans Pro SemiBold"/>
                      </a:endParaRPr>
                    </a:p>
                  </a:txBody>
                  <a:tcPr marL="0" marR="0" marT="0" marB="0" anchor="ctr">
                    <a:lnL w="9525" cap="flat" cmpd="sng">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chemeClr val="dk2"/>
                        </a:buClr>
                        <a:buSzPts val="1050"/>
                        <a:buFont typeface="PT Serif"/>
                        <a:buNone/>
                      </a:pPr>
                      <a:r>
                        <a:rPr lang="en-US" sz="1000" u="none" strike="noStrike" cap="none">
                          <a:latin typeface="Source Sans Pro"/>
                          <a:ea typeface="Source Sans Pro"/>
                          <a:cs typeface="Source Sans Pro"/>
                          <a:sym typeface="Source Sans Pro"/>
                        </a:rPr>
                        <a:t>5</a:t>
                      </a:r>
                    </a:p>
                  </a:txBody>
                  <a:tcPr marL="0" marR="0" marT="0" marB="0" anchor="ctr">
                    <a:lnL w="9525" cap="flat" cmpd="sng" algn="ctr">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2"/>
                        </a:buClr>
                        <a:buSzPts val="1050"/>
                        <a:buFont typeface="PT Serif"/>
                        <a:buNone/>
                      </a:pPr>
                      <a:r>
                        <a:rPr lang="en-US" sz="1000" u="none" strike="noStrike" cap="none">
                          <a:latin typeface="Source Sans Pro"/>
                          <a:ea typeface="Source Sans Pro"/>
                          <a:cs typeface="Source Sans Pro"/>
                          <a:sym typeface="Source Sans Pro"/>
                        </a:rPr>
                        <a:t>Carl</a:t>
                      </a:r>
                    </a:p>
                  </a:txBody>
                  <a:tcPr marL="0" marR="365750" marT="0" marB="0" anchor="ctr">
                    <a:lnL w="9525" cap="flat" cmpd="sng">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120650" marR="0" lvl="0" indent="-120650" algn="l" rtl="0">
                        <a:lnSpc>
                          <a:spcPct val="100000"/>
                        </a:lnSpc>
                        <a:spcBef>
                          <a:spcPts val="0"/>
                        </a:spcBef>
                        <a:spcAft>
                          <a:spcPts val="0"/>
                        </a:spcAft>
                        <a:buClr>
                          <a:schemeClr val="dk1"/>
                        </a:buClr>
                        <a:buSzPts val="800"/>
                        <a:buFont typeface="Noto Sans Symbols"/>
                        <a:buChar char="▪"/>
                      </a:pPr>
                      <a:r>
                        <a:rPr lang="en-US" sz="1000" b="0" i="0" u="none" strike="noStrike" cap="none">
                          <a:solidFill>
                            <a:schemeClr val="dk1"/>
                          </a:solidFill>
                          <a:latin typeface="Source Sans Pro"/>
                          <a:ea typeface="Source Sans Pro"/>
                          <a:hlinkClick r:id="rId14"/>
                        </a:rPr>
                        <a:t>1095-B HEC user guide</a:t>
                      </a:r>
                      <a:endParaRPr lang="en-US" sz="1000" b="0" i="0" u="none" strike="noStrike" cap="none">
                        <a:solidFill>
                          <a:schemeClr val="dk1"/>
                        </a:solidFill>
                        <a:latin typeface="Source Sans Pro"/>
                        <a:ea typeface="Source Sans Pro"/>
                      </a:endParaRPr>
                    </a:p>
                    <a:p>
                      <a:pPr marL="120650" marR="0" lvl="0" indent="-120650" algn="l" rtl="0">
                        <a:lnSpc>
                          <a:spcPct val="100000"/>
                        </a:lnSpc>
                        <a:spcBef>
                          <a:spcPts val="0"/>
                        </a:spcBef>
                        <a:spcAft>
                          <a:spcPts val="0"/>
                        </a:spcAft>
                        <a:buClr>
                          <a:schemeClr val="dk1"/>
                        </a:buClr>
                        <a:buSzPts val="800"/>
                        <a:buFont typeface="Noto Sans Symbols"/>
                        <a:buChar char="▪"/>
                      </a:pPr>
                      <a:r>
                        <a:rPr lang="en-US" sz="1000" b="0" i="0" u="none" strike="noStrike" cap="none">
                          <a:solidFill>
                            <a:schemeClr val="dk1"/>
                          </a:solidFill>
                          <a:latin typeface="Source Sans Pro"/>
                          <a:ea typeface="Source Sans Pro"/>
                          <a:hlinkClick r:id="rId15"/>
                        </a:rPr>
                        <a:t>1095-B HEC fact sheet</a:t>
                      </a:r>
                      <a:endParaRPr lang="en-US" sz="1000" b="0" i="0" u="none" strike="noStrike" cap="none">
                        <a:solidFill>
                          <a:schemeClr val="dk1"/>
                        </a:solidFill>
                        <a:latin typeface="Source Sans Pro"/>
                        <a:ea typeface="Source Sans Pro"/>
                      </a:endParaRPr>
                    </a:p>
                    <a:p>
                      <a:pPr marL="120650" marR="0" lvl="0" indent="-120650" algn="l" rtl="0">
                        <a:lnSpc>
                          <a:spcPct val="100000"/>
                        </a:lnSpc>
                        <a:spcBef>
                          <a:spcPts val="0"/>
                        </a:spcBef>
                        <a:spcAft>
                          <a:spcPts val="0"/>
                        </a:spcAft>
                        <a:buClr>
                          <a:schemeClr val="dk1"/>
                        </a:buClr>
                        <a:buSzPts val="800"/>
                        <a:buFont typeface="Noto Sans Symbols"/>
                        <a:buChar char="▪"/>
                      </a:pPr>
                      <a:r>
                        <a:rPr lang="en-US" sz="1000" b="0" i="0" u="none" strike="noStrike" cap="none">
                          <a:solidFill>
                            <a:schemeClr val="dk1"/>
                          </a:solidFill>
                          <a:latin typeface="Source Sans Pro"/>
                          <a:ea typeface="Source Sans Pro"/>
                          <a:hlinkClick r:id="rId16"/>
                        </a:rPr>
                        <a:t>1095-B HEC FAQ</a:t>
                      </a:r>
                      <a:endParaRPr lang="en-US" sz="1000" b="0" i="0" u="none" strike="noStrike" cap="none">
                        <a:solidFill>
                          <a:schemeClr val="dk1"/>
                        </a:solidFill>
                        <a:latin typeface="Source Sans Pro"/>
                        <a:ea typeface="Source Sans Pro"/>
                      </a:endParaRPr>
                    </a:p>
                    <a:p>
                      <a:pPr marL="120650" marR="0" lvl="0" indent="-120650" algn="l" rtl="0">
                        <a:lnSpc>
                          <a:spcPct val="100000"/>
                        </a:lnSpc>
                        <a:spcBef>
                          <a:spcPts val="0"/>
                        </a:spcBef>
                        <a:spcAft>
                          <a:spcPts val="0"/>
                        </a:spcAft>
                        <a:buClr>
                          <a:schemeClr val="dk1"/>
                        </a:buClr>
                        <a:buSzPts val="800"/>
                        <a:buFont typeface="Noto Sans Symbols"/>
                        <a:buChar char="▪"/>
                      </a:pPr>
                      <a:r>
                        <a:rPr lang="en-US" sz="1000" b="0" i="0" u="none" strike="noStrike" cap="none">
                          <a:solidFill>
                            <a:schemeClr val="dk1"/>
                          </a:solidFill>
                          <a:latin typeface="Source Sans Pro"/>
                          <a:ea typeface="Source Sans Pro"/>
                          <a:hlinkClick r:id="rId17"/>
                        </a:rPr>
                        <a:t>Contact center product guide</a:t>
                      </a:r>
                      <a:endParaRPr lang="en-US" sz="1000" u="none">
                        <a:latin typeface="Source Sans Pro"/>
                        <a:ea typeface="Source Sans Pro"/>
                      </a:endParaRPr>
                    </a:p>
                  </a:txBody>
                  <a:tcPr marL="0" marR="0" marT="0" marB="0" anchor="ctr">
                    <a:lnL w="9525" cap="flat" cmpd="sng" algn="ctr">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defTabSz="914400" rtl="0" eaLnBrk="1" fontAlgn="auto" latinLnBrk="0" hangingPunct="1">
                        <a:lnSpc>
                          <a:spcPct val="100000"/>
                        </a:lnSpc>
                        <a:spcBef>
                          <a:spcPts val="0"/>
                        </a:spcBef>
                        <a:spcAft>
                          <a:spcPts val="0"/>
                        </a:spcAft>
                        <a:buClr>
                          <a:srgbClr val="000000"/>
                        </a:buClr>
                        <a:buSzPts val="1050"/>
                        <a:buFont typeface="PT Serif"/>
                        <a:buNone/>
                        <a:tabLst/>
                        <a:defRPr/>
                      </a:pPr>
                      <a:r>
                        <a:rPr lang="en-US" sz="1000" b="0" i="0" u="none" strike="noStrike" kern="0" cap="none" spc="0" normalizeH="0" baseline="0" noProof="0">
                          <a:ln>
                            <a:noFill/>
                          </a:ln>
                          <a:solidFill>
                            <a:srgbClr val="303A46"/>
                          </a:solidFill>
                          <a:effectLst/>
                          <a:uLnTx/>
                          <a:uFillTx/>
                          <a:latin typeface="Source Sans Pro"/>
                          <a:ea typeface="Source Sans Pro"/>
                          <a:cs typeface="Source Sans Pro"/>
                        </a:rPr>
                        <a:t>4/15/22</a:t>
                      </a:r>
                      <a:endParaRPr kumimoji="0" lang="en-US" sz="1000" b="0" i="0" u="none" strike="noStrike" kern="0" cap="none" spc="0" normalizeH="0" baseline="0" noProof="0">
                        <a:ln>
                          <a:noFill/>
                        </a:ln>
                        <a:solidFill>
                          <a:srgbClr val="303A46"/>
                        </a:solidFill>
                        <a:effectLst/>
                        <a:uLnTx/>
                        <a:uFillTx/>
                        <a:latin typeface="Source Sans Pro"/>
                        <a:ea typeface="Source Sans Pro"/>
                        <a:cs typeface="Source Sans Pro"/>
                        <a:sym typeface="Source Sans Pro"/>
                      </a:endParaRPr>
                    </a:p>
                  </a:txBody>
                  <a:tcPr marL="0" marR="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ctr" defTabSz="914400" rtl="0" eaLnBrk="1" fontAlgn="auto" latinLnBrk="0" hangingPunct="1">
                        <a:lnSpc>
                          <a:spcPct val="100000"/>
                        </a:lnSpc>
                        <a:spcBef>
                          <a:spcPts val="0"/>
                        </a:spcBef>
                        <a:spcAft>
                          <a:spcPts val="0"/>
                        </a:spcAft>
                        <a:buClr>
                          <a:srgbClr val="000000"/>
                        </a:buClr>
                        <a:buSzPts val="1050"/>
                        <a:buFont typeface="PT Serif"/>
                        <a:buNone/>
                        <a:tabLst/>
                        <a:defRPr/>
                      </a:pPr>
                      <a:endParaRPr kumimoji="0" lang="en-US" sz="1000" b="0" i="0" u="none" strike="noStrike" kern="0" cap="none" spc="0" normalizeH="0" baseline="0" noProof="0">
                        <a:ln>
                          <a:noFill/>
                        </a:ln>
                        <a:solidFill>
                          <a:srgbClr val="303A46"/>
                        </a:solidFill>
                        <a:effectLst/>
                        <a:uLnTx/>
                        <a:uFillTx/>
                        <a:latin typeface="Source Sans Pro" panose="020B0503030403020204" pitchFamily="34" charset="0"/>
                        <a:ea typeface="Source Sans Pro" panose="020B0503030403020204" pitchFamily="34" charset="0"/>
                        <a:cs typeface="Source Sans Pro"/>
                        <a:sym typeface="Source Sans Pro"/>
                      </a:endParaRPr>
                    </a:p>
                    <a:p>
                      <a:pPr marL="0" marR="0" lvl="0" indent="0" algn="ctr" defTabSz="914400" rtl="0" eaLnBrk="1" fontAlgn="auto" latinLnBrk="0" hangingPunct="1">
                        <a:lnSpc>
                          <a:spcPct val="100000"/>
                        </a:lnSpc>
                        <a:spcBef>
                          <a:spcPts val="0"/>
                        </a:spcBef>
                        <a:spcAft>
                          <a:spcPts val="0"/>
                        </a:spcAft>
                        <a:buClr>
                          <a:srgbClr val="000000"/>
                        </a:buClr>
                        <a:buSzPts val="1050"/>
                        <a:buFont typeface="PT Serif"/>
                        <a:buNone/>
                        <a:tabLst/>
                        <a:defRPr/>
                      </a:pPr>
                      <a:r>
                        <a:rPr kumimoji="0" lang="en-US" sz="1000" b="0" i="0" u="none" strike="noStrike" kern="0" cap="none" spc="0" normalizeH="0" baseline="0" noProof="0">
                          <a:ln>
                            <a:noFill/>
                          </a:ln>
                          <a:solidFill>
                            <a:srgbClr val="303A46"/>
                          </a:solidFill>
                          <a:effectLst/>
                          <a:uLnTx/>
                          <a:uFillTx/>
                          <a:latin typeface="Source Sans Pro"/>
                          <a:ea typeface="Source Sans Pro"/>
                          <a:cs typeface="Source Sans Pro"/>
                          <a:sym typeface="Source Sans Pro"/>
                        </a:rPr>
                        <a:t>✓</a:t>
                      </a:r>
                    </a:p>
                  </a:txBody>
                  <a:tcPr marL="0" marR="0" marT="0" marB="0">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extLst>
                  <a:ext uri="{0D108BD9-81ED-4DB2-BD59-A6C34878D82A}">
                    <a16:rowId xmlns:a16="http://schemas.microsoft.com/office/drawing/2014/main" val="10003"/>
                  </a:ext>
                </a:extLst>
              </a:tr>
              <a:tr h="342741">
                <a:tc>
                  <a:txBody>
                    <a:bodyPr/>
                    <a:lstStyle/>
                    <a:p>
                      <a:pPr marL="0" marR="0" lvl="0" indent="0" algn="l" rtl="0">
                        <a:lnSpc>
                          <a:spcPct val="100000"/>
                        </a:lnSpc>
                        <a:spcBef>
                          <a:spcPts val="0"/>
                        </a:spcBef>
                        <a:spcAft>
                          <a:spcPts val="0"/>
                        </a:spcAft>
                        <a:buClr>
                          <a:schemeClr val="dk2"/>
                        </a:buClr>
                        <a:buSzPts val="1050"/>
                        <a:buFont typeface="PT Serif"/>
                        <a:buNone/>
                      </a:pPr>
                      <a:r>
                        <a:rPr lang="en-US" sz="1000" b="0" i="0" u="none" strike="noStrike" cap="none">
                          <a:solidFill>
                            <a:schemeClr val="dk2"/>
                          </a:solidFill>
                          <a:latin typeface="Source Sans Pro"/>
                          <a:ea typeface="Source Sans Pro"/>
                          <a:cs typeface="Source Sans Pro"/>
                          <a:sym typeface="Source Sans Pro"/>
                        </a:rPr>
                        <a:t>Design</a:t>
                      </a:r>
                      <a:endParaRPr sz="1000" u="none" strike="noStrike" cap="none">
                        <a:latin typeface="Source Sans Pro"/>
                        <a:ea typeface="Source Sans Pro"/>
                        <a:cs typeface="Source Sans Pro"/>
                        <a:sym typeface="Source Sans Pro"/>
                      </a:endParaRPr>
                    </a:p>
                  </a:txBody>
                  <a:tcPr marL="0" marR="36575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1"/>
                        </a:buClr>
                        <a:buSzPts val="1050"/>
                        <a:buFont typeface="PT Serif"/>
                        <a:buNone/>
                      </a:pPr>
                      <a:r>
                        <a:rPr lang="en-US" sz="1000" b="0" i="0" u="none" strike="noStrike" cap="none">
                          <a:solidFill>
                            <a:schemeClr val="dk1"/>
                          </a:solidFill>
                          <a:latin typeface="Source Sans Pro"/>
                          <a:ea typeface="Source Sans Pro"/>
                          <a:hlinkClick r:id="rId18"/>
                        </a:rPr>
                        <a:t>#39581 </a:t>
                      </a:r>
                      <a:r>
                        <a:rPr lang="en-US" sz="1000" b="0" i="0" u="none" strike="noStrike" cap="none">
                          <a:solidFill>
                            <a:schemeClr val="dk1"/>
                          </a:solidFill>
                          <a:latin typeface="Source Sans Pro"/>
                          <a:ea typeface="Source Sans Pro"/>
                        </a:rPr>
                        <a:t>Iterate designs to include content and address change widget by sitewide</a:t>
                      </a:r>
                      <a:endParaRPr lang="en-US" sz="1000" b="1" i="0" u="none" strike="noStrike" cap="none">
                        <a:solidFill>
                          <a:schemeClr val="bg2"/>
                        </a:solidFill>
                        <a:latin typeface="Source Sans Pro"/>
                        <a:ea typeface="Source Sans Pro"/>
                        <a:cs typeface="Source Sans Pro SemiBold"/>
                        <a:sym typeface="Source Sans Pro SemiBold"/>
                      </a:endParaRPr>
                    </a:p>
                  </a:txBody>
                  <a:tcPr marL="0" marR="0" marT="0" marB="0" anchor="ctr">
                    <a:lnL w="9525" cap="flat" cmpd="sng">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chemeClr val="dk2"/>
                        </a:buClr>
                        <a:buSzPts val="1050"/>
                        <a:buFont typeface="PT Serif"/>
                        <a:buNone/>
                      </a:pPr>
                      <a:r>
                        <a:rPr lang="en-US" sz="1000" u="none" strike="noStrike" cap="none">
                          <a:latin typeface="Source Sans Pro"/>
                          <a:ea typeface="Source Sans Pro"/>
                          <a:cs typeface="Source Sans Pro"/>
                          <a:sym typeface="Source Sans Pro"/>
                        </a:rPr>
                        <a:t>5</a:t>
                      </a:r>
                    </a:p>
                  </a:txBody>
                  <a:tcPr marL="0" marR="0" marT="0" marB="0" anchor="ctr">
                    <a:lnL w="9525" cap="flat" cmpd="sng" algn="ctr">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2"/>
                        </a:buClr>
                        <a:buSzPts val="1050"/>
                        <a:buFont typeface="PT Serif"/>
                        <a:buNone/>
                      </a:pPr>
                      <a:r>
                        <a:rPr lang="en-US" sz="1000" u="none" strike="noStrike" cap="none">
                          <a:latin typeface="Source Sans Pro"/>
                          <a:ea typeface="Source Sans Pro"/>
                          <a:cs typeface="Source Sans Pro"/>
                          <a:sym typeface="Source Sans Pro"/>
                        </a:rPr>
                        <a:t>Carl </a:t>
                      </a:r>
                    </a:p>
                    <a:p>
                      <a:pPr marL="0" marR="0" lvl="0" indent="0" algn="l" rtl="0">
                        <a:lnSpc>
                          <a:spcPct val="100000"/>
                        </a:lnSpc>
                        <a:spcBef>
                          <a:spcPts val="0"/>
                        </a:spcBef>
                        <a:spcAft>
                          <a:spcPts val="0"/>
                        </a:spcAft>
                        <a:buClr>
                          <a:schemeClr val="dk2"/>
                        </a:buClr>
                        <a:buSzPts val="1050"/>
                        <a:buFont typeface="PT Serif"/>
                        <a:buNone/>
                      </a:pPr>
                      <a:r>
                        <a:rPr lang="en-US" sz="1000" u="none" strike="noStrike" cap="none">
                          <a:latin typeface="Source Sans Pro"/>
                          <a:ea typeface="Source Sans Pro"/>
                          <a:cs typeface="Source Sans Pro"/>
                          <a:sym typeface="Source Sans Pro"/>
                        </a:rPr>
                        <a:t>Grace</a:t>
                      </a:r>
                    </a:p>
                  </a:txBody>
                  <a:tcPr marL="0" marR="365750" marT="0" marB="0" anchor="ctr">
                    <a:lnL w="9525" cap="flat" cmpd="sng">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120650" marR="0" lvl="0" indent="-120650" algn="l" rtl="0">
                        <a:lnSpc>
                          <a:spcPct val="100000"/>
                        </a:lnSpc>
                        <a:spcBef>
                          <a:spcPts val="0"/>
                        </a:spcBef>
                        <a:spcAft>
                          <a:spcPts val="0"/>
                        </a:spcAft>
                        <a:buClr>
                          <a:schemeClr val="dk1"/>
                        </a:buClr>
                        <a:buSzPts val="800"/>
                        <a:buFont typeface="Noto Sans Symbols"/>
                        <a:buChar char="▪"/>
                      </a:pPr>
                      <a:r>
                        <a:rPr lang="en-US" sz="1000" b="0" i="0" u="none" strike="noStrike" cap="none">
                          <a:solidFill>
                            <a:schemeClr val="dk1"/>
                          </a:solidFill>
                          <a:latin typeface="Source Sans Pro"/>
                          <a:ea typeface="Source Sans Pro"/>
                          <a:hlinkClick r:id="rId9"/>
                        </a:rPr>
                        <a:t>Unauthenticated desktop (final)</a:t>
                      </a:r>
                      <a:endParaRPr lang="en-US" sz="1000" b="0" i="0" u="none" strike="noStrike" cap="none">
                        <a:solidFill>
                          <a:schemeClr val="dk1"/>
                        </a:solidFill>
                        <a:latin typeface="Source Sans Pro"/>
                        <a:ea typeface="Source Sans Pro"/>
                      </a:endParaRPr>
                    </a:p>
                    <a:p>
                      <a:pPr marL="120650" marR="0" lvl="0" indent="-120650" algn="l" rtl="0">
                        <a:lnSpc>
                          <a:spcPct val="100000"/>
                        </a:lnSpc>
                        <a:spcBef>
                          <a:spcPts val="0"/>
                        </a:spcBef>
                        <a:spcAft>
                          <a:spcPts val="0"/>
                        </a:spcAft>
                        <a:buClr>
                          <a:schemeClr val="dk1"/>
                        </a:buClr>
                        <a:buSzPts val="800"/>
                        <a:buFont typeface="Noto Sans Symbols"/>
                        <a:buChar char="▪"/>
                      </a:pPr>
                      <a:r>
                        <a:rPr lang="en-US" sz="1000" b="0" i="0" u="none" strike="noStrike" cap="none">
                          <a:solidFill>
                            <a:schemeClr val="dk1"/>
                          </a:solidFill>
                          <a:latin typeface="Source Sans Pro"/>
                          <a:ea typeface="Source Sans Pro"/>
                          <a:hlinkClick r:id="rId10"/>
                        </a:rPr>
                        <a:t>Unauthenticated mobile (final)</a:t>
                      </a:r>
                      <a:endParaRPr lang="en-US" sz="1000" b="0" i="0" u="none" strike="noStrike" cap="none">
                        <a:solidFill>
                          <a:schemeClr val="dk1"/>
                        </a:solidFill>
                        <a:latin typeface="Source Sans Pro"/>
                        <a:ea typeface="Source Sans Pro"/>
                      </a:endParaRPr>
                    </a:p>
                    <a:p>
                      <a:pPr marL="120650" marR="0" lvl="0" indent="-120650" algn="l" rtl="0">
                        <a:lnSpc>
                          <a:spcPct val="100000"/>
                        </a:lnSpc>
                        <a:spcBef>
                          <a:spcPts val="0"/>
                        </a:spcBef>
                        <a:spcAft>
                          <a:spcPts val="0"/>
                        </a:spcAft>
                        <a:buClr>
                          <a:schemeClr val="dk1"/>
                        </a:buClr>
                        <a:buSzPts val="800"/>
                        <a:buFont typeface="Noto Sans Symbols"/>
                        <a:buChar char="▪"/>
                      </a:pPr>
                      <a:r>
                        <a:rPr lang="en-US" sz="1000" b="0" i="0" u="none" strike="noStrike" cap="none">
                          <a:solidFill>
                            <a:schemeClr val="dk1"/>
                          </a:solidFill>
                          <a:latin typeface="Source Sans Pro"/>
                          <a:ea typeface="Source Sans Pro"/>
                          <a:hlinkClick r:id="rId19"/>
                        </a:rPr>
                        <a:t>Authenticated desktop (final)</a:t>
                      </a:r>
                      <a:endParaRPr lang="en-US" sz="1000" b="0" i="0" u="none" strike="noStrike" cap="none">
                        <a:solidFill>
                          <a:schemeClr val="dk1"/>
                        </a:solidFill>
                        <a:latin typeface="Source Sans Pro"/>
                        <a:ea typeface="Source Sans Pro"/>
                      </a:endParaRPr>
                    </a:p>
                    <a:p>
                      <a:pPr marL="120650" marR="0" lvl="0" indent="-120650" algn="l" rtl="0">
                        <a:lnSpc>
                          <a:spcPct val="100000"/>
                        </a:lnSpc>
                        <a:spcBef>
                          <a:spcPts val="0"/>
                        </a:spcBef>
                        <a:spcAft>
                          <a:spcPts val="0"/>
                        </a:spcAft>
                        <a:buClr>
                          <a:schemeClr val="dk1"/>
                        </a:buClr>
                        <a:buSzPts val="800"/>
                        <a:buFont typeface="Noto Sans Symbols"/>
                        <a:buChar char="▪"/>
                      </a:pPr>
                      <a:r>
                        <a:rPr lang="en-US" sz="1000" b="0" i="0" u="none" strike="noStrike" cap="none">
                          <a:solidFill>
                            <a:schemeClr val="dk1"/>
                          </a:solidFill>
                          <a:latin typeface="Source Sans Pro"/>
                          <a:ea typeface="Source Sans Pro"/>
                          <a:hlinkClick r:id="rId10"/>
                        </a:rPr>
                        <a:t>Authenticated mobile (final)</a:t>
                      </a:r>
                      <a:endParaRPr lang="en-US" sz="1000" b="0" i="0" u="none" strike="noStrike" cap="none">
                        <a:solidFill>
                          <a:schemeClr val="dk1"/>
                        </a:solidFill>
                        <a:latin typeface="Source Sans Pro"/>
                        <a:ea typeface="Source Sans Pro"/>
                      </a:endParaRPr>
                    </a:p>
                  </a:txBody>
                  <a:tcPr marL="0" marR="0" marT="0" marB="0" anchor="ctr">
                    <a:lnL w="9525" cap="flat" cmpd="sng" algn="ctr">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defTabSz="914400" rtl="0" eaLnBrk="1" fontAlgn="auto" latinLnBrk="0" hangingPunct="1">
                        <a:lnSpc>
                          <a:spcPct val="100000"/>
                        </a:lnSpc>
                        <a:spcBef>
                          <a:spcPts val="0"/>
                        </a:spcBef>
                        <a:spcAft>
                          <a:spcPts val="0"/>
                        </a:spcAft>
                        <a:buClr>
                          <a:srgbClr val="000000"/>
                        </a:buClr>
                        <a:buSzPts val="1050"/>
                        <a:buFont typeface="PT Serif"/>
                        <a:buNone/>
                        <a:tabLst/>
                        <a:defRPr/>
                      </a:pPr>
                      <a:r>
                        <a:rPr lang="en-US" sz="1000" b="0" i="0" u="none" strike="noStrike" kern="0" cap="none" spc="0" normalizeH="0" baseline="0" noProof="0">
                          <a:ln>
                            <a:noFill/>
                          </a:ln>
                          <a:solidFill>
                            <a:srgbClr val="303A46"/>
                          </a:solidFill>
                          <a:effectLst/>
                          <a:uLnTx/>
                          <a:uFillTx/>
                          <a:latin typeface="Source Sans Pro"/>
                          <a:ea typeface="Source Sans Pro"/>
                          <a:cs typeface="Source Sans Pro"/>
                        </a:rPr>
                        <a:t>4/13/22</a:t>
                      </a:r>
                      <a:endParaRPr kumimoji="0" lang="en-US" sz="1000" b="0" i="0" u="none" strike="noStrike" kern="0" cap="none" spc="0" normalizeH="0" baseline="0" noProof="0">
                        <a:ln>
                          <a:noFill/>
                        </a:ln>
                        <a:solidFill>
                          <a:srgbClr val="303A46"/>
                        </a:solidFill>
                        <a:effectLst/>
                        <a:uLnTx/>
                        <a:uFillTx/>
                        <a:latin typeface="Source Sans Pro"/>
                        <a:ea typeface="Source Sans Pro"/>
                        <a:cs typeface="Source Sans Pro"/>
                        <a:sym typeface="Source Sans Pro"/>
                      </a:endParaRPr>
                    </a:p>
                  </a:txBody>
                  <a:tcPr marL="0" marR="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ctr" defTabSz="914400" rtl="0" eaLnBrk="1" fontAlgn="auto" latinLnBrk="0" hangingPunct="1">
                        <a:lnSpc>
                          <a:spcPct val="100000"/>
                        </a:lnSpc>
                        <a:spcBef>
                          <a:spcPts val="0"/>
                        </a:spcBef>
                        <a:spcAft>
                          <a:spcPts val="0"/>
                        </a:spcAft>
                        <a:buClr>
                          <a:srgbClr val="000000"/>
                        </a:buClr>
                        <a:buSzPts val="1050"/>
                        <a:buFont typeface="PT Serif"/>
                        <a:buNone/>
                        <a:tabLst/>
                        <a:defRPr/>
                      </a:pPr>
                      <a:endParaRPr kumimoji="0" lang="en-US" sz="1000" b="0" i="0" u="none" strike="noStrike" kern="0" cap="none" spc="0" normalizeH="0" baseline="0" noProof="0">
                        <a:ln>
                          <a:noFill/>
                        </a:ln>
                        <a:solidFill>
                          <a:srgbClr val="303A46"/>
                        </a:solidFill>
                        <a:effectLst/>
                        <a:uLnTx/>
                        <a:uFillTx/>
                        <a:latin typeface="Source Sans Pro" panose="020B0503030403020204" pitchFamily="34" charset="0"/>
                        <a:ea typeface="Source Sans Pro" panose="020B0503030403020204" pitchFamily="34" charset="0"/>
                        <a:cs typeface="Source Sans Pro"/>
                        <a:sym typeface="Source Sans Pro"/>
                      </a:endParaRPr>
                    </a:p>
                    <a:p>
                      <a:pPr marL="0" marR="0" lvl="0" indent="0" algn="ctr" defTabSz="914400" rtl="0" eaLnBrk="1" fontAlgn="auto" latinLnBrk="0" hangingPunct="1">
                        <a:lnSpc>
                          <a:spcPct val="100000"/>
                        </a:lnSpc>
                        <a:spcBef>
                          <a:spcPts val="0"/>
                        </a:spcBef>
                        <a:spcAft>
                          <a:spcPts val="0"/>
                        </a:spcAft>
                        <a:buClr>
                          <a:srgbClr val="000000"/>
                        </a:buClr>
                        <a:buSzPts val="1050"/>
                        <a:buFont typeface="PT Serif"/>
                        <a:buNone/>
                        <a:tabLst/>
                        <a:defRPr/>
                      </a:pPr>
                      <a:r>
                        <a:rPr kumimoji="0" lang="en-US" sz="1000" b="0" i="0" u="none" strike="noStrike" kern="0" cap="none" spc="0" normalizeH="0" baseline="0" noProof="0">
                          <a:ln>
                            <a:noFill/>
                          </a:ln>
                          <a:solidFill>
                            <a:srgbClr val="303A46"/>
                          </a:solidFill>
                          <a:effectLst/>
                          <a:uLnTx/>
                          <a:uFillTx/>
                          <a:latin typeface="Source Sans Pro"/>
                          <a:ea typeface="Source Sans Pro"/>
                          <a:cs typeface="Source Sans Pro"/>
                          <a:sym typeface="Source Sans Pro"/>
                        </a:rPr>
                        <a:t>✓</a:t>
                      </a:r>
                    </a:p>
                  </a:txBody>
                  <a:tcPr marL="0" marR="0" marT="0" marB="0">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extLst>
                  <a:ext uri="{0D108BD9-81ED-4DB2-BD59-A6C34878D82A}">
                    <a16:rowId xmlns:a16="http://schemas.microsoft.com/office/drawing/2014/main" val="10004"/>
                  </a:ext>
                </a:extLst>
              </a:tr>
              <a:tr h="349735">
                <a:tc>
                  <a:txBody>
                    <a:bodyPr/>
                    <a:lstStyle/>
                    <a:p>
                      <a:pPr marL="0" marR="0" lvl="0" indent="0" algn="l" rtl="0">
                        <a:lnSpc>
                          <a:spcPct val="100000"/>
                        </a:lnSpc>
                        <a:spcBef>
                          <a:spcPts val="0"/>
                        </a:spcBef>
                        <a:spcAft>
                          <a:spcPts val="0"/>
                        </a:spcAft>
                        <a:buClr>
                          <a:schemeClr val="dk2"/>
                        </a:buClr>
                        <a:buSzPts val="1050"/>
                        <a:buFont typeface="PT Serif"/>
                        <a:buNone/>
                      </a:pPr>
                      <a:r>
                        <a:rPr lang="en-US" sz="1000" b="0" i="0" u="none" strike="noStrike" cap="none">
                          <a:solidFill>
                            <a:schemeClr val="dk2"/>
                          </a:solidFill>
                          <a:latin typeface="Source Sans Pro"/>
                          <a:ea typeface="Source Sans Pro"/>
                          <a:cs typeface="Source Sans Pro"/>
                          <a:sym typeface="Source Sans Pro"/>
                        </a:rPr>
                        <a:t>Design</a:t>
                      </a:r>
                      <a:endParaRPr sz="1000" u="none" strike="noStrike" cap="none">
                        <a:latin typeface="Source Sans Pro"/>
                        <a:ea typeface="Source Sans Pro"/>
                        <a:cs typeface="Source Sans Pro"/>
                        <a:sym typeface="Source Sans Pro"/>
                      </a:endParaRPr>
                    </a:p>
                  </a:txBody>
                  <a:tcPr marL="0" marR="36575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1"/>
                        </a:buClr>
                        <a:buSzPts val="1050"/>
                        <a:buFont typeface="PT Serif"/>
                        <a:buNone/>
                      </a:pPr>
                      <a:r>
                        <a:rPr lang="en-US" sz="1000" b="0" i="0" u="none" strike="noStrike" cap="none">
                          <a:solidFill>
                            <a:schemeClr val="dk1"/>
                          </a:solidFill>
                          <a:latin typeface="Source Sans Pro"/>
                          <a:ea typeface="Source Sans Pro"/>
                          <a:hlinkClick r:id="rId20"/>
                        </a:rPr>
                        <a:t>#37043 </a:t>
                      </a:r>
                      <a:r>
                        <a:rPr lang="en-US" sz="1000" b="0" i="0" u="none" strike="noStrike" cap="none">
                          <a:solidFill>
                            <a:schemeClr val="dk1"/>
                          </a:solidFill>
                          <a:latin typeface="Source Sans Pro"/>
                          <a:ea typeface="Source Sans Pro"/>
                        </a:rPr>
                        <a:t>Iterate designs from staging review feedback</a:t>
                      </a:r>
                      <a:endParaRPr lang="en-US" sz="1000" b="1" i="0" u="none" strike="noStrike" cap="none">
                        <a:solidFill>
                          <a:schemeClr val="bg2"/>
                        </a:solidFill>
                        <a:latin typeface="Source Sans Pro"/>
                        <a:ea typeface="Source Sans Pro"/>
                        <a:cs typeface="Source Sans Pro SemiBold"/>
                        <a:sym typeface="Source Sans Pro SemiBold"/>
                      </a:endParaRPr>
                    </a:p>
                  </a:txBody>
                  <a:tcPr marL="0" marR="0" marT="0" marB="0" anchor="ctr">
                    <a:lnL w="9525" cap="flat" cmpd="sng">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chemeClr val="dk2"/>
                        </a:buClr>
                        <a:buSzPts val="1050"/>
                        <a:buFont typeface="PT Serif"/>
                        <a:buNone/>
                      </a:pPr>
                      <a:r>
                        <a:rPr lang="en-US" sz="1000" u="none" strike="noStrike" cap="none">
                          <a:latin typeface="Source Sans Pro"/>
                          <a:ea typeface="Source Sans Pro"/>
                          <a:cs typeface="Source Sans Pro"/>
                          <a:sym typeface="Source Sans Pro"/>
                        </a:rPr>
                        <a:t>1</a:t>
                      </a:r>
                    </a:p>
                  </a:txBody>
                  <a:tcPr marL="0" marR="0" marT="0" marB="0" anchor="ctr">
                    <a:lnL w="9525" cap="flat" cmpd="sng" algn="ctr">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2"/>
                        </a:buClr>
                        <a:buSzPts val="1050"/>
                        <a:buFont typeface="PT Serif"/>
                        <a:buNone/>
                      </a:pPr>
                      <a:r>
                        <a:rPr lang="en-US" sz="1000" u="none" strike="noStrike" cap="none">
                          <a:latin typeface="Source Sans Pro"/>
                          <a:ea typeface="Source Sans Pro"/>
                          <a:cs typeface="Source Sans Pro"/>
                          <a:sym typeface="Source Sans Pro"/>
                        </a:rPr>
                        <a:t>Grace</a:t>
                      </a:r>
                    </a:p>
                  </a:txBody>
                  <a:tcPr marL="0" marR="365750" marT="0" marB="0" anchor="ctr">
                    <a:lnL w="9525" cap="flat" cmpd="sng">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120650" marR="0" lvl="0" indent="-120650" algn="l" rtl="0">
                        <a:lnSpc>
                          <a:spcPct val="100000"/>
                        </a:lnSpc>
                        <a:spcBef>
                          <a:spcPts val="0"/>
                        </a:spcBef>
                        <a:spcAft>
                          <a:spcPts val="0"/>
                        </a:spcAft>
                        <a:buClr>
                          <a:schemeClr val="dk1"/>
                        </a:buClr>
                        <a:buSzPts val="800"/>
                        <a:buFont typeface="Noto Sans Symbols"/>
                        <a:buChar char="▪"/>
                      </a:pPr>
                      <a:r>
                        <a:rPr lang="en-US" sz="1000" b="0" i="0" u="none" strike="noStrike" cap="none">
                          <a:solidFill>
                            <a:schemeClr val="dk1"/>
                          </a:solidFill>
                          <a:latin typeface="Source Sans Pro"/>
                          <a:ea typeface="Source Sans Pro"/>
                          <a:hlinkClick r:id="rId9"/>
                        </a:rPr>
                        <a:t>Unauthenticated desktop (final)</a:t>
                      </a:r>
                      <a:endParaRPr lang="en-US" sz="1000" b="0" i="0" u="none" strike="noStrike" cap="none">
                        <a:solidFill>
                          <a:schemeClr val="dk1"/>
                        </a:solidFill>
                        <a:latin typeface="Source Sans Pro"/>
                        <a:ea typeface="Source Sans Pro"/>
                      </a:endParaRPr>
                    </a:p>
                    <a:p>
                      <a:pPr marL="120650" marR="0" lvl="0" indent="-120650" algn="l" rtl="0">
                        <a:lnSpc>
                          <a:spcPct val="100000"/>
                        </a:lnSpc>
                        <a:spcBef>
                          <a:spcPts val="0"/>
                        </a:spcBef>
                        <a:spcAft>
                          <a:spcPts val="0"/>
                        </a:spcAft>
                        <a:buClr>
                          <a:schemeClr val="dk1"/>
                        </a:buClr>
                        <a:buSzPts val="800"/>
                        <a:buFont typeface="Noto Sans Symbols"/>
                        <a:buChar char="▪"/>
                      </a:pPr>
                      <a:r>
                        <a:rPr lang="en-US" sz="1000" b="0" i="0" u="none" strike="noStrike" cap="none">
                          <a:solidFill>
                            <a:schemeClr val="dk1"/>
                          </a:solidFill>
                          <a:latin typeface="Source Sans Pro"/>
                          <a:ea typeface="Source Sans Pro"/>
                          <a:hlinkClick r:id="rId10"/>
                        </a:rPr>
                        <a:t>Unauthenticated mobile (final)</a:t>
                      </a:r>
                      <a:endParaRPr lang="en-US" sz="1000" b="0" i="0" u="none" strike="noStrike" cap="none">
                        <a:solidFill>
                          <a:schemeClr val="dk1"/>
                        </a:solidFill>
                        <a:latin typeface="Source Sans Pro"/>
                        <a:ea typeface="Source Sans Pro"/>
                      </a:endParaRPr>
                    </a:p>
                    <a:p>
                      <a:pPr marL="120650" marR="0" lvl="0" indent="-120650" algn="l" rtl="0">
                        <a:lnSpc>
                          <a:spcPct val="100000"/>
                        </a:lnSpc>
                        <a:spcBef>
                          <a:spcPts val="0"/>
                        </a:spcBef>
                        <a:spcAft>
                          <a:spcPts val="0"/>
                        </a:spcAft>
                        <a:buClr>
                          <a:schemeClr val="dk1"/>
                        </a:buClr>
                        <a:buSzPts val="800"/>
                        <a:buFont typeface="Noto Sans Symbols"/>
                        <a:buChar char="▪"/>
                      </a:pPr>
                      <a:r>
                        <a:rPr lang="en-US" sz="1000" b="0" i="0" u="none" strike="noStrike" cap="none">
                          <a:solidFill>
                            <a:schemeClr val="dk1"/>
                          </a:solidFill>
                          <a:latin typeface="Source Sans Pro"/>
                          <a:ea typeface="Source Sans Pro"/>
                          <a:hlinkClick r:id="rId19"/>
                        </a:rPr>
                        <a:t>Authenticated desktop (final)</a:t>
                      </a:r>
                      <a:endParaRPr lang="en-US" sz="1000" b="0" i="0" u="none" strike="noStrike" cap="none">
                        <a:solidFill>
                          <a:schemeClr val="dk1"/>
                        </a:solidFill>
                        <a:latin typeface="Source Sans Pro"/>
                        <a:ea typeface="Source Sans Pro"/>
                      </a:endParaRPr>
                    </a:p>
                    <a:p>
                      <a:pPr marL="120650" marR="0" lvl="0" indent="-120650" algn="l" rtl="0">
                        <a:lnSpc>
                          <a:spcPct val="100000"/>
                        </a:lnSpc>
                        <a:spcBef>
                          <a:spcPts val="0"/>
                        </a:spcBef>
                        <a:spcAft>
                          <a:spcPts val="0"/>
                        </a:spcAft>
                        <a:buClr>
                          <a:schemeClr val="dk1"/>
                        </a:buClr>
                        <a:buSzPts val="800"/>
                        <a:buFont typeface="Noto Sans Symbols"/>
                        <a:buChar char="▪"/>
                      </a:pPr>
                      <a:r>
                        <a:rPr lang="en-US" sz="1000" b="0" i="0" u="none" strike="noStrike" cap="none">
                          <a:solidFill>
                            <a:schemeClr val="dk1"/>
                          </a:solidFill>
                          <a:latin typeface="Source Sans Pro"/>
                          <a:ea typeface="Source Sans Pro"/>
                          <a:hlinkClick r:id="rId10"/>
                        </a:rPr>
                        <a:t>Authenticated mobile (final)</a:t>
                      </a:r>
                      <a:endParaRPr lang="en-US" sz="1000" b="0" i="0" u="none" strike="noStrike" cap="none">
                        <a:solidFill>
                          <a:schemeClr val="dk1"/>
                        </a:solidFill>
                        <a:latin typeface="Source Sans Pro"/>
                        <a:ea typeface="Source Sans Pro"/>
                      </a:endParaRPr>
                    </a:p>
                  </a:txBody>
                  <a:tcPr marL="0" marR="0" marT="0" marB="0" anchor="ctr">
                    <a:lnL w="9525" cap="flat" cmpd="sng" algn="ctr">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defTabSz="914400" rtl="0" eaLnBrk="1" fontAlgn="auto" latinLnBrk="0" hangingPunct="1">
                        <a:lnSpc>
                          <a:spcPct val="100000"/>
                        </a:lnSpc>
                        <a:spcBef>
                          <a:spcPts val="0"/>
                        </a:spcBef>
                        <a:spcAft>
                          <a:spcPts val="0"/>
                        </a:spcAft>
                        <a:buClr>
                          <a:srgbClr val="000000"/>
                        </a:buClr>
                        <a:buSzPts val="1050"/>
                        <a:buFont typeface="PT Serif"/>
                        <a:buNone/>
                        <a:tabLst/>
                        <a:defRPr/>
                      </a:pPr>
                      <a:r>
                        <a:rPr lang="en-US" sz="1000" b="0" i="0" u="none" strike="noStrike" kern="0" cap="none" spc="0" normalizeH="0" baseline="0" noProof="0">
                          <a:ln>
                            <a:noFill/>
                          </a:ln>
                          <a:solidFill>
                            <a:srgbClr val="303A46"/>
                          </a:solidFill>
                          <a:effectLst/>
                          <a:uLnTx/>
                          <a:uFillTx/>
                          <a:latin typeface="Source Sans Pro"/>
                          <a:ea typeface="Source Sans Pro"/>
                          <a:cs typeface="Source Sans Pro"/>
                        </a:rPr>
                        <a:t>4/13/22</a:t>
                      </a:r>
                      <a:endParaRPr kumimoji="0" lang="en-US" sz="1000" b="0" i="0" u="none" strike="noStrike" kern="0" cap="none" spc="0" normalizeH="0" baseline="0" noProof="0">
                        <a:ln>
                          <a:noFill/>
                        </a:ln>
                        <a:solidFill>
                          <a:srgbClr val="303A46"/>
                        </a:solidFill>
                        <a:effectLst/>
                        <a:uLnTx/>
                        <a:uFillTx/>
                        <a:latin typeface="Source Sans Pro"/>
                        <a:ea typeface="Source Sans Pro"/>
                        <a:cs typeface="Source Sans Pro"/>
                        <a:sym typeface="Source Sans Pro"/>
                      </a:endParaRPr>
                    </a:p>
                  </a:txBody>
                  <a:tcPr marL="0" marR="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ctr" defTabSz="914400" rtl="0" eaLnBrk="1" fontAlgn="auto" latinLnBrk="0" hangingPunct="1">
                        <a:lnSpc>
                          <a:spcPct val="100000"/>
                        </a:lnSpc>
                        <a:spcBef>
                          <a:spcPts val="0"/>
                        </a:spcBef>
                        <a:spcAft>
                          <a:spcPts val="0"/>
                        </a:spcAft>
                        <a:buClr>
                          <a:srgbClr val="000000"/>
                        </a:buClr>
                        <a:buSzPts val="1050"/>
                        <a:buFont typeface="PT Serif"/>
                        <a:buNone/>
                        <a:tabLst/>
                        <a:defRPr/>
                      </a:pPr>
                      <a:endParaRPr kumimoji="0" lang="en-US" sz="1000" b="0" i="0" u="none" strike="noStrike" kern="0" cap="none" spc="0" normalizeH="0" baseline="0" noProof="0">
                        <a:ln>
                          <a:noFill/>
                        </a:ln>
                        <a:solidFill>
                          <a:srgbClr val="303A46"/>
                        </a:solidFill>
                        <a:effectLst/>
                        <a:uLnTx/>
                        <a:uFillTx/>
                        <a:latin typeface="Source Sans Pro" panose="020B0503030403020204" pitchFamily="34" charset="0"/>
                        <a:ea typeface="Source Sans Pro" panose="020B0503030403020204" pitchFamily="34" charset="0"/>
                        <a:cs typeface="Source Sans Pro"/>
                        <a:sym typeface="Source Sans Pro"/>
                      </a:endParaRPr>
                    </a:p>
                    <a:p>
                      <a:pPr marL="0" marR="0" lvl="0" indent="0" algn="ctr" defTabSz="914400" rtl="0" eaLnBrk="1" fontAlgn="auto" latinLnBrk="0" hangingPunct="1">
                        <a:lnSpc>
                          <a:spcPct val="100000"/>
                        </a:lnSpc>
                        <a:spcBef>
                          <a:spcPts val="0"/>
                        </a:spcBef>
                        <a:spcAft>
                          <a:spcPts val="0"/>
                        </a:spcAft>
                        <a:buClr>
                          <a:srgbClr val="000000"/>
                        </a:buClr>
                        <a:buSzPts val="1050"/>
                        <a:buFont typeface="PT Serif"/>
                        <a:buNone/>
                        <a:tabLst/>
                        <a:defRPr/>
                      </a:pPr>
                      <a:r>
                        <a:rPr kumimoji="0" lang="en-US" sz="1000" b="0" i="0" u="none" strike="noStrike" kern="0" cap="none" spc="0" normalizeH="0" baseline="0" noProof="0">
                          <a:ln>
                            <a:noFill/>
                          </a:ln>
                          <a:solidFill>
                            <a:srgbClr val="303A46"/>
                          </a:solidFill>
                          <a:effectLst/>
                          <a:uLnTx/>
                          <a:uFillTx/>
                          <a:latin typeface="Source Sans Pro"/>
                          <a:ea typeface="Source Sans Pro"/>
                          <a:cs typeface="Source Sans Pro"/>
                          <a:sym typeface="Source Sans Pro"/>
                        </a:rPr>
                        <a:t>✓</a:t>
                      </a:r>
                    </a:p>
                  </a:txBody>
                  <a:tcPr marL="0" marR="0" marT="0" marB="0">
                    <a:lnL w="9525" cap="flat" cmpd="sng" algn="ctr">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extLst>
                  <a:ext uri="{0D108BD9-81ED-4DB2-BD59-A6C34878D82A}">
                    <a16:rowId xmlns:a16="http://schemas.microsoft.com/office/drawing/2014/main" val="10005"/>
                  </a:ext>
                </a:extLst>
              </a:tr>
              <a:tr h="349735">
                <a:tc>
                  <a:txBody>
                    <a:bodyPr/>
                    <a:lstStyle/>
                    <a:p>
                      <a:pPr marL="0" marR="0" lvl="0" indent="0" algn="l" rtl="0">
                        <a:lnSpc>
                          <a:spcPct val="100000"/>
                        </a:lnSpc>
                        <a:spcBef>
                          <a:spcPts val="0"/>
                        </a:spcBef>
                        <a:spcAft>
                          <a:spcPts val="0"/>
                        </a:spcAft>
                        <a:buClr>
                          <a:schemeClr val="dk2"/>
                        </a:buClr>
                        <a:buSzPts val="1050"/>
                        <a:buFont typeface="PT Serif"/>
                        <a:buNone/>
                      </a:pPr>
                      <a:r>
                        <a:rPr lang="en-US" sz="1000" b="0" i="0" u="none" strike="noStrike" cap="none">
                          <a:solidFill>
                            <a:schemeClr val="dk2"/>
                          </a:solidFill>
                          <a:latin typeface="Source Sans Pro"/>
                          <a:ea typeface="Source Sans Pro"/>
                          <a:cs typeface="Source Sans Pro"/>
                          <a:sym typeface="Source Sans Pro"/>
                        </a:rPr>
                        <a:t>Design</a:t>
                      </a:r>
                      <a:endParaRPr lang="en-US" sz="1000" u="none" strike="noStrike" cap="none">
                        <a:latin typeface="Source Sans Pro"/>
                        <a:ea typeface="Source Sans Pro"/>
                        <a:cs typeface="Source Sans Pro"/>
                        <a:sym typeface="Source Sans Pro"/>
                      </a:endParaRPr>
                    </a:p>
                  </a:txBody>
                  <a:tcPr marL="0" marR="36575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1"/>
                        </a:buClr>
                        <a:buSzPts val="1050"/>
                        <a:buFont typeface="PT Serif"/>
                        <a:buNone/>
                      </a:pPr>
                      <a:r>
                        <a:rPr lang="en-US" sz="1000" b="0" i="0" u="none" strike="noStrike" cap="none">
                          <a:solidFill>
                            <a:schemeClr val="dk1"/>
                          </a:solidFill>
                          <a:latin typeface="Source Sans Pro"/>
                          <a:ea typeface="Source Sans Pro"/>
                          <a:hlinkClick r:id="rId21"/>
                        </a:rPr>
                        <a:t>#40008 </a:t>
                      </a:r>
                      <a:r>
                        <a:rPr lang="en-US" sz="1000" b="0" i="0" u="none" strike="noStrike" cap="none">
                          <a:solidFill>
                            <a:schemeClr val="dk1"/>
                          </a:solidFill>
                          <a:latin typeface="Source Sans Pro"/>
                          <a:ea typeface="Source Sans Pro"/>
                        </a:rPr>
                        <a:t>Platform orientation checklist [Carolyn Williams] </a:t>
                      </a:r>
                      <a:endParaRPr lang="en-US" sz="1000" b="1" i="0" u="none" strike="noStrike" cap="none">
                        <a:solidFill>
                          <a:schemeClr val="bg2"/>
                        </a:solidFill>
                        <a:latin typeface="Source Sans Pro"/>
                        <a:ea typeface="Source Sans Pro"/>
                        <a:cs typeface="Source Sans Pro SemiBold"/>
                        <a:sym typeface="Source Sans Pro SemiBold"/>
                      </a:endParaRPr>
                    </a:p>
                  </a:txBody>
                  <a:tcPr marL="0" marR="0" marT="0" marB="0" anchor="ctr">
                    <a:lnL w="9525" cap="flat" cmpd="sng">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chemeClr val="dk2"/>
                        </a:buClr>
                        <a:buSzPts val="1050"/>
                        <a:buFont typeface="PT Serif"/>
                        <a:buNone/>
                      </a:pPr>
                      <a:r>
                        <a:rPr lang="en-US" sz="1000" u="none" strike="noStrike" cap="none">
                          <a:latin typeface="Source Sans Pro"/>
                          <a:ea typeface="Source Sans Pro"/>
                          <a:cs typeface="Source Sans Pro"/>
                          <a:sym typeface="Source Sans Pro"/>
                        </a:rPr>
                        <a:t>5</a:t>
                      </a:r>
                    </a:p>
                  </a:txBody>
                  <a:tcPr marL="0" marR="0" marT="0" marB="0" anchor="ctr">
                    <a:lnL w="9525" cap="flat" cmpd="sng" algn="ctr">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2"/>
                        </a:buClr>
                        <a:buSzPts val="1050"/>
                        <a:buFont typeface="PT Serif"/>
                        <a:buNone/>
                      </a:pPr>
                      <a:r>
                        <a:rPr lang="en-US" sz="1000" u="none" strike="noStrike" cap="none">
                          <a:latin typeface="Source Sans Pro"/>
                          <a:ea typeface="Source Sans Pro"/>
                          <a:cs typeface="Source Sans Pro"/>
                          <a:sym typeface="Source Sans Pro"/>
                        </a:rPr>
                        <a:t>Carolyn</a:t>
                      </a:r>
                    </a:p>
                  </a:txBody>
                  <a:tcPr marL="0" marR="365750" marT="0" marB="0" anchor="ctr">
                    <a:lnL w="9525" cap="flat" cmpd="sng">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120650" marR="0" lvl="0" indent="-120650" algn="l" rtl="0">
                        <a:lnSpc>
                          <a:spcPct val="100000"/>
                        </a:lnSpc>
                        <a:spcBef>
                          <a:spcPts val="0"/>
                        </a:spcBef>
                        <a:spcAft>
                          <a:spcPts val="0"/>
                        </a:spcAft>
                        <a:buClr>
                          <a:schemeClr val="dk1"/>
                        </a:buClr>
                        <a:buSzPts val="800"/>
                        <a:buFont typeface="Noto Sans Symbols"/>
                        <a:buChar char="▪"/>
                      </a:pPr>
                      <a:r>
                        <a:rPr lang="en-US" sz="1000" b="0" i="0" u="none" strike="noStrike" cap="none">
                          <a:solidFill>
                            <a:schemeClr val="dk1"/>
                          </a:solidFill>
                          <a:latin typeface="Source Sans Pro"/>
                          <a:ea typeface="Source Sans Pro"/>
                          <a:hlinkClick r:id="rId21"/>
                        </a:rPr>
                        <a:t>Ticket</a:t>
                      </a:r>
                      <a:endParaRPr lang="en-US" sz="1000" u="none">
                        <a:latin typeface="Source Sans Pro"/>
                        <a:ea typeface="Source Sans Pro"/>
                      </a:endParaRPr>
                    </a:p>
                  </a:txBody>
                  <a:tcPr marL="0" marR="0" marT="0" marB="0" anchor="ctr">
                    <a:lnL w="9525" cap="flat" cmpd="sng" algn="ctr">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defTabSz="914400" rtl="0" eaLnBrk="1" fontAlgn="auto" latinLnBrk="0" hangingPunct="1">
                        <a:lnSpc>
                          <a:spcPct val="100000"/>
                        </a:lnSpc>
                        <a:spcBef>
                          <a:spcPts val="0"/>
                        </a:spcBef>
                        <a:spcAft>
                          <a:spcPts val="0"/>
                        </a:spcAft>
                        <a:buClr>
                          <a:srgbClr val="000000"/>
                        </a:buClr>
                        <a:buSzPts val="1050"/>
                        <a:buFont typeface="PT Serif"/>
                        <a:buNone/>
                        <a:tabLst/>
                        <a:defRPr/>
                      </a:pPr>
                      <a:r>
                        <a:rPr kumimoji="0" lang="en-US" sz="1000" b="0" i="0" u="none" strike="noStrike" kern="0" cap="none" spc="0" normalizeH="0" baseline="0" noProof="0">
                          <a:ln>
                            <a:noFill/>
                          </a:ln>
                          <a:solidFill>
                            <a:srgbClr val="303A46"/>
                          </a:solidFill>
                          <a:effectLst/>
                          <a:uLnTx/>
                          <a:uFillTx/>
                          <a:latin typeface="Source Sans Pro"/>
                          <a:ea typeface="Source Sans Pro"/>
                          <a:cs typeface="Source Sans Pro"/>
                          <a:sym typeface="Source Sans Pro"/>
                        </a:rPr>
                        <a:t>N/A</a:t>
                      </a:r>
                    </a:p>
                  </a:txBody>
                  <a:tcPr marL="0" marR="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ctr" defTabSz="914400" rtl="0" eaLnBrk="1" fontAlgn="auto" latinLnBrk="0" hangingPunct="1">
                        <a:lnSpc>
                          <a:spcPct val="100000"/>
                        </a:lnSpc>
                        <a:spcBef>
                          <a:spcPts val="0"/>
                        </a:spcBef>
                        <a:spcAft>
                          <a:spcPts val="0"/>
                        </a:spcAft>
                        <a:buClr>
                          <a:srgbClr val="000000"/>
                        </a:buClr>
                        <a:buSzPts val="1050"/>
                        <a:buFont typeface="PT Serif"/>
                        <a:buNone/>
                        <a:tabLst/>
                        <a:defRPr/>
                      </a:pPr>
                      <a:endParaRPr kumimoji="0" lang="en-US" sz="1000" b="0" i="0" u="none" strike="noStrike" kern="0" cap="none" spc="0" normalizeH="0" baseline="0" noProof="0">
                        <a:ln>
                          <a:noFill/>
                        </a:ln>
                        <a:solidFill>
                          <a:srgbClr val="303A46"/>
                        </a:solidFill>
                        <a:effectLst/>
                        <a:uLnTx/>
                        <a:uFillTx/>
                        <a:latin typeface="Source Sans Pro" panose="020B0503030403020204" pitchFamily="34" charset="0"/>
                        <a:ea typeface="Source Sans Pro" panose="020B0503030403020204" pitchFamily="34" charset="0"/>
                        <a:cs typeface="Source Sans Pro"/>
                        <a:sym typeface="Source Sans Pro"/>
                      </a:endParaRPr>
                    </a:p>
                    <a:p>
                      <a:pPr marL="0" marR="0" lvl="0" indent="0" algn="ctr" defTabSz="914400" rtl="0" eaLnBrk="1" fontAlgn="auto" latinLnBrk="0" hangingPunct="1">
                        <a:lnSpc>
                          <a:spcPct val="100000"/>
                        </a:lnSpc>
                        <a:spcBef>
                          <a:spcPts val="0"/>
                        </a:spcBef>
                        <a:spcAft>
                          <a:spcPts val="0"/>
                        </a:spcAft>
                        <a:buClr>
                          <a:srgbClr val="000000"/>
                        </a:buClr>
                        <a:buSzPts val="1050"/>
                        <a:buFont typeface="PT Serif"/>
                        <a:buNone/>
                        <a:tabLst/>
                        <a:defRPr/>
                      </a:pPr>
                      <a:r>
                        <a:rPr kumimoji="0" lang="en-US" sz="1000" b="0" i="0" u="none" strike="noStrike" kern="0" cap="none" spc="0" normalizeH="0" baseline="0" noProof="0">
                          <a:ln>
                            <a:noFill/>
                          </a:ln>
                          <a:solidFill>
                            <a:srgbClr val="303A46"/>
                          </a:solidFill>
                          <a:effectLst/>
                          <a:uLnTx/>
                          <a:uFillTx/>
                          <a:latin typeface="Source Sans Pro"/>
                          <a:ea typeface="Source Sans Pro"/>
                          <a:cs typeface="Source Sans Pro"/>
                          <a:sym typeface="Source Sans Pro"/>
                        </a:rPr>
                        <a:t>✓</a:t>
                      </a:r>
                    </a:p>
                  </a:txBody>
                  <a:tcPr marL="0" marR="0" marT="0" marB="0">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extLst>
                  <a:ext uri="{0D108BD9-81ED-4DB2-BD59-A6C34878D82A}">
                    <a16:rowId xmlns:a16="http://schemas.microsoft.com/office/drawing/2014/main" val="10006"/>
                  </a:ext>
                </a:extLst>
              </a:tr>
              <a:tr h="362504">
                <a:tc>
                  <a:txBody>
                    <a:bodyPr/>
                    <a:lstStyle/>
                    <a:p>
                      <a:pPr marL="0" marR="0" lvl="0" indent="0" algn="l" rtl="0">
                        <a:lnSpc>
                          <a:spcPct val="100000"/>
                        </a:lnSpc>
                        <a:spcBef>
                          <a:spcPts val="0"/>
                        </a:spcBef>
                        <a:spcAft>
                          <a:spcPts val="0"/>
                        </a:spcAft>
                        <a:buClr>
                          <a:schemeClr val="dk2"/>
                        </a:buClr>
                        <a:buSzPts val="1050"/>
                        <a:buFont typeface="PT Serif"/>
                        <a:buNone/>
                      </a:pPr>
                      <a:r>
                        <a:rPr lang="en-US" sz="1000" b="0" i="0" u="none" strike="noStrike" cap="none">
                          <a:solidFill>
                            <a:schemeClr val="dk2"/>
                          </a:solidFill>
                          <a:latin typeface="Source Sans Pro"/>
                          <a:ea typeface="Source Sans Pro"/>
                          <a:cs typeface="Source Sans Pro"/>
                          <a:sym typeface="Source Sans Pro"/>
                        </a:rPr>
                        <a:t>Design</a:t>
                      </a:r>
                      <a:endParaRPr sz="1000" u="none" strike="noStrike" cap="none">
                        <a:latin typeface="Source Sans Pro"/>
                        <a:ea typeface="Source Sans Pro"/>
                        <a:cs typeface="Source Sans Pro"/>
                        <a:sym typeface="Source Sans Pro"/>
                      </a:endParaRPr>
                    </a:p>
                  </a:txBody>
                  <a:tcPr marL="0" marR="365750" marT="0" marB="0" anchor="ctr">
                    <a:lnL w="9525" cap="flat" cmpd="sng">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1"/>
                        </a:buClr>
                        <a:buSzPts val="1050"/>
                        <a:buFont typeface="PT Serif"/>
                        <a:buNone/>
                      </a:pPr>
                      <a:r>
                        <a:rPr lang="en-US" sz="1000" b="0" i="0" u="none" strike="noStrike" cap="none">
                          <a:solidFill>
                            <a:schemeClr val="dk1"/>
                          </a:solidFill>
                          <a:latin typeface="Source Sans Pro"/>
                          <a:ea typeface="Source Sans Pro"/>
                          <a:hlinkClick r:id="rId22"/>
                        </a:rPr>
                        <a:t>#40009 </a:t>
                      </a:r>
                      <a:r>
                        <a:rPr lang="en-US" sz="1000" b="0" i="0" u="none" strike="noStrike" cap="none">
                          <a:solidFill>
                            <a:schemeClr val="dk1"/>
                          </a:solidFill>
                          <a:latin typeface="Source Sans Pro"/>
                          <a:ea typeface="Source Sans Pro"/>
                        </a:rPr>
                        <a:t>Platform orientation checklist [Thomas McCue}</a:t>
                      </a:r>
                      <a:endParaRPr lang="en-US" sz="1000" b="1" i="0" u="none" strike="noStrike" cap="none">
                        <a:solidFill>
                          <a:schemeClr val="bg2"/>
                        </a:solidFill>
                        <a:latin typeface="Source Sans Pro"/>
                        <a:ea typeface="Source Sans Pro"/>
                        <a:cs typeface="Source Sans Pro SemiBold"/>
                        <a:sym typeface="Source Sans Pro SemiBold"/>
                      </a:endParaRPr>
                    </a:p>
                  </a:txBody>
                  <a:tcPr marL="0" marR="0" marT="0" marB="0" anchor="ctr">
                    <a:lnL w="9525" cap="flat" cmpd="sng" algn="ctr">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chemeClr val="dk2"/>
                        </a:buClr>
                        <a:buSzPts val="1050"/>
                        <a:buFont typeface="PT Serif"/>
                        <a:buNone/>
                      </a:pPr>
                      <a:r>
                        <a:rPr lang="en-US" sz="1000" u="none" strike="noStrike" cap="none">
                          <a:latin typeface="Source Sans Pro"/>
                          <a:ea typeface="Source Sans Pro"/>
                          <a:cs typeface="Source Sans Pro"/>
                          <a:sym typeface="Source Sans Pro"/>
                        </a:rPr>
                        <a:t>5</a:t>
                      </a:r>
                    </a:p>
                  </a:txBody>
                  <a:tcPr marL="0" marR="0" marT="0" marB="0" anchor="ctr">
                    <a:lnL w="9525" cap="flat" cmpd="sng" algn="ctr">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2"/>
                        </a:buClr>
                        <a:buSzPts val="1050"/>
                        <a:buFont typeface="PT Serif"/>
                        <a:buNone/>
                      </a:pPr>
                      <a:r>
                        <a:rPr lang="en-US" sz="1000" u="none" strike="noStrike" cap="none">
                          <a:latin typeface="Source Sans Pro"/>
                          <a:ea typeface="Source Sans Pro"/>
                          <a:cs typeface="Source Sans Pro"/>
                          <a:sym typeface="Source Sans Pro"/>
                        </a:rPr>
                        <a:t>Thomas</a:t>
                      </a:r>
                    </a:p>
                  </a:txBody>
                  <a:tcPr marL="0" marR="365750" marT="0" marB="0" anchor="ctr">
                    <a:lnL w="9525" cap="flat" cmpd="sng" algn="ctr">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120650" marR="0" lvl="0" indent="-120650" algn="l" rtl="0">
                        <a:lnSpc>
                          <a:spcPct val="100000"/>
                        </a:lnSpc>
                        <a:spcBef>
                          <a:spcPts val="0"/>
                        </a:spcBef>
                        <a:spcAft>
                          <a:spcPts val="0"/>
                        </a:spcAft>
                        <a:buClr>
                          <a:schemeClr val="dk1"/>
                        </a:buClr>
                        <a:buSzPts val="800"/>
                        <a:buFont typeface="Noto Sans Symbols"/>
                        <a:buChar char="▪"/>
                      </a:pPr>
                      <a:r>
                        <a:rPr lang="en-US" sz="1000" b="0" i="0" u="none" strike="noStrike" cap="none">
                          <a:solidFill>
                            <a:schemeClr val="dk1"/>
                          </a:solidFill>
                          <a:latin typeface="Source Sans Pro"/>
                          <a:ea typeface="Source Sans Pro"/>
                          <a:hlinkClick r:id="rId22"/>
                        </a:rPr>
                        <a:t>Ticket</a:t>
                      </a:r>
                      <a:endParaRPr lang="en-US" sz="1000" u="none">
                        <a:latin typeface="Source Sans Pro"/>
                        <a:ea typeface="Source Sans Pro"/>
                      </a:endParaRPr>
                    </a:p>
                  </a:txBody>
                  <a:tcPr marL="0" marR="0" marT="0" marB="0" anchor="ctr">
                    <a:lnL w="9525" cap="flat" cmpd="sng" algn="ctr">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defTabSz="914400" rtl="0" eaLnBrk="1" fontAlgn="auto" latinLnBrk="0" hangingPunct="1">
                        <a:lnSpc>
                          <a:spcPct val="100000"/>
                        </a:lnSpc>
                        <a:spcBef>
                          <a:spcPts val="0"/>
                        </a:spcBef>
                        <a:spcAft>
                          <a:spcPts val="0"/>
                        </a:spcAft>
                        <a:buClr>
                          <a:srgbClr val="000000"/>
                        </a:buClr>
                        <a:buSzPts val="1050"/>
                        <a:buFont typeface="PT Serif"/>
                        <a:buNone/>
                        <a:tabLst/>
                        <a:defRPr/>
                      </a:pPr>
                      <a:r>
                        <a:rPr kumimoji="0" lang="en-US" sz="1000" b="0" i="0" u="none" strike="noStrike" kern="0" cap="none" spc="0" normalizeH="0" baseline="0" noProof="0">
                          <a:ln>
                            <a:noFill/>
                          </a:ln>
                          <a:solidFill>
                            <a:srgbClr val="303A46"/>
                          </a:solidFill>
                          <a:effectLst/>
                          <a:uLnTx/>
                          <a:uFillTx/>
                          <a:latin typeface="Source Sans Pro"/>
                          <a:ea typeface="Source Sans Pro"/>
                          <a:cs typeface="Source Sans Pro"/>
                          <a:sym typeface="Source Sans Pro"/>
                        </a:rPr>
                        <a:t>N/A</a:t>
                      </a:r>
                    </a:p>
                  </a:txBody>
                  <a:tcPr marL="0" marR="0" marT="0" marB="0" anchor="ctr">
                    <a:lnL w="9525" cap="flat" cmpd="sng" algn="ctr">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ctr" defTabSz="914400" rtl="0" eaLnBrk="1" fontAlgn="auto" latinLnBrk="0" hangingPunct="1">
                        <a:lnSpc>
                          <a:spcPct val="100000"/>
                        </a:lnSpc>
                        <a:spcBef>
                          <a:spcPts val="0"/>
                        </a:spcBef>
                        <a:spcAft>
                          <a:spcPts val="0"/>
                        </a:spcAft>
                        <a:buClr>
                          <a:srgbClr val="000000"/>
                        </a:buClr>
                        <a:buSzPts val="1050"/>
                        <a:buFont typeface="PT Serif"/>
                        <a:buNone/>
                        <a:tabLst/>
                        <a:defRPr/>
                      </a:pPr>
                      <a:endParaRPr kumimoji="0" lang="en-US" sz="1000" b="0" i="0" u="none" strike="noStrike" kern="0" cap="none" spc="0" normalizeH="0" baseline="0" noProof="0">
                        <a:ln>
                          <a:noFill/>
                        </a:ln>
                        <a:solidFill>
                          <a:srgbClr val="303A46"/>
                        </a:solidFill>
                        <a:effectLst/>
                        <a:uLnTx/>
                        <a:uFillTx/>
                        <a:latin typeface="Source Sans Pro" panose="020B0503030403020204" pitchFamily="34" charset="0"/>
                        <a:ea typeface="Source Sans Pro" panose="020B0503030403020204" pitchFamily="34" charset="0"/>
                        <a:cs typeface="Source Sans Pro"/>
                        <a:sym typeface="Source Sans Pro"/>
                      </a:endParaRPr>
                    </a:p>
                    <a:p>
                      <a:pPr marL="0" marR="0" lvl="0" indent="0" algn="ctr" defTabSz="914400" rtl="0" eaLnBrk="1" fontAlgn="auto" latinLnBrk="0" hangingPunct="1">
                        <a:lnSpc>
                          <a:spcPct val="100000"/>
                        </a:lnSpc>
                        <a:spcBef>
                          <a:spcPts val="0"/>
                        </a:spcBef>
                        <a:spcAft>
                          <a:spcPts val="0"/>
                        </a:spcAft>
                        <a:buClr>
                          <a:srgbClr val="000000"/>
                        </a:buClr>
                        <a:buSzPts val="1050"/>
                        <a:buFont typeface="PT Serif"/>
                        <a:buNone/>
                        <a:tabLst/>
                        <a:defRPr/>
                      </a:pPr>
                      <a:r>
                        <a:rPr kumimoji="0" lang="en-US" sz="1000" b="0" i="0" u="none" strike="noStrike" kern="0" cap="none" spc="0" normalizeH="0" baseline="0" noProof="0">
                          <a:ln>
                            <a:noFill/>
                          </a:ln>
                          <a:solidFill>
                            <a:srgbClr val="303A46"/>
                          </a:solidFill>
                          <a:effectLst/>
                          <a:uLnTx/>
                          <a:uFillTx/>
                          <a:latin typeface="Source Sans Pro"/>
                          <a:ea typeface="Source Sans Pro"/>
                          <a:cs typeface="Source Sans Pro"/>
                          <a:sym typeface="Source Sans Pro"/>
                        </a:rPr>
                        <a:t>✓</a:t>
                      </a:r>
                    </a:p>
                  </a:txBody>
                  <a:tcPr marL="0" marR="0" marT="0" marB="0">
                    <a:lnL w="9525" cap="flat" cmpd="sng" algn="ctr">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extLst>
                  <a:ext uri="{0D108BD9-81ED-4DB2-BD59-A6C34878D82A}">
                    <a16:rowId xmlns:a16="http://schemas.microsoft.com/office/drawing/2014/main" val="2768401605"/>
                  </a:ext>
                </a:extLst>
              </a:tr>
              <a:tr h="362504">
                <a:tc>
                  <a:txBody>
                    <a:bodyPr/>
                    <a:lstStyle/>
                    <a:p>
                      <a:pPr marL="0" marR="0" lvl="0" indent="0" algn="l" rtl="0">
                        <a:lnSpc>
                          <a:spcPct val="100000"/>
                        </a:lnSpc>
                        <a:spcBef>
                          <a:spcPts val="0"/>
                        </a:spcBef>
                        <a:spcAft>
                          <a:spcPts val="0"/>
                        </a:spcAft>
                        <a:buClr>
                          <a:schemeClr val="dk2"/>
                        </a:buClr>
                        <a:buSzPts val="1050"/>
                        <a:buFont typeface="PT Serif"/>
                        <a:buNone/>
                      </a:pPr>
                      <a:r>
                        <a:rPr lang="en-US" sz="1000" b="0" i="0" u="none" strike="noStrike" cap="none">
                          <a:solidFill>
                            <a:schemeClr val="dk2"/>
                          </a:solidFill>
                          <a:latin typeface="Source Sans Pro"/>
                          <a:ea typeface="Source Sans Pro"/>
                          <a:cs typeface="Source Sans Pro"/>
                          <a:sym typeface="Source Sans Pro"/>
                        </a:rPr>
                        <a:t>Tech</a:t>
                      </a:r>
                      <a:endParaRPr sz="1000" u="none" strike="noStrike" cap="none">
                        <a:latin typeface="Source Sans Pro"/>
                        <a:ea typeface="Source Sans Pro"/>
                        <a:cs typeface="Source Sans Pro"/>
                        <a:sym typeface="Source Sans Pro"/>
                      </a:endParaRPr>
                    </a:p>
                  </a:txBody>
                  <a:tcPr marL="0" marR="365750" marT="0" marB="0" anchor="ctr">
                    <a:lnL w="9525" cap="flat" cmpd="sng">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1"/>
                        </a:buClr>
                        <a:buSzPts val="1050"/>
                        <a:buFont typeface="PT Serif"/>
                        <a:buNone/>
                      </a:pPr>
                      <a:r>
                        <a:rPr lang="en-US" sz="1000" b="0" i="0" u="none" strike="noStrike" cap="none">
                          <a:solidFill>
                            <a:schemeClr val="dk1"/>
                          </a:solidFill>
                          <a:latin typeface="Source Sans Pro"/>
                          <a:ea typeface="Source Sans Pro"/>
                          <a:hlinkClick r:id="rId23"/>
                        </a:rPr>
                        <a:t>#39769 </a:t>
                      </a:r>
                      <a:r>
                        <a:rPr lang="en-US" sz="1000" b="0" i="0" u="none" strike="noStrike" cap="none">
                          <a:solidFill>
                            <a:schemeClr val="dk1"/>
                          </a:solidFill>
                          <a:latin typeface="Source Sans Pro"/>
                          <a:ea typeface="Source Sans Pro"/>
                        </a:rPr>
                        <a:t>Make updates to code based on feedback from VA GitHub review for staging</a:t>
                      </a:r>
                      <a:endParaRPr lang="en-US" sz="1000" b="1" i="0" u="none" strike="noStrike" cap="none">
                        <a:solidFill>
                          <a:schemeClr val="bg2"/>
                        </a:solidFill>
                        <a:latin typeface="Source Sans Pro"/>
                        <a:ea typeface="Source Sans Pro"/>
                        <a:cs typeface="Source Sans Pro SemiBold"/>
                        <a:sym typeface="Source Sans Pro SemiBold"/>
                      </a:endParaRPr>
                    </a:p>
                  </a:txBody>
                  <a:tcPr marL="0" marR="0" marT="0" marB="0" anchor="ctr">
                    <a:lnL w="9525" cap="flat" cmpd="sng" algn="ctr">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chemeClr val="dk2"/>
                        </a:buClr>
                        <a:buSzPts val="1050"/>
                        <a:buFont typeface="PT Serif"/>
                        <a:buNone/>
                      </a:pPr>
                      <a:r>
                        <a:rPr lang="en-US" sz="1000" u="none" strike="noStrike" cap="none">
                          <a:latin typeface="Source Sans Pro"/>
                          <a:ea typeface="Source Sans Pro"/>
                          <a:cs typeface="Source Sans Pro"/>
                          <a:sym typeface="Source Sans Pro"/>
                        </a:rPr>
                        <a:t>5</a:t>
                      </a:r>
                    </a:p>
                  </a:txBody>
                  <a:tcPr marL="0" marR="0" marT="0" marB="0" anchor="ctr">
                    <a:lnL w="9525" cap="flat" cmpd="sng" algn="ctr">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2"/>
                        </a:buClr>
                        <a:buSzPts val="1050"/>
                        <a:buFont typeface="PT Serif"/>
                        <a:buNone/>
                      </a:pPr>
                      <a:r>
                        <a:rPr lang="en-US" sz="1000" u="none" strike="noStrike" cap="none">
                          <a:latin typeface="Source Sans Pro"/>
                          <a:ea typeface="Source Sans Pro"/>
                          <a:cs typeface="Source Sans Pro"/>
                          <a:sym typeface="Source Sans Pro"/>
                        </a:rPr>
                        <a:t>Teagan</a:t>
                      </a:r>
                    </a:p>
                  </a:txBody>
                  <a:tcPr marL="0" marR="365750" marT="0" marB="0" anchor="ctr">
                    <a:lnL w="9525" cap="flat" cmpd="sng" algn="ctr">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120650" marR="0" lvl="0" indent="-120650" algn="l" rtl="0">
                        <a:lnSpc>
                          <a:spcPct val="100000"/>
                        </a:lnSpc>
                        <a:spcBef>
                          <a:spcPts val="0"/>
                        </a:spcBef>
                        <a:spcAft>
                          <a:spcPts val="0"/>
                        </a:spcAft>
                        <a:buClr>
                          <a:schemeClr val="dk1"/>
                        </a:buClr>
                        <a:buSzPts val="800"/>
                        <a:buFont typeface="Noto Sans Symbols"/>
                        <a:buChar char="▪"/>
                      </a:pPr>
                      <a:r>
                        <a:rPr lang="en-US" sz="1000" b="0" i="0" u="none" strike="noStrike" cap="none">
                          <a:solidFill>
                            <a:schemeClr val="dk1"/>
                          </a:solidFill>
                          <a:latin typeface="Source Sans Pro"/>
                          <a:ea typeface="Source Sans Pro"/>
                          <a:hlinkClick r:id="rId24"/>
                        </a:rPr>
                        <a:t>Ticket G#20208</a:t>
                      </a:r>
                      <a:endParaRPr lang="en-US" sz="1000" b="0" i="0" u="none" strike="noStrike" cap="none">
                        <a:solidFill>
                          <a:schemeClr val="dk1"/>
                        </a:solidFill>
                        <a:latin typeface="Source Sans Pro"/>
                        <a:ea typeface="Source Sans Pro"/>
                      </a:endParaRPr>
                    </a:p>
                    <a:p>
                      <a:pPr marL="120650" marR="0" lvl="0" indent="-120650" algn="l" rtl="0">
                        <a:lnSpc>
                          <a:spcPct val="100000"/>
                        </a:lnSpc>
                        <a:spcBef>
                          <a:spcPts val="0"/>
                        </a:spcBef>
                        <a:spcAft>
                          <a:spcPts val="0"/>
                        </a:spcAft>
                        <a:buClr>
                          <a:schemeClr val="dk1"/>
                        </a:buClr>
                        <a:buSzPts val="800"/>
                        <a:buFont typeface="Noto Sans Symbols"/>
                        <a:buChar char="▪"/>
                      </a:pPr>
                      <a:r>
                        <a:rPr lang="en-US" sz="1000" b="0" i="0" u="none" strike="noStrike" cap="none">
                          <a:solidFill>
                            <a:schemeClr val="dk1"/>
                          </a:solidFill>
                          <a:latin typeface="Source Sans Pro"/>
                          <a:ea typeface="Source Sans Pro"/>
                          <a:hlinkClick r:id="rId25"/>
                        </a:rPr>
                        <a:t>Ticket G#9423</a:t>
                      </a:r>
                      <a:endParaRPr lang="en-US" sz="1000" b="0" i="0" u="none" strike="noStrike" cap="none">
                        <a:solidFill>
                          <a:schemeClr val="dk1"/>
                        </a:solidFill>
                        <a:latin typeface="Source Sans Pro"/>
                        <a:ea typeface="Source Sans Pro"/>
                      </a:endParaRPr>
                    </a:p>
                    <a:p>
                      <a:pPr marL="120650" marR="0" lvl="0" indent="-120650" algn="l" rtl="0">
                        <a:lnSpc>
                          <a:spcPct val="100000"/>
                        </a:lnSpc>
                        <a:spcBef>
                          <a:spcPts val="0"/>
                        </a:spcBef>
                        <a:spcAft>
                          <a:spcPts val="0"/>
                        </a:spcAft>
                        <a:buClr>
                          <a:schemeClr val="dk1"/>
                        </a:buClr>
                        <a:buSzPts val="800"/>
                        <a:buFont typeface="Noto Sans Symbols"/>
                        <a:buChar char="▪"/>
                      </a:pPr>
                      <a:r>
                        <a:rPr lang="en-US" sz="1000" b="0" i="0" u="none" strike="noStrike" cap="none">
                          <a:solidFill>
                            <a:schemeClr val="dk1"/>
                          </a:solidFill>
                          <a:latin typeface="Source Sans Pro"/>
                          <a:ea typeface="Source Sans Pro"/>
                          <a:hlinkClick r:id="rId26"/>
                        </a:rPr>
                        <a:t>Ticket G#9430</a:t>
                      </a:r>
                      <a:endParaRPr lang="en-US" sz="1000" u="none">
                        <a:latin typeface="Source Sans Pro"/>
                        <a:ea typeface="Source Sans Pro"/>
                      </a:endParaRPr>
                    </a:p>
                  </a:txBody>
                  <a:tcPr marL="0" marR="0" marT="0" marB="0" anchor="ctr">
                    <a:lnL w="9525" cap="flat" cmpd="sng" algn="ctr">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defTabSz="914400" rtl="0" eaLnBrk="1" fontAlgn="auto" latinLnBrk="0" hangingPunct="1">
                        <a:lnSpc>
                          <a:spcPct val="100000"/>
                        </a:lnSpc>
                        <a:spcBef>
                          <a:spcPts val="0"/>
                        </a:spcBef>
                        <a:spcAft>
                          <a:spcPts val="0"/>
                        </a:spcAft>
                        <a:buClr>
                          <a:srgbClr val="000000"/>
                        </a:buClr>
                        <a:buSzPts val="1050"/>
                        <a:buFont typeface="PT Serif"/>
                        <a:buNone/>
                        <a:tabLst/>
                        <a:defRPr/>
                      </a:pPr>
                      <a:r>
                        <a:rPr lang="en-US" sz="1000" b="0" i="0" u="none" strike="noStrike" kern="0" cap="none" spc="0" normalizeH="0" baseline="0" noProof="0">
                          <a:ln>
                            <a:noFill/>
                          </a:ln>
                          <a:solidFill>
                            <a:srgbClr val="303A46"/>
                          </a:solidFill>
                          <a:effectLst/>
                          <a:uLnTx/>
                          <a:uFillTx/>
                          <a:latin typeface="Source Sans Pro"/>
                          <a:ea typeface="Source Sans Pro"/>
                          <a:cs typeface="Source Sans Pro"/>
                        </a:rPr>
                        <a:t>4/15/22</a:t>
                      </a:r>
                      <a:endParaRPr kumimoji="0" lang="en-US" sz="1000" b="0" i="0" u="none" strike="noStrike" kern="0" cap="none" spc="0" normalizeH="0" baseline="0" noProof="0">
                        <a:ln>
                          <a:noFill/>
                        </a:ln>
                        <a:solidFill>
                          <a:srgbClr val="303A46"/>
                        </a:solidFill>
                        <a:effectLst/>
                        <a:uLnTx/>
                        <a:uFillTx/>
                        <a:latin typeface="Source Sans Pro"/>
                        <a:ea typeface="Source Sans Pro"/>
                        <a:cs typeface="Source Sans Pro"/>
                        <a:sym typeface="Source Sans Pro"/>
                      </a:endParaRPr>
                    </a:p>
                  </a:txBody>
                  <a:tcPr marL="0" marR="0" marT="0" marB="0" anchor="ctr">
                    <a:lnL w="9525" cap="flat" cmpd="sng" algn="ctr">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ctr" defTabSz="914400" rtl="0" eaLnBrk="1" fontAlgn="auto" latinLnBrk="0" hangingPunct="1">
                        <a:lnSpc>
                          <a:spcPct val="100000"/>
                        </a:lnSpc>
                        <a:spcBef>
                          <a:spcPts val="0"/>
                        </a:spcBef>
                        <a:spcAft>
                          <a:spcPts val="0"/>
                        </a:spcAft>
                        <a:buClr>
                          <a:srgbClr val="000000"/>
                        </a:buClr>
                        <a:buSzPts val="1050"/>
                        <a:buFont typeface="PT Serif"/>
                        <a:buNone/>
                        <a:tabLst/>
                        <a:defRPr/>
                      </a:pPr>
                      <a:endParaRPr kumimoji="0" lang="en-US" sz="1000" b="0" i="0" u="none" strike="noStrike" kern="0" cap="none" spc="0" normalizeH="0" baseline="0" noProof="0">
                        <a:ln>
                          <a:noFill/>
                        </a:ln>
                        <a:solidFill>
                          <a:srgbClr val="303A46"/>
                        </a:solidFill>
                        <a:effectLst/>
                        <a:uLnTx/>
                        <a:uFillTx/>
                        <a:latin typeface="Source Sans Pro" panose="020B0503030403020204" pitchFamily="34" charset="0"/>
                        <a:ea typeface="Source Sans Pro" panose="020B0503030403020204" pitchFamily="34" charset="0"/>
                        <a:cs typeface="Source Sans Pro"/>
                        <a:sym typeface="Source Sans Pro"/>
                      </a:endParaRPr>
                    </a:p>
                    <a:p>
                      <a:pPr marL="0" marR="0" lvl="0" indent="0" algn="ctr" defTabSz="914400" rtl="0" eaLnBrk="1" fontAlgn="auto" latinLnBrk="0" hangingPunct="1">
                        <a:lnSpc>
                          <a:spcPct val="100000"/>
                        </a:lnSpc>
                        <a:spcBef>
                          <a:spcPts val="0"/>
                        </a:spcBef>
                        <a:spcAft>
                          <a:spcPts val="0"/>
                        </a:spcAft>
                        <a:buClr>
                          <a:srgbClr val="000000"/>
                        </a:buClr>
                        <a:buSzPts val="1050"/>
                        <a:buFont typeface="PT Serif"/>
                        <a:buNone/>
                        <a:tabLst/>
                        <a:defRPr/>
                      </a:pPr>
                      <a:r>
                        <a:rPr kumimoji="0" lang="en-US" sz="1000" b="0" i="0" u="none" strike="noStrike" kern="0" cap="none" spc="0" normalizeH="0" baseline="0" noProof="0">
                          <a:ln>
                            <a:noFill/>
                          </a:ln>
                          <a:solidFill>
                            <a:srgbClr val="303A46"/>
                          </a:solidFill>
                          <a:effectLst/>
                          <a:uLnTx/>
                          <a:uFillTx/>
                          <a:latin typeface="Source Sans Pro"/>
                          <a:ea typeface="Source Sans Pro"/>
                          <a:cs typeface="Source Sans Pro"/>
                          <a:sym typeface="Source Sans Pro"/>
                        </a:rPr>
                        <a:t>✓</a:t>
                      </a:r>
                    </a:p>
                  </a:txBody>
                  <a:tcPr marL="0" marR="0" marT="0" marB="0">
                    <a:lnL w="9525" cap="flat" cmpd="sng" algn="ctr">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extLst>
                  <a:ext uri="{0D108BD9-81ED-4DB2-BD59-A6C34878D82A}">
                    <a16:rowId xmlns:a16="http://schemas.microsoft.com/office/drawing/2014/main" val="2499922272"/>
                  </a:ext>
                </a:extLst>
              </a:tr>
              <a:tr h="362504">
                <a:tc>
                  <a:txBody>
                    <a:bodyPr/>
                    <a:lstStyle/>
                    <a:p>
                      <a:pPr marL="0" marR="0" lvl="0" indent="0" algn="l" rtl="0">
                        <a:lnSpc>
                          <a:spcPct val="100000"/>
                        </a:lnSpc>
                        <a:spcBef>
                          <a:spcPts val="0"/>
                        </a:spcBef>
                        <a:spcAft>
                          <a:spcPts val="0"/>
                        </a:spcAft>
                        <a:buClr>
                          <a:schemeClr val="dk2"/>
                        </a:buClr>
                        <a:buSzPts val="1050"/>
                        <a:buFont typeface="PT Serif"/>
                        <a:buNone/>
                      </a:pPr>
                      <a:r>
                        <a:rPr lang="en-US" sz="1000" b="0" i="0" u="none" strike="noStrike" cap="none">
                          <a:solidFill>
                            <a:schemeClr val="dk2"/>
                          </a:solidFill>
                          <a:latin typeface="Source Sans Pro"/>
                          <a:ea typeface="Source Sans Pro"/>
                          <a:cs typeface="Source Sans Pro"/>
                          <a:sym typeface="Source Sans Pro"/>
                        </a:rPr>
                        <a:t>Tech</a:t>
                      </a:r>
                      <a:endParaRPr lang="en-US" sz="1000" u="none" strike="noStrike" cap="none">
                        <a:latin typeface="Source Sans Pro"/>
                        <a:ea typeface="Source Sans Pro"/>
                        <a:cs typeface="Source Sans Pro"/>
                        <a:sym typeface="Source Sans Pro"/>
                      </a:endParaRPr>
                    </a:p>
                  </a:txBody>
                  <a:tcPr marL="0" marR="365750" marT="0" marB="0" anchor="ctr">
                    <a:lnL w="9525" cap="flat" cmpd="sng">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1"/>
                        </a:buClr>
                        <a:buSzPts val="1050"/>
                        <a:buFont typeface="PT Serif"/>
                        <a:buNone/>
                      </a:pPr>
                      <a:r>
                        <a:rPr lang="en-US" sz="1000" b="0" i="0" u="none" strike="noStrike" cap="none">
                          <a:solidFill>
                            <a:schemeClr val="dk1"/>
                          </a:solidFill>
                          <a:latin typeface="Source Sans Pro"/>
                          <a:ea typeface="Source Sans Pro"/>
                          <a:hlinkClick r:id="rId27"/>
                        </a:rPr>
                        <a:t>#39922 </a:t>
                      </a:r>
                      <a:r>
                        <a:rPr lang="en-US" sz="1000" b="0" i="0" u="none" strike="noStrike" cap="none">
                          <a:solidFill>
                            <a:schemeClr val="dk1"/>
                          </a:solidFill>
                          <a:latin typeface="Source Sans Pro"/>
                          <a:ea typeface="Source Sans Pro"/>
                        </a:rPr>
                        <a:t>Platform orientation checklist [Shashank Khandelwal]</a:t>
                      </a:r>
                      <a:endParaRPr lang="en-US" sz="1000" b="1" i="0" u="none" strike="noStrike" cap="none">
                        <a:solidFill>
                          <a:schemeClr val="bg2"/>
                        </a:solidFill>
                        <a:latin typeface="Source Sans Pro"/>
                        <a:ea typeface="Source Sans Pro"/>
                        <a:cs typeface="Source Sans Pro SemiBold"/>
                        <a:sym typeface="Source Sans Pro SemiBold"/>
                      </a:endParaRPr>
                    </a:p>
                  </a:txBody>
                  <a:tcPr marL="0" marR="0" marT="0" marB="0" anchor="ctr">
                    <a:lnL w="9525" cap="flat" cmpd="sng" algn="ctr">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chemeClr val="dk2"/>
                        </a:buClr>
                        <a:buSzPts val="1050"/>
                        <a:buFont typeface="PT Serif"/>
                        <a:buNone/>
                      </a:pPr>
                      <a:r>
                        <a:rPr lang="en-US" sz="1000" u="none" strike="noStrike" cap="none">
                          <a:latin typeface="Source Sans Pro"/>
                          <a:ea typeface="Source Sans Pro"/>
                          <a:cs typeface="Source Sans Pro"/>
                          <a:sym typeface="Source Sans Pro"/>
                        </a:rPr>
                        <a:t>5</a:t>
                      </a:r>
                    </a:p>
                  </a:txBody>
                  <a:tcPr marL="0" marR="0" marT="0" marB="0" anchor="ctr">
                    <a:lnL w="9525" cap="flat" cmpd="sng" algn="ctr">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2"/>
                        </a:buClr>
                        <a:buSzPts val="1050"/>
                        <a:buFont typeface="PT Serif"/>
                        <a:buNone/>
                      </a:pPr>
                      <a:r>
                        <a:rPr lang="en-US" sz="1000" u="none" strike="noStrike" cap="none">
                          <a:latin typeface="Source Sans Pro"/>
                          <a:ea typeface="Source Sans Pro"/>
                          <a:cs typeface="Source Sans Pro"/>
                          <a:sym typeface="Source Sans Pro"/>
                        </a:rPr>
                        <a:t>Shashank</a:t>
                      </a:r>
                    </a:p>
                  </a:txBody>
                  <a:tcPr marL="0" marR="365750" marT="0" marB="0" anchor="ctr">
                    <a:lnL w="9525" cap="flat" cmpd="sng" algn="ctr">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120650" marR="0" lvl="0" indent="-120650" algn="l" rtl="0">
                        <a:lnSpc>
                          <a:spcPct val="100000"/>
                        </a:lnSpc>
                        <a:spcBef>
                          <a:spcPts val="0"/>
                        </a:spcBef>
                        <a:spcAft>
                          <a:spcPts val="0"/>
                        </a:spcAft>
                        <a:buClr>
                          <a:schemeClr val="dk1"/>
                        </a:buClr>
                        <a:buSzPts val="800"/>
                        <a:buFont typeface="Noto Sans Symbols"/>
                        <a:buChar char="▪"/>
                      </a:pPr>
                      <a:r>
                        <a:rPr lang="en-US" sz="1000" b="0" i="0" u="none" strike="noStrike" cap="none">
                          <a:solidFill>
                            <a:schemeClr val="dk1"/>
                          </a:solidFill>
                          <a:latin typeface="Source Sans Pro"/>
                          <a:ea typeface="Source Sans Pro"/>
                          <a:hlinkClick r:id="rId27"/>
                        </a:rPr>
                        <a:t>Ticket</a:t>
                      </a:r>
                      <a:endParaRPr lang="en-US" sz="1000" u="none">
                        <a:latin typeface="Source Sans Pro"/>
                        <a:ea typeface="Source Sans Pro"/>
                      </a:endParaRPr>
                    </a:p>
                  </a:txBody>
                  <a:tcPr marL="0" marR="0" marT="0" marB="0" anchor="ctr">
                    <a:lnL w="9525" cap="flat" cmpd="sng" algn="ctr">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defTabSz="914400" rtl="0" eaLnBrk="1" fontAlgn="auto" latinLnBrk="0" hangingPunct="1">
                        <a:lnSpc>
                          <a:spcPct val="100000"/>
                        </a:lnSpc>
                        <a:spcBef>
                          <a:spcPts val="0"/>
                        </a:spcBef>
                        <a:spcAft>
                          <a:spcPts val="0"/>
                        </a:spcAft>
                        <a:buClr>
                          <a:srgbClr val="000000"/>
                        </a:buClr>
                        <a:buSzPts val="1050"/>
                        <a:buFont typeface="PT Serif"/>
                        <a:buNone/>
                        <a:tabLst/>
                        <a:defRPr/>
                      </a:pPr>
                      <a:r>
                        <a:rPr kumimoji="0" lang="en-US" sz="1000" b="0" i="0" u="none" strike="noStrike" kern="0" cap="none" spc="0" normalizeH="0" baseline="0" noProof="0">
                          <a:ln>
                            <a:noFill/>
                          </a:ln>
                          <a:solidFill>
                            <a:srgbClr val="303A46"/>
                          </a:solidFill>
                          <a:effectLst/>
                          <a:uLnTx/>
                          <a:uFillTx/>
                          <a:latin typeface="Source Sans Pro"/>
                          <a:ea typeface="Source Sans Pro"/>
                          <a:cs typeface="Source Sans Pro"/>
                          <a:sym typeface="Source Sans Pro"/>
                        </a:rPr>
                        <a:t>N/A</a:t>
                      </a:r>
                    </a:p>
                  </a:txBody>
                  <a:tcPr marL="0" marR="0" marT="0" marB="0" anchor="ctr">
                    <a:lnL w="9525" cap="flat" cmpd="sng" algn="ctr">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ctr" defTabSz="914400" rtl="0" eaLnBrk="1" fontAlgn="auto" latinLnBrk="0" hangingPunct="1">
                        <a:lnSpc>
                          <a:spcPct val="100000"/>
                        </a:lnSpc>
                        <a:spcBef>
                          <a:spcPts val="0"/>
                        </a:spcBef>
                        <a:spcAft>
                          <a:spcPts val="0"/>
                        </a:spcAft>
                        <a:buClr>
                          <a:srgbClr val="000000"/>
                        </a:buClr>
                        <a:buSzPts val="1050"/>
                        <a:buFont typeface="PT Serif"/>
                        <a:buNone/>
                        <a:tabLst/>
                        <a:defRPr/>
                      </a:pPr>
                      <a:endParaRPr kumimoji="0" lang="en-US" sz="1000" b="0" i="0" u="none" strike="noStrike" kern="0" cap="none" spc="0" normalizeH="0" baseline="0" noProof="0">
                        <a:ln>
                          <a:noFill/>
                        </a:ln>
                        <a:solidFill>
                          <a:srgbClr val="303A46"/>
                        </a:solidFill>
                        <a:effectLst/>
                        <a:uLnTx/>
                        <a:uFillTx/>
                        <a:latin typeface="Source Sans Pro" panose="020B0503030403020204" pitchFamily="34" charset="0"/>
                        <a:ea typeface="Source Sans Pro" panose="020B0503030403020204" pitchFamily="34" charset="0"/>
                        <a:cs typeface="Source Sans Pro"/>
                        <a:sym typeface="Source Sans Pro"/>
                      </a:endParaRPr>
                    </a:p>
                    <a:p>
                      <a:pPr marL="0" marR="0" lvl="0" indent="0" algn="ctr" defTabSz="914400" rtl="0" eaLnBrk="1" fontAlgn="auto" latinLnBrk="0" hangingPunct="1">
                        <a:lnSpc>
                          <a:spcPct val="100000"/>
                        </a:lnSpc>
                        <a:spcBef>
                          <a:spcPts val="0"/>
                        </a:spcBef>
                        <a:spcAft>
                          <a:spcPts val="0"/>
                        </a:spcAft>
                        <a:buClr>
                          <a:srgbClr val="000000"/>
                        </a:buClr>
                        <a:buSzPts val="1050"/>
                        <a:buFont typeface="PT Serif"/>
                        <a:buNone/>
                        <a:tabLst/>
                        <a:defRPr/>
                      </a:pPr>
                      <a:r>
                        <a:rPr kumimoji="0" lang="en-US" sz="1000" b="0" i="0" u="none" strike="noStrike" kern="0" cap="none" spc="0" normalizeH="0" baseline="0" noProof="0">
                          <a:ln>
                            <a:noFill/>
                          </a:ln>
                          <a:solidFill>
                            <a:srgbClr val="303A46"/>
                          </a:solidFill>
                          <a:effectLst/>
                          <a:uLnTx/>
                          <a:uFillTx/>
                          <a:latin typeface="Source Sans Pro"/>
                          <a:ea typeface="Source Sans Pro"/>
                          <a:cs typeface="Source Sans Pro"/>
                          <a:sym typeface="Source Sans Pro"/>
                        </a:rPr>
                        <a:t>✓</a:t>
                      </a:r>
                    </a:p>
                  </a:txBody>
                  <a:tcPr marL="0" marR="0" marT="0" marB="0">
                    <a:lnL w="9525" cap="flat" cmpd="sng" algn="ctr">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extLst>
                  <a:ext uri="{0D108BD9-81ED-4DB2-BD59-A6C34878D82A}">
                    <a16:rowId xmlns:a16="http://schemas.microsoft.com/office/drawing/2014/main" val="2272322173"/>
                  </a:ext>
                </a:extLst>
              </a:tr>
            </a:tbl>
          </a:graphicData>
        </a:graphic>
      </p:graphicFrame>
      <p:sp>
        <p:nvSpPr>
          <p:cNvPr id="695" name="Google Shape;695;p20"/>
          <p:cNvSpPr txBox="1"/>
          <p:nvPr/>
        </p:nvSpPr>
        <p:spPr>
          <a:xfrm>
            <a:off x="10140593" y="6408650"/>
            <a:ext cx="1500232" cy="276959"/>
          </a:xfrm>
          <a:prstGeom prst="rect">
            <a:avLst/>
          </a:prstGeom>
          <a:noFill/>
          <a:ln>
            <a:noFill/>
          </a:ln>
        </p:spPr>
        <p:txBody>
          <a:bodyPr spcFirstLastPara="1" wrap="square" lIns="91425" tIns="45700" rIns="91425" bIns="45700" anchor="t" anchorCtr="0">
            <a:spAutoFit/>
          </a:bodyPr>
          <a:lstStyle/>
          <a:p>
            <a:pPr marL="0" marR="0" lvl="0" indent="0" algn="r" rtl="0">
              <a:spcBef>
                <a:spcPts val="0"/>
              </a:spcBef>
              <a:spcAft>
                <a:spcPts val="0"/>
              </a:spcAft>
              <a:buClr>
                <a:srgbClr val="747C74"/>
              </a:buClr>
              <a:buSzPts val="1200"/>
              <a:buFont typeface="Source Sans Pro"/>
              <a:buNone/>
            </a:pPr>
            <a:r>
              <a:rPr lang="en-US" sz="1200">
                <a:solidFill>
                  <a:srgbClr val="747C74"/>
                </a:solidFill>
                <a:latin typeface="Source Sans Pro"/>
                <a:ea typeface="Source Sans Pro"/>
                <a:cs typeface="Source Sans Pro"/>
                <a:sym typeface="Source Sans Pro"/>
              </a:rPr>
              <a:t>Sprint 6 Deliverables</a:t>
            </a:r>
            <a:endParaRPr sz="1800">
              <a:solidFill>
                <a:schemeClr val="dk1"/>
              </a:solidFill>
              <a:latin typeface="Calibri"/>
              <a:ea typeface="Calibri"/>
              <a:cs typeface="Calibri"/>
              <a:sym typeface="Calibri"/>
            </a:endParaRPr>
          </a:p>
        </p:txBody>
      </p:sp>
      <p:sp>
        <p:nvSpPr>
          <p:cNvPr id="4" name="Google Shape;337;p6">
            <a:extLst>
              <a:ext uri="{FF2B5EF4-FFF2-40B4-BE49-F238E27FC236}">
                <a16:creationId xmlns:a16="http://schemas.microsoft.com/office/drawing/2014/main" id="{9AFC4AAF-F922-425A-B866-F54294711148}"/>
              </a:ext>
            </a:extLst>
          </p:cNvPr>
          <p:cNvSpPr txBox="1"/>
          <p:nvPr/>
        </p:nvSpPr>
        <p:spPr>
          <a:xfrm>
            <a:off x="419100" y="6408650"/>
            <a:ext cx="2723465" cy="276999"/>
          </a:xfrm>
          <a:prstGeom prst="rect">
            <a:avLst/>
          </a:prstGeom>
          <a:noFill/>
          <a:ln>
            <a:noFill/>
          </a:ln>
        </p:spPr>
        <p:txBody>
          <a:bodyPr spcFirstLastPara="1" wrap="square" lIns="0" tIns="45700" rIns="91425" bIns="45700" anchor="t" anchorCtr="0">
            <a:spAutoFit/>
          </a:bodyPr>
          <a:lstStyle/>
          <a:p>
            <a:pPr marL="0" marR="0" lvl="0" indent="0" algn="l" rtl="0">
              <a:spcBef>
                <a:spcPts val="0"/>
              </a:spcBef>
              <a:spcAft>
                <a:spcPts val="0"/>
              </a:spcAft>
              <a:buNone/>
            </a:pPr>
            <a:r>
              <a:rPr lang="en-US" sz="1200" b="0" i="0" u="none" strike="noStrike" cap="none">
                <a:solidFill>
                  <a:srgbClr val="747C74"/>
                </a:solidFill>
                <a:latin typeface="Source Sans Pro"/>
                <a:ea typeface="Source Sans Pro"/>
                <a:cs typeface="Source Sans Pro"/>
                <a:sym typeface="Source Sans Pro"/>
              </a:rPr>
              <a:t>04-19 Sprint 6 Demo</a:t>
            </a:r>
            <a:endParaRPr sz="1200" b="0" i="0" u="none" strike="noStrike" cap="none">
              <a:solidFill>
                <a:srgbClr val="747C74"/>
              </a:solidFill>
              <a:latin typeface="Calibri"/>
              <a:ea typeface="Calibri"/>
              <a:cs typeface="Calibri"/>
              <a:sym typeface="Calibri"/>
            </a:endParaRPr>
          </a:p>
        </p:txBody>
      </p:sp>
      <p:sp>
        <p:nvSpPr>
          <p:cNvPr id="2" name="TextBox 1">
            <a:extLst>
              <a:ext uri="{FF2B5EF4-FFF2-40B4-BE49-F238E27FC236}">
                <a16:creationId xmlns:a16="http://schemas.microsoft.com/office/drawing/2014/main" id="{1FA17069-679B-6880-2F9F-41B585A6CB51}"/>
              </a:ext>
            </a:extLst>
          </p:cNvPr>
          <p:cNvSpPr txBox="1"/>
          <p:nvPr/>
        </p:nvSpPr>
        <p:spPr>
          <a:xfrm>
            <a:off x="8092107" y="639038"/>
            <a:ext cx="1753507" cy="307777"/>
          </a:xfrm>
          <a:prstGeom prst="rect">
            <a:avLst/>
          </a:prstGeom>
          <a:solidFill>
            <a:srgbClr val="FFFF00"/>
          </a:solidFill>
        </p:spPr>
        <p:txBody>
          <a:bodyPr wrap="square" lIns="91440" tIns="45720" rIns="91440" bIns="45720" rtlCol="0" anchor="t">
            <a:spAutoFit/>
          </a:bodyPr>
          <a:lstStyle/>
          <a:p>
            <a:r>
              <a:rPr lang="en-US"/>
              <a:t>Teagan</a:t>
            </a:r>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Shape 691"/>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339F7FD-B9B1-4B3D-82B8-0B1D2490A08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4513" name="think-cell Slide" r:id="rId5" imgW="395" imgH="396" progId="TCLayout.ActiveDocument.1">
                  <p:embed/>
                </p:oleObj>
              </mc:Choice>
              <mc:Fallback>
                <p:oleObj name="think-cell Slide" r:id="rId5" imgW="395" imgH="396" progId="TCLayout.ActiveDocument.1">
                  <p:embed/>
                  <p:pic>
                    <p:nvPicPr>
                      <p:cNvPr id="3" name="Object 2" hidden="1">
                        <a:extLst>
                          <a:ext uri="{FF2B5EF4-FFF2-40B4-BE49-F238E27FC236}">
                            <a16:creationId xmlns:a16="http://schemas.microsoft.com/office/drawing/2014/main" id="{E339F7FD-B9B1-4B3D-82B8-0B1D2490A08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92" name="Google Shape;692;p20"/>
          <p:cNvSpPr txBox="1">
            <a:spLocks noGrp="1"/>
          </p:cNvSpPr>
          <p:nvPr>
            <p:ph type="title"/>
          </p:nvPr>
        </p:nvSpPr>
        <p:spPr>
          <a:xfrm>
            <a:off x="312812" y="373491"/>
            <a:ext cx="11353800" cy="746983"/>
          </a:xfrm>
          <a:prstGeom prst="rect">
            <a:avLst/>
          </a:prstGeom>
          <a:noFill/>
          <a:ln>
            <a:noFill/>
          </a:ln>
        </p:spPr>
        <p:txBody>
          <a:bodyPr spcFirstLastPara="1" wrap="square" lIns="91425" tIns="45700" rIns="91425" bIns="45700" anchor="t" anchorCtr="0">
            <a:normAutofit/>
          </a:bodyPr>
          <a:lstStyle/>
          <a:p>
            <a:r>
              <a:rPr lang="en-US" sz="3200"/>
              <a:t>Sprint 6 Deliverables 1095-B (2 of 2)</a:t>
            </a:r>
          </a:p>
        </p:txBody>
      </p:sp>
      <p:sp>
        <p:nvSpPr>
          <p:cNvPr id="693" name="Google Shape;693;p20"/>
          <p:cNvSpPr txBox="1">
            <a:spLocks noGrp="1"/>
          </p:cNvSpPr>
          <p:nvPr>
            <p:ph type="sldNum" idx="12"/>
          </p:nvPr>
        </p:nvSpPr>
        <p:spPr>
          <a:xfrm>
            <a:off x="11474969" y="6363970"/>
            <a:ext cx="406052" cy="365125"/>
          </a:xfrm>
          <a:prstGeom prst="rect">
            <a:avLst/>
          </a:prstGeom>
          <a:noFill/>
          <a:ln>
            <a:noFill/>
          </a:ln>
        </p:spPr>
        <p:txBody>
          <a:bodyPr spcFirstLastPara="1" wrap="square" lIns="91425" tIns="45700" rIns="91425" bIns="45700" anchor="ctr" anchorCtr="0">
            <a:noAutofit/>
          </a:bodyPr>
          <a:lstStyle/>
          <a:p>
            <a:pPr marL="0" lvl="0" indent="0" algn="r" rtl="0">
              <a:spcBef>
                <a:spcPts val="0"/>
              </a:spcBef>
              <a:spcAft>
                <a:spcPts val="0"/>
              </a:spcAft>
              <a:buNone/>
            </a:pPr>
            <a:fld id="{00000000-1234-1234-1234-123412341234}" type="slidenum">
              <a:rPr lang="en-US">
                <a:latin typeface="Source Sans Pro"/>
                <a:ea typeface="Source Sans Pro"/>
                <a:cs typeface="Source Sans Pro"/>
                <a:sym typeface="Source Sans Pro"/>
              </a:rPr>
              <a:t>21</a:t>
            </a:fld>
            <a:endParaRPr>
              <a:latin typeface="Source Sans Pro"/>
              <a:ea typeface="Source Sans Pro"/>
              <a:cs typeface="Source Sans Pro"/>
              <a:sym typeface="Source Sans Pro"/>
            </a:endParaRPr>
          </a:p>
        </p:txBody>
      </p:sp>
      <p:graphicFrame>
        <p:nvGraphicFramePr>
          <p:cNvPr id="694" name="Google Shape;694;p20"/>
          <p:cNvGraphicFramePr/>
          <p:nvPr>
            <p:extLst>
              <p:ext uri="{D42A27DB-BD31-4B8C-83A1-F6EECF244321}">
                <p14:modId xmlns:p14="http://schemas.microsoft.com/office/powerpoint/2010/main" val="3392526509"/>
              </p:ext>
            </p:extLst>
          </p:nvPr>
        </p:nvGraphicFramePr>
        <p:xfrm>
          <a:off x="431214" y="1030271"/>
          <a:ext cx="11329571" cy="3307274"/>
        </p:xfrm>
        <a:graphic>
          <a:graphicData uri="http://schemas.openxmlformats.org/drawingml/2006/table">
            <a:tbl>
              <a:tblPr>
                <a:noFill/>
                <a:tableStyleId>{1F4BC13E-62C9-4DB2-9D77-78E559E1D0AC}</a:tableStyleId>
              </a:tblPr>
              <a:tblGrid>
                <a:gridCol w="824272">
                  <a:extLst>
                    <a:ext uri="{9D8B030D-6E8A-4147-A177-3AD203B41FA5}">
                      <a16:colId xmlns:a16="http://schemas.microsoft.com/office/drawing/2014/main" val="20000"/>
                    </a:ext>
                  </a:extLst>
                </a:gridCol>
                <a:gridCol w="4085545">
                  <a:extLst>
                    <a:ext uri="{9D8B030D-6E8A-4147-A177-3AD203B41FA5}">
                      <a16:colId xmlns:a16="http://schemas.microsoft.com/office/drawing/2014/main" val="20001"/>
                    </a:ext>
                  </a:extLst>
                </a:gridCol>
                <a:gridCol w="747202">
                  <a:extLst>
                    <a:ext uri="{9D8B030D-6E8A-4147-A177-3AD203B41FA5}">
                      <a16:colId xmlns:a16="http://schemas.microsoft.com/office/drawing/2014/main" val="20002"/>
                    </a:ext>
                  </a:extLst>
                </a:gridCol>
                <a:gridCol w="914146">
                  <a:extLst>
                    <a:ext uri="{9D8B030D-6E8A-4147-A177-3AD203B41FA5}">
                      <a16:colId xmlns:a16="http://schemas.microsoft.com/office/drawing/2014/main" val="20003"/>
                    </a:ext>
                  </a:extLst>
                </a:gridCol>
                <a:gridCol w="2039353">
                  <a:extLst>
                    <a:ext uri="{9D8B030D-6E8A-4147-A177-3AD203B41FA5}">
                      <a16:colId xmlns:a16="http://schemas.microsoft.com/office/drawing/2014/main" val="20004"/>
                    </a:ext>
                  </a:extLst>
                </a:gridCol>
                <a:gridCol w="1358880">
                  <a:extLst>
                    <a:ext uri="{9D8B030D-6E8A-4147-A177-3AD203B41FA5}">
                      <a16:colId xmlns:a16="http://schemas.microsoft.com/office/drawing/2014/main" val="20005"/>
                    </a:ext>
                  </a:extLst>
                </a:gridCol>
                <a:gridCol w="1360173">
                  <a:extLst>
                    <a:ext uri="{9D8B030D-6E8A-4147-A177-3AD203B41FA5}">
                      <a16:colId xmlns:a16="http://schemas.microsoft.com/office/drawing/2014/main" val="20006"/>
                    </a:ext>
                  </a:extLst>
                </a:gridCol>
              </a:tblGrid>
              <a:tr h="362504">
                <a:tc>
                  <a:txBody>
                    <a:bodyPr/>
                    <a:lstStyle/>
                    <a:p>
                      <a:pPr marL="0" marR="0" lvl="0" indent="0" algn="l" rtl="0">
                        <a:spcBef>
                          <a:spcPts val="0"/>
                        </a:spcBef>
                        <a:spcAft>
                          <a:spcPts val="0"/>
                        </a:spcAft>
                        <a:buClr>
                          <a:schemeClr val="accent1"/>
                        </a:buClr>
                        <a:buSzPts val="1100"/>
                        <a:buFont typeface="Source Sans Pro SemiBold"/>
                        <a:buNone/>
                      </a:pPr>
                      <a:r>
                        <a:rPr lang="en-US" sz="1000" u="none" strike="noStrike" cap="none">
                          <a:solidFill>
                            <a:schemeClr val="accent1"/>
                          </a:solidFill>
                          <a:latin typeface="Source Sans Pro SemiBold"/>
                          <a:ea typeface="Source Sans Pro SemiBold"/>
                          <a:cs typeface="Source Sans Pro SemiBold"/>
                          <a:sym typeface="Source Sans Pro SemiBold"/>
                        </a:rPr>
                        <a:t>EPIC</a:t>
                      </a:r>
                      <a:endParaRPr sz="1000">
                        <a:latin typeface="Source Sans Pro SemiBold"/>
                        <a:ea typeface="Source Sans Pro SemiBold"/>
                        <a:cs typeface="Source Sans Pro SemiBold"/>
                        <a:sym typeface="Source Sans Pro SemiBold"/>
                      </a:endParaRPr>
                    </a:p>
                  </a:txBody>
                  <a:tcPr marL="0" marR="91450" marT="9144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12700" cap="flat" cmpd="sng" algn="ctr">
                      <a:solidFill>
                        <a:schemeClr val="tx1"/>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rgbClr val="022D50"/>
                        </a:buClr>
                        <a:buSzPts val="1100"/>
                        <a:buFont typeface="Source Sans Pro SemiBold"/>
                        <a:buNone/>
                      </a:pPr>
                      <a:r>
                        <a:rPr lang="en-US" sz="1000" b="0" i="0" u="none" strike="noStrike" cap="none">
                          <a:solidFill>
                            <a:srgbClr val="022D50"/>
                          </a:solidFill>
                          <a:latin typeface="Source Sans Pro SemiBold"/>
                          <a:ea typeface="Source Sans Pro SemiBold"/>
                          <a:cs typeface="Source Sans Pro SemiBold"/>
                          <a:sym typeface="Source Sans Pro SemiBold"/>
                        </a:rPr>
                        <a:t>STORY</a:t>
                      </a:r>
                      <a:endParaRPr sz="1000" b="0" i="0" u="none" strike="noStrike" cap="none">
                        <a:solidFill>
                          <a:srgbClr val="202120"/>
                        </a:solidFill>
                        <a:latin typeface="Source Sans Pro SemiBold"/>
                        <a:ea typeface="Source Sans Pro SemiBold"/>
                        <a:cs typeface="Source Sans Pro SemiBold"/>
                        <a:sym typeface="Source Sans Pro SemiBold"/>
                      </a:endParaRPr>
                    </a:p>
                  </a:txBody>
                  <a:tcPr marL="0" marR="91450" marT="9144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12700" cap="flat" cmpd="sng" algn="ctr">
                      <a:solidFill>
                        <a:schemeClr val="tx1"/>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accent1"/>
                        </a:buClr>
                        <a:buSzPts val="1400"/>
                        <a:buFont typeface="Source Sans Pro SemiBold"/>
                        <a:buNone/>
                      </a:pPr>
                      <a:r>
                        <a:rPr lang="en-US" sz="1000" b="1" i="0" u="none" strike="noStrike">
                          <a:solidFill>
                            <a:schemeClr val="accent1"/>
                          </a:solidFill>
                          <a:latin typeface="Source Sans Pro Semibold"/>
                          <a:ea typeface="Source Sans Pro Semibold"/>
                          <a:cs typeface="Source Sans Pro Semibold"/>
                          <a:sym typeface="Source Sans Pro SemiBold"/>
                        </a:rPr>
                        <a:t>ESTIMATE</a:t>
                      </a:r>
                      <a:endParaRPr sz="1000">
                        <a:latin typeface="Source Sans Pro SemiBold"/>
                        <a:ea typeface="Source Sans Pro SemiBold"/>
                        <a:cs typeface="Source Sans Pro SemiBold"/>
                        <a:sym typeface="Source Sans Pro SemiBold"/>
                      </a:endParaRPr>
                    </a:p>
                  </a:txBody>
                  <a:tcPr marL="0" marR="91450" marT="9144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12700" cap="flat" cmpd="sng" algn="ctr">
                      <a:solidFill>
                        <a:schemeClr val="tx1"/>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rgbClr val="022D50"/>
                        </a:buClr>
                        <a:buSzPts val="1400"/>
                        <a:buFont typeface="Source Sans Pro SemiBold"/>
                        <a:buNone/>
                      </a:pPr>
                      <a:r>
                        <a:rPr lang="en-US" sz="1000" b="1" i="0" u="none" strike="noStrike" cap="none">
                          <a:solidFill>
                            <a:srgbClr val="022D50"/>
                          </a:solidFill>
                          <a:latin typeface="Source Sans Pro Semibold"/>
                          <a:ea typeface="Source Sans Pro Semibold"/>
                          <a:cs typeface="Source Sans Pro Semibold"/>
                          <a:sym typeface="Source Sans Pro SemiBold"/>
                        </a:rPr>
                        <a:t>ASSIGNED</a:t>
                      </a:r>
                      <a:endParaRPr sz="1000" b="0" i="0" u="none" strike="noStrike" cap="none">
                        <a:solidFill>
                          <a:srgbClr val="202120"/>
                        </a:solidFill>
                        <a:latin typeface="Source Sans Pro SemiBold"/>
                        <a:ea typeface="Source Sans Pro SemiBold"/>
                        <a:cs typeface="Source Sans Pro SemiBold"/>
                        <a:sym typeface="Source Sans Pro SemiBold"/>
                      </a:endParaRPr>
                    </a:p>
                  </a:txBody>
                  <a:tcPr marL="0" marR="91450" marT="9144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12700" cap="flat" cmpd="sng" algn="ctr">
                      <a:solidFill>
                        <a:schemeClr val="tx1"/>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rgbClr val="022D50"/>
                        </a:buClr>
                        <a:buSzPts val="1400"/>
                        <a:buFont typeface="Source Sans Pro SemiBold"/>
                        <a:buNone/>
                      </a:pPr>
                      <a:r>
                        <a:rPr lang="en-US" sz="1000" b="1" i="0" u="none" strike="noStrike" cap="none">
                          <a:solidFill>
                            <a:srgbClr val="022D50"/>
                          </a:solidFill>
                          <a:latin typeface="Source Sans Pro Semibold"/>
                          <a:ea typeface="Source Sans Pro Semibold"/>
                          <a:cs typeface="Source Sans Pro Semibold"/>
                          <a:sym typeface="Source Sans Pro SemiBold"/>
                        </a:rPr>
                        <a:t>OUTPUT</a:t>
                      </a:r>
                      <a:endParaRPr sz="1000" b="0" i="0" u="none" strike="noStrike" cap="none">
                        <a:solidFill>
                          <a:srgbClr val="202120"/>
                        </a:solidFill>
                        <a:latin typeface="Source Sans Pro SemiBold"/>
                        <a:ea typeface="Source Sans Pro SemiBold"/>
                        <a:cs typeface="Source Sans Pro SemiBold"/>
                        <a:sym typeface="Source Sans Pro SemiBold"/>
                      </a:endParaRPr>
                    </a:p>
                  </a:txBody>
                  <a:tcPr marL="0" marR="0" marT="9144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12700" cap="flat" cmpd="sng" algn="ctr">
                      <a:solidFill>
                        <a:schemeClr val="tx1"/>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rgbClr val="022D50"/>
                        </a:buClr>
                        <a:buSzPts val="1400"/>
                        <a:buFont typeface="Source Sans Pro SemiBold"/>
                        <a:buNone/>
                      </a:pPr>
                      <a:r>
                        <a:rPr lang="en-US" sz="1000" b="1" i="0" u="none" strike="noStrike" cap="none">
                          <a:solidFill>
                            <a:srgbClr val="022D50"/>
                          </a:solidFill>
                          <a:latin typeface="Source Sans Pro Semibold"/>
                          <a:ea typeface="Source Sans Pro Semibold"/>
                          <a:cs typeface="Source Sans Pro Semibold"/>
                          <a:sym typeface="Source Sans Pro SemiBold"/>
                        </a:rPr>
                        <a:t>REVIEWED W/ VA-PO</a:t>
                      </a:r>
                      <a:endParaRPr sz="1000" b="0" i="0" u="none" strike="noStrike" cap="none">
                        <a:solidFill>
                          <a:srgbClr val="202120"/>
                        </a:solidFill>
                        <a:latin typeface="Source Sans Pro SemiBold"/>
                        <a:ea typeface="Source Sans Pro SemiBold"/>
                        <a:cs typeface="Source Sans Pro SemiBold"/>
                        <a:sym typeface="Source Sans Pro SemiBold"/>
                      </a:endParaRPr>
                    </a:p>
                  </a:txBody>
                  <a:tcPr marL="0" marR="0" marT="9144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12700" cap="flat" cmpd="sng" algn="ctr">
                      <a:solidFill>
                        <a:schemeClr val="tx1"/>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accent1"/>
                        </a:buClr>
                        <a:buSzPts val="1400"/>
                        <a:buFont typeface="Source Sans Pro SemiBold"/>
                        <a:buNone/>
                      </a:pPr>
                      <a:r>
                        <a:rPr lang="en-US" sz="1000" b="1" i="0" u="none" strike="noStrike">
                          <a:solidFill>
                            <a:schemeClr val="accent1"/>
                          </a:solidFill>
                          <a:latin typeface="Source Sans Pro Semibold"/>
                          <a:ea typeface="Source Sans Pro Semibold"/>
                          <a:cs typeface="Source Sans Pro Semibold"/>
                          <a:sym typeface="Source Sans Pro SemiBold"/>
                        </a:rPr>
                        <a:t>SPRINT TEAM GOAL COMPLETED?</a:t>
                      </a:r>
                      <a:endParaRPr sz="1000">
                        <a:latin typeface="Source Sans Pro SemiBold"/>
                        <a:ea typeface="Source Sans Pro SemiBold"/>
                        <a:cs typeface="Source Sans Pro SemiBold"/>
                        <a:sym typeface="Source Sans Pro SemiBold"/>
                      </a:endParaRPr>
                    </a:p>
                  </a:txBody>
                  <a:tcPr marL="91450" marR="91450" marT="0" marB="0">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12700" cap="flat" cmpd="sng" algn="ctr">
                      <a:solidFill>
                        <a:schemeClr val="tx1"/>
                      </a:solidFill>
                      <a:prstDash val="solid"/>
                      <a:round/>
                      <a:headEnd type="none" w="sm" len="sm"/>
                      <a:tailEnd type="none" w="sm" len="sm"/>
                    </a:lnB>
                  </a:tcPr>
                </a:tc>
                <a:extLst>
                  <a:ext uri="{0D108BD9-81ED-4DB2-BD59-A6C34878D82A}">
                    <a16:rowId xmlns:a16="http://schemas.microsoft.com/office/drawing/2014/main" val="10000"/>
                  </a:ext>
                </a:extLst>
              </a:tr>
              <a:tr h="503619">
                <a:tc>
                  <a:txBody>
                    <a:bodyPr/>
                    <a:lstStyle/>
                    <a:p>
                      <a:pPr marL="0" marR="0" lvl="0" indent="0" algn="l" rtl="0">
                        <a:lnSpc>
                          <a:spcPct val="100000"/>
                        </a:lnSpc>
                        <a:spcBef>
                          <a:spcPts val="0"/>
                        </a:spcBef>
                        <a:spcAft>
                          <a:spcPts val="0"/>
                        </a:spcAft>
                        <a:buClr>
                          <a:schemeClr val="dk2"/>
                        </a:buClr>
                        <a:buSzPts val="1050"/>
                        <a:buFont typeface="PT Serif"/>
                        <a:buNone/>
                      </a:pPr>
                      <a:r>
                        <a:rPr lang="en-US" sz="1000" b="0" i="0" u="none" strike="noStrike" cap="none">
                          <a:solidFill>
                            <a:schemeClr val="dk2"/>
                          </a:solidFill>
                          <a:latin typeface="Source Sans Pro"/>
                          <a:ea typeface="Source Sans Pro"/>
                          <a:cs typeface="Source Sans Pro"/>
                          <a:sym typeface="Source Sans Pro"/>
                        </a:rPr>
                        <a:t>PM</a:t>
                      </a:r>
                      <a:endParaRPr sz="1000" u="none" strike="noStrike" cap="none">
                        <a:latin typeface="Source Sans Pro"/>
                        <a:ea typeface="Source Sans Pro"/>
                        <a:cs typeface="Source Sans Pro"/>
                        <a:sym typeface="Source Sans Pro"/>
                      </a:endParaRPr>
                    </a:p>
                  </a:txBody>
                  <a:tcPr marL="0" marR="36575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12700" cap="flat" cmpd="sng">
                      <a:solidFill>
                        <a:schemeClr val="tx1"/>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defTabSz="914400" rtl="0" eaLnBrk="1" fontAlgn="auto" latinLnBrk="0" hangingPunct="1">
                        <a:lnSpc>
                          <a:spcPct val="100000"/>
                        </a:lnSpc>
                        <a:spcBef>
                          <a:spcPts val="0"/>
                        </a:spcBef>
                        <a:spcAft>
                          <a:spcPts val="0"/>
                        </a:spcAft>
                        <a:buClr>
                          <a:schemeClr val="dk1"/>
                        </a:buClr>
                        <a:buSzPts val="1050"/>
                        <a:buFont typeface="PT Serif"/>
                        <a:buNone/>
                        <a:tabLst/>
                        <a:defRPr/>
                      </a:pPr>
                      <a:r>
                        <a:rPr lang="en-US" sz="1000" b="0" i="0" u="none" strike="noStrike" cap="none">
                          <a:solidFill>
                            <a:schemeClr val="dk1"/>
                          </a:solidFill>
                          <a:latin typeface="Source Sans Pro"/>
                          <a:ea typeface="Source Sans Pro"/>
                        </a:rPr>
                        <a:t> </a:t>
                      </a:r>
                      <a:r>
                        <a:rPr lang="en-US" sz="1000" b="0" i="0" u="none" strike="noStrike" cap="none">
                          <a:solidFill>
                            <a:schemeClr val="dk1"/>
                          </a:solidFill>
                          <a:latin typeface="Source Sans Pro"/>
                          <a:ea typeface="Source Sans Pro"/>
                          <a:hlinkClick r:id="rId7"/>
                        </a:rPr>
                        <a:t>#38921 </a:t>
                      </a:r>
                      <a:r>
                        <a:rPr lang="en-US" sz="1000" b="0" i="0" u="none" strike="noStrike" cap="none">
                          <a:solidFill>
                            <a:schemeClr val="dk1"/>
                          </a:solidFill>
                          <a:latin typeface="Source Sans Pro"/>
                          <a:ea typeface="Source Sans Pro"/>
                        </a:rPr>
                        <a:t>Verify enrollment system address can be updated from profile</a:t>
                      </a:r>
                      <a:endParaRPr sz="1000" b="1" i="0" u="none" strike="noStrike" cap="none">
                        <a:solidFill>
                          <a:schemeClr val="bg2"/>
                        </a:solidFill>
                        <a:latin typeface="Source Sans Pro"/>
                        <a:ea typeface="Source Sans Pro"/>
                        <a:cs typeface="Source Sans Pro SemiBold"/>
                        <a:sym typeface="Source Sans Pro SemiBold"/>
                      </a:endParaRPr>
                    </a:p>
                  </a:txBody>
                  <a:tcPr marL="0" marR="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12700" cap="flat" cmpd="sng">
                      <a:solidFill>
                        <a:schemeClr val="tx1"/>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chemeClr val="dk2"/>
                        </a:buClr>
                        <a:buSzPts val="1050"/>
                        <a:buFont typeface="PT Serif"/>
                        <a:buNone/>
                      </a:pPr>
                      <a:r>
                        <a:rPr lang="en-US" sz="1000" u="none" strike="noStrike" cap="none">
                          <a:latin typeface="Source Sans Pro"/>
                          <a:ea typeface="Source Sans Pro"/>
                          <a:cs typeface="Source Sans Pro"/>
                          <a:sym typeface="Source Sans Pro"/>
                        </a:rPr>
                        <a:t>2</a:t>
                      </a:r>
                      <a:endParaRPr sz="1000" u="none" strike="noStrike" cap="none">
                        <a:latin typeface="Source Sans Pro"/>
                        <a:ea typeface="Source Sans Pro"/>
                        <a:cs typeface="Source Sans Pro"/>
                        <a:sym typeface="Source Sans Pro"/>
                      </a:endParaRPr>
                    </a:p>
                  </a:txBody>
                  <a:tcPr marL="0" marR="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12700" cap="flat" cmpd="sng">
                      <a:solidFill>
                        <a:schemeClr val="tx1"/>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2"/>
                        </a:buClr>
                        <a:buSzPts val="1050"/>
                        <a:buFont typeface="PT Serif"/>
                        <a:buNone/>
                      </a:pPr>
                      <a:r>
                        <a:rPr lang="en-US" sz="1000" u="none" strike="noStrike" cap="none">
                          <a:latin typeface="Source Sans Pro"/>
                          <a:ea typeface="Source Sans Pro"/>
                          <a:cs typeface="Source Sans Pro"/>
                          <a:sym typeface="Source Sans Pro"/>
                        </a:rPr>
                        <a:t>Tami</a:t>
                      </a:r>
                      <a:endParaRPr sz="1000" u="none" strike="noStrike" cap="none">
                        <a:latin typeface="Source Sans Pro"/>
                        <a:ea typeface="Source Sans Pro"/>
                        <a:cs typeface="Source Sans Pro"/>
                        <a:sym typeface="Source Sans Pro"/>
                      </a:endParaRPr>
                    </a:p>
                  </a:txBody>
                  <a:tcPr marL="0" marR="36575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12700" cap="flat" cmpd="sng">
                      <a:solidFill>
                        <a:schemeClr val="tx1"/>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120650" marR="0" lvl="0" indent="-120650" algn="l" rtl="0">
                        <a:lnSpc>
                          <a:spcPct val="100000"/>
                        </a:lnSpc>
                        <a:spcBef>
                          <a:spcPts val="0"/>
                        </a:spcBef>
                        <a:spcAft>
                          <a:spcPts val="0"/>
                        </a:spcAft>
                        <a:buClr>
                          <a:schemeClr val="dk1"/>
                        </a:buClr>
                        <a:buSzPts val="800"/>
                        <a:buFont typeface="Noto Sans Symbols"/>
                        <a:buChar char="▪"/>
                      </a:pPr>
                      <a:r>
                        <a:rPr lang="en-US" sz="1000" b="0" i="0" u="none" strike="noStrike" cap="none">
                          <a:solidFill>
                            <a:schemeClr val="dk1"/>
                          </a:solidFill>
                          <a:latin typeface="Source Sans Pro"/>
                          <a:ea typeface="Source Sans Pro"/>
                          <a:hlinkClick r:id="rId8"/>
                        </a:rPr>
                        <a:t>Test report</a:t>
                      </a:r>
                      <a:endParaRPr lang="en-US" sz="1000" b="0" i="0" u="none" strike="noStrike" cap="none">
                        <a:solidFill>
                          <a:schemeClr val="dk1"/>
                        </a:solidFill>
                        <a:latin typeface="Source Sans Pro"/>
                        <a:ea typeface="Source Sans Pro"/>
                      </a:endParaRPr>
                    </a:p>
                    <a:p>
                      <a:pPr marL="120650" marR="0" lvl="0" indent="-120650" algn="l" rtl="0">
                        <a:lnSpc>
                          <a:spcPct val="100000"/>
                        </a:lnSpc>
                        <a:spcBef>
                          <a:spcPts val="0"/>
                        </a:spcBef>
                        <a:spcAft>
                          <a:spcPts val="0"/>
                        </a:spcAft>
                        <a:buClr>
                          <a:schemeClr val="dk1"/>
                        </a:buClr>
                        <a:buSzPts val="800"/>
                        <a:buFont typeface="Noto Sans Symbols"/>
                        <a:buChar char="▪"/>
                      </a:pPr>
                      <a:r>
                        <a:rPr lang="en-US" sz="1000" b="0" i="0" u="none" strike="noStrike" cap="none">
                          <a:solidFill>
                            <a:schemeClr val="dk1"/>
                          </a:solidFill>
                          <a:latin typeface="Source Sans Pro"/>
                          <a:ea typeface="Source Sans Pro"/>
                          <a:hlinkClick r:id="rId9"/>
                        </a:rPr>
                        <a:t>Address ∆</a:t>
                      </a:r>
                      <a:r>
                        <a:rPr lang="en-US" sz="1000" b="0" i="0" u="none" strike="noStrike" cap="none">
                          <a:solidFill>
                            <a:schemeClr val="dk1"/>
                          </a:solidFill>
                          <a:latin typeface="Source Sans Pro" panose="020B0503030403020204" pitchFamily="34" charset="0"/>
                          <a:ea typeface="Source Sans Pro" panose="020B0503030403020204" pitchFamily="34" charset="0"/>
                          <a:hlinkClick r:id="rId9"/>
                        </a:rPr>
                        <a:t> process</a:t>
                      </a:r>
                      <a:endParaRPr lang="en-US" sz="1000" b="0" i="0" u="none" strike="noStrike" cap="none">
                        <a:solidFill>
                          <a:schemeClr val="dk1"/>
                        </a:solidFill>
                        <a:latin typeface="Source Sans Pro"/>
                        <a:ea typeface="Source Sans Pro"/>
                      </a:endParaRPr>
                    </a:p>
                  </a:txBody>
                  <a:tcPr marL="0" marR="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12700" cap="flat" cmpd="sng">
                      <a:solidFill>
                        <a:schemeClr val="tx1"/>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defTabSz="914400" rtl="0" eaLnBrk="1" fontAlgn="auto" latinLnBrk="0" hangingPunct="1">
                        <a:lnSpc>
                          <a:spcPct val="100000"/>
                        </a:lnSpc>
                        <a:spcBef>
                          <a:spcPts val="0"/>
                        </a:spcBef>
                        <a:spcAft>
                          <a:spcPts val="0"/>
                        </a:spcAft>
                        <a:buClr>
                          <a:srgbClr val="000000"/>
                        </a:buClr>
                        <a:buSzPts val="1050"/>
                        <a:buFont typeface="PT Serif"/>
                        <a:buNone/>
                        <a:tabLst/>
                        <a:defRPr/>
                      </a:pPr>
                      <a:r>
                        <a:rPr lang="en-US" sz="1000" b="0" i="0" u="none" strike="noStrike" kern="0" cap="none" spc="0" normalizeH="0" baseline="0" noProof="0">
                          <a:ln>
                            <a:noFill/>
                          </a:ln>
                          <a:solidFill>
                            <a:srgbClr val="303A46"/>
                          </a:solidFill>
                          <a:effectLst/>
                          <a:uLnTx/>
                          <a:uFillTx/>
                          <a:latin typeface="Source Sans Pro"/>
                          <a:ea typeface="Source Sans Pro"/>
                          <a:cs typeface="Source Sans Pro"/>
                        </a:rPr>
                        <a:t>04/06/22</a:t>
                      </a:r>
                      <a:endParaRPr kumimoji="0" lang="en-US" sz="1000" b="0" i="0" u="none" strike="noStrike" kern="0" cap="none" spc="0" normalizeH="0" baseline="0" noProof="0">
                        <a:ln>
                          <a:noFill/>
                        </a:ln>
                        <a:solidFill>
                          <a:srgbClr val="303A46"/>
                        </a:solidFill>
                        <a:effectLst/>
                        <a:uLnTx/>
                        <a:uFillTx/>
                        <a:latin typeface="Source Sans Pro"/>
                        <a:ea typeface="Source Sans Pro"/>
                        <a:cs typeface="Source Sans Pro"/>
                        <a:sym typeface="Source Sans Pro"/>
                      </a:endParaRPr>
                    </a:p>
                  </a:txBody>
                  <a:tcPr marL="0" marR="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12700" cap="flat" cmpd="sng">
                      <a:solidFill>
                        <a:schemeClr val="tx1"/>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ctr" defTabSz="914400" rtl="0" eaLnBrk="1" fontAlgn="auto" latinLnBrk="0" hangingPunct="1">
                        <a:lnSpc>
                          <a:spcPct val="100000"/>
                        </a:lnSpc>
                        <a:spcBef>
                          <a:spcPts val="0"/>
                        </a:spcBef>
                        <a:spcAft>
                          <a:spcPts val="0"/>
                        </a:spcAft>
                        <a:buClr>
                          <a:srgbClr val="000000"/>
                        </a:buClr>
                        <a:buSzPts val="1050"/>
                        <a:buFont typeface="PT Serif"/>
                        <a:buNone/>
                        <a:tabLst/>
                        <a:defRPr/>
                      </a:pPr>
                      <a:endParaRPr kumimoji="0" lang="en-US" sz="1000" b="0" i="0" u="none" strike="noStrike" kern="0" cap="none" spc="0" normalizeH="0" baseline="0" noProof="0">
                        <a:ln>
                          <a:noFill/>
                        </a:ln>
                        <a:solidFill>
                          <a:srgbClr val="303A46"/>
                        </a:solidFill>
                        <a:effectLst/>
                        <a:uLnTx/>
                        <a:uFillTx/>
                        <a:latin typeface="Source Sans Pro" panose="020B0503030403020204" pitchFamily="34" charset="0"/>
                        <a:ea typeface="Source Sans Pro" panose="020B0503030403020204" pitchFamily="34" charset="0"/>
                        <a:cs typeface="Source Sans Pro"/>
                        <a:sym typeface="Source Sans Pro"/>
                      </a:endParaRPr>
                    </a:p>
                    <a:p>
                      <a:pPr marL="0" marR="0" lvl="0" indent="0" algn="ctr" defTabSz="914400" rtl="0" eaLnBrk="1" fontAlgn="auto" latinLnBrk="0" hangingPunct="1">
                        <a:lnSpc>
                          <a:spcPct val="100000"/>
                        </a:lnSpc>
                        <a:spcBef>
                          <a:spcPts val="0"/>
                        </a:spcBef>
                        <a:spcAft>
                          <a:spcPts val="0"/>
                        </a:spcAft>
                        <a:buClr>
                          <a:srgbClr val="000000"/>
                        </a:buClr>
                        <a:buSzPts val="1050"/>
                        <a:buFont typeface="PT Serif"/>
                        <a:buNone/>
                        <a:tabLst/>
                        <a:defRPr/>
                      </a:pPr>
                      <a:r>
                        <a:rPr kumimoji="0" lang="en-US" sz="1000" b="0" i="0" u="none" strike="noStrike" kern="0" cap="none" spc="0" normalizeH="0" baseline="0" noProof="0">
                          <a:ln>
                            <a:noFill/>
                          </a:ln>
                          <a:solidFill>
                            <a:srgbClr val="303A46"/>
                          </a:solidFill>
                          <a:effectLst/>
                          <a:uLnTx/>
                          <a:uFillTx/>
                          <a:latin typeface="Source Sans Pro"/>
                          <a:ea typeface="Source Sans Pro"/>
                          <a:cs typeface="Source Sans Pro"/>
                          <a:sym typeface="Source Sans Pro"/>
                        </a:rPr>
                        <a:t>✓</a:t>
                      </a:r>
                    </a:p>
                  </a:txBody>
                  <a:tcPr marL="0" marR="0" marT="0" marB="0">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12700" cap="flat" cmpd="sng">
                      <a:solidFill>
                        <a:schemeClr val="tx1"/>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extLst>
                  <a:ext uri="{0D108BD9-81ED-4DB2-BD59-A6C34878D82A}">
                    <a16:rowId xmlns:a16="http://schemas.microsoft.com/office/drawing/2014/main" val="10001"/>
                  </a:ext>
                </a:extLst>
              </a:tr>
              <a:tr h="349735">
                <a:tc>
                  <a:txBody>
                    <a:bodyPr/>
                    <a:lstStyle/>
                    <a:p>
                      <a:pPr marL="0" marR="0" lvl="0" indent="0" algn="l" rtl="0">
                        <a:lnSpc>
                          <a:spcPct val="100000"/>
                        </a:lnSpc>
                        <a:spcBef>
                          <a:spcPts val="0"/>
                        </a:spcBef>
                        <a:spcAft>
                          <a:spcPts val="0"/>
                        </a:spcAft>
                        <a:buClr>
                          <a:schemeClr val="dk2"/>
                        </a:buClr>
                        <a:buSzPts val="1050"/>
                        <a:buFont typeface="PT Serif"/>
                        <a:buNone/>
                      </a:pPr>
                      <a:r>
                        <a:rPr lang="en-US" sz="1000" b="0" i="0" u="none" strike="noStrike" cap="none">
                          <a:solidFill>
                            <a:schemeClr val="dk2"/>
                          </a:solidFill>
                          <a:latin typeface="Source Sans Pro"/>
                          <a:ea typeface="Source Sans Pro"/>
                          <a:cs typeface="Source Sans Pro"/>
                          <a:sym typeface="Source Sans Pro"/>
                        </a:rPr>
                        <a:t>PM</a:t>
                      </a:r>
                      <a:endParaRPr sz="1000" u="none" strike="noStrike" cap="none">
                        <a:latin typeface="Source Sans Pro"/>
                        <a:ea typeface="Source Sans Pro"/>
                        <a:cs typeface="Source Sans Pro"/>
                        <a:sym typeface="Source Sans Pro"/>
                      </a:endParaRPr>
                    </a:p>
                  </a:txBody>
                  <a:tcPr marL="0" marR="36575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1"/>
                        </a:buClr>
                        <a:buSzPts val="1050"/>
                        <a:buFont typeface="PT Serif"/>
                        <a:buNone/>
                      </a:pPr>
                      <a:r>
                        <a:rPr lang="en-US" sz="1000" b="0" i="0" u="none" strike="noStrike" cap="none">
                          <a:solidFill>
                            <a:schemeClr val="dk1"/>
                          </a:solidFill>
                          <a:latin typeface="Source Sans Pro"/>
                          <a:ea typeface="Source Sans Pro"/>
                          <a:hlinkClick r:id="rId10"/>
                        </a:rPr>
                        <a:t>#38351 </a:t>
                      </a:r>
                      <a:r>
                        <a:rPr lang="en-US" sz="1000" b="0" i="0" u="none" strike="noStrike" cap="none">
                          <a:solidFill>
                            <a:schemeClr val="dk1"/>
                          </a:solidFill>
                          <a:latin typeface="Source Sans Pro"/>
                          <a:ea typeface="Source Sans Pro"/>
                        </a:rPr>
                        <a:t>Collaboration cycle: Staging Review [1095-B]</a:t>
                      </a:r>
                      <a:endParaRPr lang="en-US" sz="1000" b="1" i="0" u="none" strike="noStrike" cap="none">
                        <a:solidFill>
                          <a:schemeClr val="bg2"/>
                        </a:solidFill>
                        <a:latin typeface="Source Sans Pro"/>
                        <a:ea typeface="Source Sans Pro"/>
                        <a:cs typeface="Source Sans Pro SemiBold"/>
                        <a:sym typeface="Source Sans Pro SemiBold"/>
                      </a:endParaRPr>
                    </a:p>
                  </a:txBody>
                  <a:tcPr marL="0" marR="0" marT="0" marB="0" anchor="ctr">
                    <a:lnL w="9525" cap="flat" cmpd="sng">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chemeClr val="dk2"/>
                        </a:buClr>
                        <a:buSzPts val="1050"/>
                        <a:buFont typeface="PT Serif"/>
                        <a:buNone/>
                      </a:pPr>
                      <a:r>
                        <a:rPr lang="en-US" sz="1000" u="none" strike="noStrike" cap="none">
                          <a:latin typeface="Source Sans Pro"/>
                          <a:ea typeface="Source Sans Pro"/>
                          <a:cs typeface="Source Sans Pro"/>
                          <a:sym typeface="Source Sans Pro"/>
                        </a:rPr>
                        <a:t>0</a:t>
                      </a:r>
                    </a:p>
                  </a:txBody>
                  <a:tcPr marL="0" marR="0" marT="0" marB="0" anchor="ctr">
                    <a:lnL w="9525" cap="flat" cmpd="sng" algn="ctr">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2"/>
                        </a:buClr>
                        <a:buSzPts val="1050"/>
                        <a:buFont typeface="PT Serif"/>
                        <a:buNone/>
                      </a:pPr>
                      <a:r>
                        <a:rPr lang="en-US" sz="1000" u="none" strike="noStrike" cap="none">
                          <a:latin typeface="Source Sans Pro"/>
                          <a:ea typeface="Source Sans Pro"/>
                          <a:cs typeface="Source Sans Pro"/>
                          <a:sym typeface="Source Sans Pro"/>
                        </a:rPr>
                        <a:t>Munish</a:t>
                      </a:r>
                    </a:p>
                  </a:txBody>
                  <a:tcPr marL="0" marR="365750" marT="0" marB="0" anchor="ctr">
                    <a:lnL w="9525" cap="flat" cmpd="sng">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120650" marR="0" lvl="0" indent="-120650" algn="l" rtl="0">
                        <a:lnSpc>
                          <a:spcPct val="100000"/>
                        </a:lnSpc>
                        <a:spcBef>
                          <a:spcPts val="0"/>
                        </a:spcBef>
                        <a:spcAft>
                          <a:spcPts val="0"/>
                        </a:spcAft>
                        <a:buClr>
                          <a:schemeClr val="dk1"/>
                        </a:buClr>
                        <a:buSzPts val="800"/>
                        <a:buFont typeface="Noto Sans Symbols"/>
                        <a:buChar char="▪"/>
                      </a:pPr>
                      <a:r>
                        <a:rPr lang="en-US" sz="1000" b="0" i="0" u="none" strike="noStrike" cap="none">
                          <a:solidFill>
                            <a:schemeClr val="dk1"/>
                          </a:solidFill>
                          <a:latin typeface="Source Sans Pro"/>
                          <a:ea typeface="Source Sans Pro"/>
                          <a:hlinkClick r:id="rId10"/>
                        </a:rPr>
                        <a:t>Ticket</a:t>
                      </a:r>
                      <a:endParaRPr lang="en-US" sz="1000" u="none">
                        <a:latin typeface="Source Sans Pro"/>
                        <a:ea typeface="Source Sans Pro"/>
                      </a:endParaRPr>
                    </a:p>
                  </a:txBody>
                  <a:tcPr marL="0" marR="0" marT="0" marB="0" anchor="ctr">
                    <a:lnL w="9525" cap="flat" cmpd="sng" algn="ctr">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defTabSz="914400" rtl="0" eaLnBrk="1" fontAlgn="auto" latinLnBrk="0" hangingPunct="1">
                        <a:lnSpc>
                          <a:spcPct val="100000"/>
                        </a:lnSpc>
                        <a:spcBef>
                          <a:spcPts val="0"/>
                        </a:spcBef>
                        <a:spcAft>
                          <a:spcPts val="0"/>
                        </a:spcAft>
                        <a:buClr>
                          <a:srgbClr val="000000"/>
                        </a:buClr>
                        <a:buSzPts val="1050"/>
                        <a:buFont typeface="PT Serif"/>
                        <a:buNone/>
                        <a:tabLst/>
                        <a:defRPr/>
                      </a:pPr>
                      <a:r>
                        <a:rPr lang="en-US" sz="1000" b="0" i="0" u="none" strike="noStrike" kern="0" cap="none" spc="0" normalizeH="0" baseline="0" noProof="0">
                          <a:ln>
                            <a:noFill/>
                          </a:ln>
                          <a:solidFill>
                            <a:srgbClr val="303A46"/>
                          </a:solidFill>
                          <a:effectLst/>
                          <a:uLnTx/>
                          <a:uFillTx/>
                          <a:latin typeface="Source Sans Pro"/>
                          <a:ea typeface="Source Sans Pro"/>
                          <a:cs typeface="Source Sans Pro"/>
                        </a:rPr>
                        <a:t>04/15/22</a:t>
                      </a:r>
                      <a:endParaRPr kumimoji="0" lang="en-US" sz="1000" b="0" i="0" u="none" strike="noStrike" kern="0" cap="none" spc="0" normalizeH="0" baseline="0" noProof="0">
                        <a:ln>
                          <a:noFill/>
                        </a:ln>
                        <a:solidFill>
                          <a:srgbClr val="303A46"/>
                        </a:solidFill>
                        <a:effectLst/>
                        <a:uLnTx/>
                        <a:uFillTx/>
                        <a:latin typeface="Source Sans Pro"/>
                        <a:ea typeface="Source Sans Pro"/>
                        <a:cs typeface="Source Sans Pro"/>
                        <a:sym typeface="Source Sans Pro"/>
                      </a:endParaRPr>
                    </a:p>
                  </a:txBody>
                  <a:tcPr marL="0" marR="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ctr" defTabSz="914400" rtl="0" eaLnBrk="1" fontAlgn="auto" latinLnBrk="0" hangingPunct="1">
                        <a:lnSpc>
                          <a:spcPct val="100000"/>
                        </a:lnSpc>
                        <a:spcBef>
                          <a:spcPts val="0"/>
                        </a:spcBef>
                        <a:spcAft>
                          <a:spcPts val="0"/>
                        </a:spcAft>
                        <a:buClr>
                          <a:srgbClr val="000000"/>
                        </a:buClr>
                        <a:buSzPts val="1050"/>
                        <a:buFont typeface="PT Serif"/>
                        <a:buNone/>
                        <a:tabLst/>
                        <a:defRPr/>
                      </a:pPr>
                      <a:endParaRPr kumimoji="0" lang="en-US" sz="1000" b="0" i="0" u="none" strike="noStrike" kern="0" cap="none" spc="0" normalizeH="0" baseline="0" noProof="0">
                        <a:ln>
                          <a:noFill/>
                        </a:ln>
                        <a:solidFill>
                          <a:srgbClr val="303A46"/>
                        </a:solidFill>
                        <a:effectLst/>
                        <a:uLnTx/>
                        <a:uFillTx/>
                        <a:latin typeface="Source Sans Pro" panose="020B0503030403020204" pitchFamily="34" charset="0"/>
                        <a:ea typeface="Source Sans Pro" panose="020B0503030403020204" pitchFamily="34" charset="0"/>
                        <a:cs typeface="Source Sans Pro"/>
                        <a:sym typeface="Source Sans Pro"/>
                      </a:endParaRPr>
                    </a:p>
                    <a:p>
                      <a:pPr marL="0" marR="0" lvl="0" indent="0" algn="ctr" defTabSz="914400" rtl="0" eaLnBrk="1" fontAlgn="auto" latinLnBrk="0" hangingPunct="1">
                        <a:lnSpc>
                          <a:spcPct val="100000"/>
                        </a:lnSpc>
                        <a:spcBef>
                          <a:spcPts val="0"/>
                        </a:spcBef>
                        <a:spcAft>
                          <a:spcPts val="0"/>
                        </a:spcAft>
                        <a:buClr>
                          <a:srgbClr val="000000"/>
                        </a:buClr>
                        <a:buSzPts val="1050"/>
                        <a:buFont typeface="PT Serif"/>
                        <a:buNone/>
                        <a:tabLst/>
                        <a:defRPr/>
                      </a:pPr>
                      <a:r>
                        <a:rPr kumimoji="0" lang="en-US" sz="1000" b="0" i="0" u="none" strike="noStrike" kern="0" cap="none" spc="0" normalizeH="0" baseline="0" noProof="0">
                          <a:ln>
                            <a:noFill/>
                          </a:ln>
                          <a:solidFill>
                            <a:srgbClr val="303A46"/>
                          </a:solidFill>
                          <a:effectLst/>
                          <a:uLnTx/>
                          <a:uFillTx/>
                          <a:latin typeface="Source Sans Pro"/>
                          <a:ea typeface="Source Sans Pro"/>
                          <a:cs typeface="Source Sans Pro"/>
                          <a:sym typeface="Source Sans Pro"/>
                        </a:rPr>
                        <a:t>✓</a:t>
                      </a:r>
                    </a:p>
                  </a:txBody>
                  <a:tcPr marL="0" marR="0" marT="0" marB="0">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extLst>
                  <a:ext uri="{0D108BD9-81ED-4DB2-BD59-A6C34878D82A}">
                    <a16:rowId xmlns:a16="http://schemas.microsoft.com/office/drawing/2014/main" val="10002"/>
                  </a:ext>
                </a:extLst>
              </a:tr>
              <a:tr h="349735">
                <a:tc>
                  <a:txBody>
                    <a:bodyPr/>
                    <a:lstStyle/>
                    <a:p>
                      <a:pPr marL="0" marR="0" lvl="0" indent="0" algn="l" rtl="0">
                        <a:lnSpc>
                          <a:spcPct val="100000"/>
                        </a:lnSpc>
                        <a:spcBef>
                          <a:spcPts val="0"/>
                        </a:spcBef>
                        <a:spcAft>
                          <a:spcPts val="0"/>
                        </a:spcAft>
                        <a:buClr>
                          <a:schemeClr val="dk2"/>
                        </a:buClr>
                        <a:buSzPts val="1050"/>
                        <a:buFont typeface="PT Serif"/>
                        <a:buNone/>
                      </a:pPr>
                      <a:r>
                        <a:rPr lang="en-US" sz="1000" b="0" i="0" u="none" strike="noStrike" cap="none">
                          <a:solidFill>
                            <a:schemeClr val="dk2"/>
                          </a:solidFill>
                          <a:latin typeface="Source Sans Pro"/>
                          <a:ea typeface="Source Sans Pro"/>
                          <a:cs typeface="Source Sans Pro"/>
                          <a:sym typeface="Source Sans Pro"/>
                        </a:rPr>
                        <a:t>PM</a:t>
                      </a:r>
                      <a:endParaRPr sz="1000" u="none" strike="noStrike" cap="none">
                        <a:latin typeface="Source Sans Pro"/>
                        <a:ea typeface="Source Sans Pro"/>
                        <a:cs typeface="Source Sans Pro"/>
                        <a:sym typeface="Source Sans Pro"/>
                      </a:endParaRPr>
                    </a:p>
                  </a:txBody>
                  <a:tcPr marL="0" marR="36575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1"/>
                        </a:buClr>
                        <a:buSzPts val="1050"/>
                        <a:buFont typeface="PT Serif"/>
                        <a:buNone/>
                      </a:pPr>
                      <a:r>
                        <a:rPr lang="en-US" sz="1000" b="0" i="0" u="none" strike="noStrike" cap="none">
                          <a:solidFill>
                            <a:schemeClr val="dk1"/>
                          </a:solidFill>
                          <a:latin typeface="Source Sans Pro"/>
                          <a:ea typeface="Source Sans Pro"/>
                          <a:hlinkClick r:id="rId11"/>
                        </a:rPr>
                        <a:t>#36175 </a:t>
                      </a:r>
                      <a:r>
                        <a:rPr lang="en-US" sz="1000" b="0" i="0" u="none" strike="noStrike" cap="none">
                          <a:solidFill>
                            <a:schemeClr val="dk1"/>
                          </a:solidFill>
                          <a:latin typeface="Source Sans Pro"/>
                          <a:ea typeface="Source Sans Pro"/>
                        </a:rPr>
                        <a:t>Collaboration cycle: Analytics Implementation or QA Support for [1095-B]</a:t>
                      </a:r>
                      <a:endParaRPr lang="en-US" sz="1000" b="1" i="0" u="none" strike="noStrike" cap="none">
                        <a:solidFill>
                          <a:schemeClr val="bg2"/>
                        </a:solidFill>
                        <a:latin typeface="Source Sans Pro"/>
                        <a:ea typeface="Source Sans Pro"/>
                        <a:cs typeface="Source Sans Pro SemiBold"/>
                        <a:sym typeface="Source Sans Pro SemiBold"/>
                      </a:endParaRPr>
                    </a:p>
                  </a:txBody>
                  <a:tcPr marL="0" marR="0" marT="0" marB="0" anchor="ctr">
                    <a:lnL w="9525" cap="flat" cmpd="sng">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chemeClr val="dk2"/>
                        </a:buClr>
                        <a:buSzPts val="1050"/>
                        <a:buFont typeface="PT Serif"/>
                        <a:buNone/>
                      </a:pPr>
                      <a:r>
                        <a:rPr lang="en-US" sz="1000" u="none" strike="noStrike" cap="none">
                          <a:latin typeface="Source Sans Pro"/>
                          <a:ea typeface="Source Sans Pro"/>
                          <a:cs typeface="Source Sans Pro"/>
                          <a:sym typeface="Source Sans Pro"/>
                        </a:rPr>
                        <a:t>0</a:t>
                      </a:r>
                    </a:p>
                  </a:txBody>
                  <a:tcPr marL="0" marR="0" marT="0" marB="0" anchor="ctr">
                    <a:lnL w="9525" cap="flat" cmpd="sng" algn="ctr">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2"/>
                        </a:buClr>
                        <a:buSzPts val="1050"/>
                        <a:buFont typeface="PT Serif"/>
                        <a:buNone/>
                      </a:pPr>
                      <a:r>
                        <a:rPr lang="en-US" sz="1000" u="none" strike="noStrike" cap="none">
                          <a:latin typeface="Source Sans Pro"/>
                          <a:ea typeface="Source Sans Pro"/>
                          <a:cs typeface="Source Sans Pro"/>
                          <a:sym typeface="Source Sans Pro"/>
                        </a:rPr>
                        <a:t>Munish</a:t>
                      </a:r>
                    </a:p>
                  </a:txBody>
                  <a:tcPr marL="0" marR="365750" marT="0" marB="0" anchor="ctr">
                    <a:lnL w="9525" cap="flat" cmpd="sng">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120650" marR="0" lvl="0" indent="-120650" algn="l" rtl="0">
                        <a:lnSpc>
                          <a:spcPct val="100000"/>
                        </a:lnSpc>
                        <a:spcBef>
                          <a:spcPts val="0"/>
                        </a:spcBef>
                        <a:spcAft>
                          <a:spcPts val="0"/>
                        </a:spcAft>
                        <a:buClr>
                          <a:schemeClr val="dk1"/>
                        </a:buClr>
                        <a:buSzPts val="800"/>
                        <a:buFont typeface="Noto Sans Symbols"/>
                        <a:buChar char="▪"/>
                      </a:pPr>
                      <a:r>
                        <a:rPr lang="en-US" sz="1000" b="0" i="0" u="none" strike="noStrike" cap="none">
                          <a:solidFill>
                            <a:schemeClr val="dk1"/>
                          </a:solidFill>
                          <a:latin typeface="Source Sans Pro"/>
                          <a:ea typeface="Source Sans Pro"/>
                          <a:hlinkClick r:id="rId11"/>
                        </a:rPr>
                        <a:t>Ticket</a:t>
                      </a:r>
                      <a:endParaRPr lang="en-US" sz="1000" u="none">
                        <a:latin typeface="Source Sans Pro"/>
                        <a:ea typeface="Source Sans Pro"/>
                      </a:endParaRPr>
                    </a:p>
                  </a:txBody>
                  <a:tcPr marL="0" marR="0" marT="0" marB="0" anchor="ctr">
                    <a:lnL w="9525" cap="flat" cmpd="sng" algn="ctr">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defTabSz="914400" rtl="0" eaLnBrk="1" fontAlgn="auto" latinLnBrk="0" hangingPunct="1">
                        <a:lnSpc>
                          <a:spcPct val="100000"/>
                        </a:lnSpc>
                        <a:spcBef>
                          <a:spcPts val="0"/>
                        </a:spcBef>
                        <a:spcAft>
                          <a:spcPts val="0"/>
                        </a:spcAft>
                        <a:buClr>
                          <a:srgbClr val="000000"/>
                        </a:buClr>
                        <a:buSzPts val="1050"/>
                        <a:buFont typeface="PT Serif"/>
                        <a:buNone/>
                        <a:tabLst/>
                        <a:defRPr/>
                      </a:pPr>
                      <a:r>
                        <a:rPr lang="en-US" sz="1000" b="0" i="0" u="none" strike="noStrike" kern="0" cap="none" spc="0" normalizeH="0" baseline="0" noProof="0">
                          <a:ln>
                            <a:noFill/>
                          </a:ln>
                          <a:solidFill>
                            <a:srgbClr val="303A46"/>
                          </a:solidFill>
                          <a:effectLst/>
                          <a:uLnTx/>
                          <a:uFillTx/>
                          <a:latin typeface="Source Sans Pro"/>
                          <a:ea typeface="Source Sans Pro"/>
                          <a:cs typeface="Source Sans Pro"/>
                        </a:rPr>
                        <a:t>04/15/22</a:t>
                      </a:r>
                      <a:endParaRPr kumimoji="0" lang="en-US" sz="1000" b="0" i="0" u="none" strike="noStrike" kern="0" cap="none" spc="0" normalizeH="0" baseline="0" noProof="0">
                        <a:ln>
                          <a:noFill/>
                        </a:ln>
                        <a:solidFill>
                          <a:srgbClr val="303A46"/>
                        </a:solidFill>
                        <a:effectLst/>
                        <a:uLnTx/>
                        <a:uFillTx/>
                        <a:latin typeface="Source Sans Pro"/>
                        <a:ea typeface="Source Sans Pro"/>
                        <a:cs typeface="Source Sans Pro"/>
                        <a:sym typeface="Source Sans Pro"/>
                      </a:endParaRPr>
                    </a:p>
                  </a:txBody>
                  <a:tcPr marL="0" marR="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ctr" defTabSz="914400" rtl="0" eaLnBrk="1" fontAlgn="auto" latinLnBrk="0" hangingPunct="1">
                        <a:lnSpc>
                          <a:spcPct val="100000"/>
                        </a:lnSpc>
                        <a:spcBef>
                          <a:spcPts val="0"/>
                        </a:spcBef>
                        <a:spcAft>
                          <a:spcPts val="0"/>
                        </a:spcAft>
                        <a:buClr>
                          <a:srgbClr val="000000"/>
                        </a:buClr>
                        <a:buSzPts val="1050"/>
                        <a:buFont typeface="PT Serif"/>
                        <a:buNone/>
                        <a:tabLst/>
                        <a:defRPr/>
                      </a:pPr>
                      <a:endParaRPr kumimoji="0" lang="en-US" sz="1000" b="0" i="0" u="none" strike="noStrike" kern="0" cap="none" spc="0" normalizeH="0" baseline="0" noProof="0">
                        <a:ln>
                          <a:noFill/>
                        </a:ln>
                        <a:solidFill>
                          <a:srgbClr val="303A46"/>
                        </a:solidFill>
                        <a:effectLst/>
                        <a:uLnTx/>
                        <a:uFillTx/>
                        <a:latin typeface="Source Sans Pro" panose="020B0503030403020204" pitchFamily="34" charset="0"/>
                        <a:ea typeface="Source Sans Pro" panose="020B0503030403020204" pitchFamily="34" charset="0"/>
                        <a:cs typeface="Source Sans Pro"/>
                        <a:sym typeface="Source Sans Pro"/>
                      </a:endParaRPr>
                    </a:p>
                    <a:p>
                      <a:pPr marL="0" marR="0" lvl="0" indent="0" algn="ctr" defTabSz="914400" rtl="0" eaLnBrk="1" fontAlgn="auto" latinLnBrk="0" hangingPunct="1">
                        <a:lnSpc>
                          <a:spcPct val="100000"/>
                        </a:lnSpc>
                        <a:spcBef>
                          <a:spcPts val="0"/>
                        </a:spcBef>
                        <a:spcAft>
                          <a:spcPts val="0"/>
                        </a:spcAft>
                        <a:buClr>
                          <a:srgbClr val="000000"/>
                        </a:buClr>
                        <a:buSzPts val="1050"/>
                        <a:buFont typeface="PT Serif"/>
                        <a:buNone/>
                        <a:tabLst/>
                        <a:defRPr/>
                      </a:pPr>
                      <a:r>
                        <a:rPr kumimoji="0" lang="en-US" sz="1000" b="0" i="0" u="none" strike="noStrike" kern="0" cap="none" spc="0" normalizeH="0" baseline="0" noProof="0">
                          <a:ln>
                            <a:noFill/>
                          </a:ln>
                          <a:solidFill>
                            <a:srgbClr val="303A46"/>
                          </a:solidFill>
                          <a:effectLst/>
                          <a:uLnTx/>
                          <a:uFillTx/>
                          <a:latin typeface="Source Sans Pro"/>
                          <a:ea typeface="Source Sans Pro"/>
                          <a:cs typeface="Source Sans Pro"/>
                          <a:sym typeface="Source Sans Pro"/>
                        </a:rPr>
                        <a:t>✓</a:t>
                      </a:r>
                    </a:p>
                  </a:txBody>
                  <a:tcPr marL="0" marR="0" marT="0" marB="0">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extLst>
                  <a:ext uri="{0D108BD9-81ED-4DB2-BD59-A6C34878D82A}">
                    <a16:rowId xmlns:a16="http://schemas.microsoft.com/office/drawing/2014/main" val="10003"/>
                  </a:ext>
                </a:extLst>
              </a:tr>
              <a:tr h="342741">
                <a:tc>
                  <a:txBody>
                    <a:bodyPr/>
                    <a:lstStyle/>
                    <a:p>
                      <a:pPr marL="0" marR="0" lvl="0" indent="0" algn="l" rtl="0">
                        <a:lnSpc>
                          <a:spcPct val="100000"/>
                        </a:lnSpc>
                        <a:spcBef>
                          <a:spcPts val="0"/>
                        </a:spcBef>
                        <a:spcAft>
                          <a:spcPts val="0"/>
                        </a:spcAft>
                        <a:buClr>
                          <a:schemeClr val="dk2"/>
                        </a:buClr>
                        <a:buSzPts val="1050"/>
                        <a:buFont typeface="PT Serif"/>
                        <a:buNone/>
                      </a:pPr>
                      <a:r>
                        <a:rPr lang="en-US" sz="1000" b="0" i="0" u="none" strike="noStrike" cap="none">
                          <a:solidFill>
                            <a:schemeClr val="dk2"/>
                          </a:solidFill>
                          <a:latin typeface="Source Sans Pro"/>
                          <a:ea typeface="Source Sans Pro"/>
                          <a:cs typeface="Source Sans Pro"/>
                          <a:sym typeface="Source Sans Pro"/>
                        </a:rPr>
                        <a:t>PM</a:t>
                      </a:r>
                      <a:endParaRPr sz="1000" u="none" strike="noStrike" cap="none">
                        <a:latin typeface="Source Sans Pro"/>
                        <a:ea typeface="Source Sans Pro"/>
                        <a:cs typeface="Source Sans Pro"/>
                        <a:sym typeface="Source Sans Pro"/>
                      </a:endParaRPr>
                    </a:p>
                  </a:txBody>
                  <a:tcPr marL="0" marR="36575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1"/>
                        </a:buClr>
                        <a:buSzPts val="1050"/>
                        <a:buFont typeface="PT Serif"/>
                        <a:buNone/>
                      </a:pPr>
                      <a:r>
                        <a:rPr lang="en-US" sz="1000" b="0" i="0" u="none" strike="noStrike" cap="none">
                          <a:solidFill>
                            <a:schemeClr val="dk1"/>
                          </a:solidFill>
                          <a:latin typeface="Source Sans Pro"/>
                          <a:ea typeface="Source Sans Pro"/>
                          <a:hlinkClick r:id="rId12"/>
                        </a:rPr>
                        <a:t>#39582 </a:t>
                      </a:r>
                      <a:r>
                        <a:rPr lang="en-US" sz="1000" b="0" i="0" u="none" strike="noStrike" cap="none">
                          <a:solidFill>
                            <a:schemeClr val="dk1"/>
                          </a:solidFill>
                          <a:latin typeface="Source Sans Pro"/>
                          <a:ea typeface="Source Sans Pro"/>
                        </a:rPr>
                        <a:t>Address change option built in landing page</a:t>
                      </a:r>
                      <a:endParaRPr lang="en-US" sz="1000" b="1" i="0" u="none" strike="noStrike" cap="none">
                        <a:solidFill>
                          <a:schemeClr val="bg2"/>
                        </a:solidFill>
                        <a:latin typeface="Source Sans Pro"/>
                        <a:ea typeface="Source Sans Pro"/>
                        <a:cs typeface="Source Sans Pro SemiBold"/>
                        <a:sym typeface="Source Sans Pro SemiBold"/>
                      </a:endParaRPr>
                    </a:p>
                  </a:txBody>
                  <a:tcPr marL="0" marR="0" marT="0" marB="0" anchor="ctr">
                    <a:lnL w="9525" cap="flat" cmpd="sng">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chemeClr val="dk2"/>
                        </a:buClr>
                        <a:buSzPts val="1050"/>
                        <a:buFont typeface="PT Serif"/>
                        <a:buNone/>
                      </a:pPr>
                      <a:r>
                        <a:rPr lang="en-US" sz="1000" u="none" strike="noStrike" cap="none">
                          <a:latin typeface="Source Sans Pro"/>
                          <a:ea typeface="Source Sans Pro"/>
                          <a:cs typeface="Source Sans Pro"/>
                          <a:sym typeface="Source Sans Pro"/>
                        </a:rPr>
                        <a:t>1</a:t>
                      </a:r>
                    </a:p>
                  </a:txBody>
                  <a:tcPr marL="0" marR="0" marT="0" marB="0" anchor="ctr">
                    <a:lnL w="9525" cap="flat" cmpd="sng" algn="ctr">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2"/>
                        </a:buClr>
                        <a:buSzPts val="1050"/>
                        <a:buFont typeface="PT Serif"/>
                        <a:buNone/>
                      </a:pPr>
                      <a:r>
                        <a:rPr lang="en-US" sz="1000" u="none" strike="noStrike" cap="none">
                          <a:latin typeface="Source Sans Pro"/>
                          <a:ea typeface="Source Sans Pro"/>
                          <a:cs typeface="Source Sans Pro"/>
                          <a:sym typeface="Source Sans Pro"/>
                        </a:rPr>
                        <a:t>Jordan</a:t>
                      </a:r>
                    </a:p>
                  </a:txBody>
                  <a:tcPr marL="0" marR="365750" marT="0" marB="0" anchor="ctr">
                    <a:lnL w="9525" cap="flat" cmpd="sng">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120650" marR="0" lvl="0" indent="-120650" algn="l" rtl="0">
                        <a:lnSpc>
                          <a:spcPct val="100000"/>
                        </a:lnSpc>
                        <a:spcBef>
                          <a:spcPts val="0"/>
                        </a:spcBef>
                        <a:spcAft>
                          <a:spcPts val="0"/>
                        </a:spcAft>
                        <a:buClr>
                          <a:schemeClr val="dk1"/>
                        </a:buClr>
                        <a:buSzPts val="800"/>
                        <a:buFont typeface="Noto Sans Symbols"/>
                        <a:buChar char="▪"/>
                      </a:pPr>
                      <a:r>
                        <a:rPr lang="en-US" sz="1000" b="0" i="0" u="none" strike="noStrike" cap="none">
                          <a:solidFill>
                            <a:schemeClr val="dk1"/>
                          </a:solidFill>
                          <a:latin typeface="Source Sans Pro"/>
                          <a:ea typeface="Source Sans Pro"/>
                          <a:hlinkClick r:id="rId13"/>
                        </a:rPr>
                        <a:t>Sitewide Ticket</a:t>
                      </a:r>
                      <a:endParaRPr lang="en-US" sz="1000" b="0" i="0" u="none" strike="noStrike" cap="none">
                        <a:solidFill>
                          <a:schemeClr val="dk1"/>
                        </a:solidFill>
                        <a:latin typeface="Source Sans Pro"/>
                        <a:ea typeface="Source Sans Pro"/>
                      </a:endParaRPr>
                    </a:p>
                    <a:p>
                      <a:pPr marL="120650" marR="0" lvl="0" indent="-120650" algn="l" rtl="0">
                        <a:lnSpc>
                          <a:spcPct val="100000"/>
                        </a:lnSpc>
                        <a:spcBef>
                          <a:spcPts val="0"/>
                        </a:spcBef>
                        <a:spcAft>
                          <a:spcPts val="0"/>
                        </a:spcAft>
                        <a:buClr>
                          <a:schemeClr val="dk1"/>
                        </a:buClr>
                        <a:buSzPts val="800"/>
                        <a:buFont typeface="Noto Sans Symbols"/>
                        <a:buChar char="▪"/>
                      </a:pPr>
                      <a:r>
                        <a:rPr lang="en-US" sz="1000" b="0" i="0" u="none" strike="noStrike" cap="none">
                          <a:solidFill>
                            <a:schemeClr val="dk1"/>
                          </a:solidFill>
                          <a:latin typeface="Source Sans Pro"/>
                          <a:ea typeface="Source Sans Pro"/>
                          <a:hlinkClick r:id="rId14"/>
                        </a:rPr>
                        <a:t>Prototype</a:t>
                      </a:r>
                      <a:endParaRPr lang="en-US" sz="1000" u="none">
                        <a:latin typeface="Source Sans Pro"/>
                        <a:ea typeface="Source Sans Pro"/>
                      </a:endParaRPr>
                    </a:p>
                  </a:txBody>
                  <a:tcPr marL="0" marR="0" marT="0" marB="0" anchor="ctr">
                    <a:lnL w="9525" cap="flat" cmpd="sng" algn="ctr">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defTabSz="914400" rtl="0" eaLnBrk="1" fontAlgn="auto" latinLnBrk="0" hangingPunct="1">
                        <a:lnSpc>
                          <a:spcPct val="100000"/>
                        </a:lnSpc>
                        <a:spcBef>
                          <a:spcPts val="0"/>
                        </a:spcBef>
                        <a:spcAft>
                          <a:spcPts val="0"/>
                        </a:spcAft>
                        <a:buClr>
                          <a:srgbClr val="000000"/>
                        </a:buClr>
                        <a:buSzPts val="1050"/>
                        <a:buFont typeface="PT Serif"/>
                        <a:buNone/>
                        <a:tabLst/>
                        <a:defRPr/>
                      </a:pPr>
                      <a:r>
                        <a:rPr lang="en-US" sz="1000" b="0" i="0" u="none" strike="noStrike" kern="0" cap="none" spc="0" normalizeH="0" baseline="0" noProof="0">
                          <a:ln>
                            <a:noFill/>
                          </a:ln>
                          <a:solidFill>
                            <a:srgbClr val="303A46"/>
                          </a:solidFill>
                          <a:effectLst/>
                          <a:uLnTx/>
                          <a:uFillTx/>
                          <a:latin typeface="Source Sans Pro"/>
                          <a:ea typeface="Source Sans Pro"/>
                          <a:cs typeface="Source Sans Pro"/>
                        </a:rPr>
                        <a:t>04/15/22</a:t>
                      </a:r>
                      <a:endParaRPr kumimoji="0" lang="en-US" sz="1000" b="0" i="0" u="none" strike="noStrike" kern="0" cap="none" spc="0" normalizeH="0" baseline="0" noProof="0">
                        <a:ln>
                          <a:noFill/>
                        </a:ln>
                        <a:solidFill>
                          <a:srgbClr val="303A46"/>
                        </a:solidFill>
                        <a:effectLst/>
                        <a:uLnTx/>
                        <a:uFillTx/>
                        <a:latin typeface="Source Sans Pro"/>
                        <a:ea typeface="Source Sans Pro"/>
                        <a:cs typeface="Source Sans Pro"/>
                        <a:sym typeface="Source Sans Pro"/>
                      </a:endParaRPr>
                    </a:p>
                  </a:txBody>
                  <a:tcPr marL="0" marR="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ctr" defTabSz="914400" rtl="0" eaLnBrk="1" fontAlgn="auto" latinLnBrk="0" hangingPunct="1">
                        <a:lnSpc>
                          <a:spcPct val="100000"/>
                        </a:lnSpc>
                        <a:spcBef>
                          <a:spcPts val="0"/>
                        </a:spcBef>
                        <a:spcAft>
                          <a:spcPts val="0"/>
                        </a:spcAft>
                        <a:buClr>
                          <a:srgbClr val="000000"/>
                        </a:buClr>
                        <a:buSzPts val="1050"/>
                        <a:buFont typeface="PT Serif"/>
                        <a:buNone/>
                        <a:tabLst/>
                        <a:defRPr/>
                      </a:pPr>
                      <a:endParaRPr kumimoji="0" lang="en-US" sz="1000" b="0" i="0" u="none" strike="noStrike" kern="0" cap="none" spc="0" normalizeH="0" baseline="0" noProof="0">
                        <a:ln>
                          <a:noFill/>
                        </a:ln>
                        <a:solidFill>
                          <a:srgbClr val="303A46"/>
                        </a:solidFill>
                        <a:effectLst/>
                        <a:uLnTx/>
                        <a:uFillTx/>
                        <a:latin typeface="Source Sans Pro" panose="020B0503030403020204" pitchFamily="34" charset="0"/>
                        <a:ea typeface="Source Sans Pro" panose="020B0503030403020204" pitchFamily="34" charset="0"/>
                        <a:cs typeface="Source Sans Pro"/>
                        <a:sym typeface="Source Sans Pro"/>
                      </a:endParaRPr>
                    </a:p>
                    <a:p>
                      <a:pPr marL="0" marR="0" lvl="0" indent="0" algn="ctr" defTabSz="914400" rtl="0" eaLnBrk="1" fontAlgn="auto" latinLnBrk="0" hangingPunct="1">
                        <a:lnSpc>
                          <a:spcPct val="100000"/>
                        </a:lnSpc>
                        <a:spcBef>
                          <a:spcPts val="0"/>
                        </a:spcBef>
                        <a:spcAft>
                          <a:spcPts val="0"/>
                        </a:spcAft>
                        <a:buClr>
                          <a:srgbClr val="000000"/>
                        </a:buClr>
                        <a:buSzPts val="1050"/>
                        <a:buFont typeface="PT Serif"/>
                        <a:buNone/>
                        <a:tabLst/>
                        <a:defRPr/>
                      </a:pPr>
                      <a:r>
                        <a:rPr kumimoji="0" lang="en-US" sz="1000" b="0" i="0" u="none" strike="noStrike" kern="0" cap="none" spc="0" normalizeH="0" baseline="0" noProof="0">
                          <a:ln>
                            <a:noFill/>
                          </a:ln>
                          <a:solidFill>
                            <a:srgbClr val="303A46"/>
                          </a:solidFill>
                          <a:effectLst/>
                          <a:uLnTx/>
                          <a:uFillTx/>
                          <a:latin typeface="Source Sans Pro"/>
                          <a:ea typeface="Source Sans Pro"/>
                          <a:cs typeface="Source Sans Pro"/>
                          <a:sym typeface="Source Sans Pro"/>
                        </a:rPr>
                        <a:t>✓</a:t>
                      </a:r>
                    </a:p>
                  </a:txBody>
                  <a:tcPr marL="0" marR="0" marT="0" marB="0">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extLst>
                  <a:ext uri="{0D108BD9-81ED-4DB2-BD59-A6C34878D82A}">
                    <a16:rowId xmlns:a16="http://schemas.microsoft.com/office/drawing/2014/main" val="10004"/>
                  </a:ext>
                </a:extLst>
              </a:tr>
              <a:tr h="349735">
                <a:tc>
                  <a:txBody>
                    <a:bodyPr/>
                    <a:lstStyle/>
                    <a:p>
                      <a:pPr marL="0" marR="0" lvl="0" indent="0" algn="l" rtl="0">
                        <a:lnSpc>
                          <a:spcPct val="100000"/>
                        </a:lnSpc>
                        <a:spcBef>
                          <a:spcPts val="0"/>
                        </a:spcBef>
                        <a:spcAft>
                          <a:spcPts val="0"/>
                        </a:spcAft>
                        <a:buClr>
                          <a:schemeClr val="dk2"/>
                        </a:buClr>
                        <a:buSzPts val="1050"/>
                        <a:buFont typeface="PT Serif"/>
                        <a:buNone/>
                      </a:pPr>
                      <a:r>
                        <a:rPr lang="en-US" sz="1000" b="0" i="0" u="none" strike="noStrike" cap="none">
                          <a:solidFill>
                            <a:schemeClr val="dk2"/>
                          </a:solidFill>
                          <a:latin typeface="Source Sans Pro"/>
                          <a:ea typeface="Source Sans Pro"/>
                          <a:cs typeface="Source Sans Pro"/>
                          <a:sym typeface="Source Sans Pro"/>
                        </a:rPr>
                        <a:t>PM</a:t>
                      </a:r>
                      <a:endParaRPr sz="1000" u="none" strike="noStrike" cap="none">
                        <a:latin typeface="Source Sans Pro"/>
                        <a:ea typeface="Source Sans Pro"/>
                        <a:cs typeface="Source Sans Pro"/>
                        <a:sym typeface="Source Sans Pro"/>
                      </a:endParaRPr>
                    </a:p>
                  </a:txBody>
                  <a:tcPr marL="0" marR="36575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1"/>
                        </a:buClr>
                        <a:buSzPts val="1050"/>
                        <a:buFont typeface="PT Serif"/>
                        <a:buNone/>
                      </a:pPr>
                      <a:r>
                        <a:rPr lang="en-US" sz="1000" b="0" i="0" u="none" strike="noStrike" cap="none">
                          <a:solidFill>
                            <a:schemeClr val="dk1"/>
                          </a:solidFill>
                          <a:latin typeface="Source Sans Pro"/>
                          <a:ea typeface="Source Sans Pro"/>
                          <a:hlinkClick r:id="rId15"/>
                        </a:rPr>
                        <a:t>#39515</a:t>
                      </a:r>
                      <a:r>
                        <a:rPr lang="en-US" sz="1000" b="0" i="0" u="none" strike="noStrike" cap="none">
                          <a:solidFill>
                            <a:schemeClr val="dk1"/>
                          </a:solidFill>
                          <a:latin typeface="Source Sans Pro"/>
                          <a:ea typeface="Source Sans Pro"/>
                        </a:rPr>
                        <a:t> Understand what is needed to translate HEC documents into Spanish and the impact on product timeline</a:t>
                      </a:r>
                      <a:endParaRPr lang="en-US" sz="1000" b="1" i="0" u="none" strike="noStrike" cap="none">
                        <a:solidFill>
                          <a:schemeClr val="bg2"/>
                        </a:solidFill>
                        <a:latin typeface="Source Sans Pro"/>
                        <a:ea typeface="Source Sans Pro"/>
                        <a:cs typeface="Source Sans Pro SemiBold"/>
                        <a:sym typeface="Source Sans Pro SemiBold"/>
                      </a:endParaRPr>
                    </a:p>
                  </a:txBody>
                  <a:tcPr marL="0" marR="0" marT="0" marB="0" anchor="ctr">
                    <a:lnL w="9525" cap="flat" cmpd="sng">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chemeClr val="dk2"/>
                        </a:buClr>
                        <a:buSzPts val="1050"/>
                        <a:buFont typeface="PT Serif"/>
                        <a:buNone/>
                      </a:pPr>
                      <a:r>
                        <a:rPr lang="en-US" sz="1000" u="none" strike="noStrike" cap="none">
                          <a:latin typeface="Source Sans Pro"/>
                          <a:ea typeface="Source Sans Pro"/>
                          <a:cs typeface="Source Sans Pro"/>
                          <a:sym typeface="Source Sans Pro"/>
                        </a:rPr>
                        <a:t>3</a:t>
                      </a:r>
                    </a:p>
                  </a:txBody>
                  <a:tcPr marL="0" marR="0" marT="0" marB="0" anchor="ctr">
                    <a:lnL w="9525" cap="flat" cmpd="sng" algn="ctr">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2"/>
                        </a:buClr>
                        <a:buSzPts val="1050"/>
                        <a:buFont typeface="PT Serif"/>
                        <a:buNone/>
                      </a:pPr>
                      <a:r>
                        <a:rPr lang="en-US" sz="1000" u="none" strike="noStrike" cap="none">
                          <a:latin typeface="Source Sans Pro"/>
                          <a:ea typeface="Source Sans Pro"/>
                          <a:cs typeface="Source Sans Pro"/>
                          <a:sym typeface="Source Sans Pro"/>
                        </a:rPr>
                        <a:t>Jordan</a:t>
                      </a:r>
                    </a:p>
                  </a:txBody>
                  <a:tcPr marL="0" marR="365750" marT="0" marB="0" anchor="ctr">
                    <a:lnL w="9525" cap="flat" cmpd="sng">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120650" marR="0" lvl="0" indent="-120650" algn="l" rtl="0">
                        <a:lnSpc>
                          <a:spcPct val="100000"/>
                        </a:lnSpc>
                        <a:spcBef>
                          <a:spcPts val="0"/>
                        </a:spcBef>
                        <a:spcAft>
                          <a:spcPts val="0"/>
                        </a:spcAft>
                        <a:buClr>
                          <a:schemeClr val="dk1"/>
                        </a:buClr>
                        <a:buSzPts val="800"/>
                        <a:buFont typeface="Noto Sans Symbols"/>
                        <a:buChar char="▪"/>
                      </a:pPr>
                      <a:r>
                        <a:rPr lang="en-US" sz="1000" b="0" i="0" u="none" strike="noStrike" cap="none">
                          <a:solidFill>
                            <a:schemeClr val="dk1"/>
                          </a:solidFill>
                          <a:latin typeface="Source Sans Pro"/>
                          <a:ea typeface="Source Sans Pro"/>
                          <a:hlinkClick r:id="rId16"/>
                        </a:rPr>
                        <a:t>Link to doc transmittal </a:t>
                      </a:r>
                      <a:endParaRPr lang="en-US" sz="1000" u="none">
                        <a:latin typeface="Source Sans Pro"/>
                        <a:ea typeface="Source Sans Pro"/>
                      </a:endParaRPr>
                    </a:p>
                  </a:txBody>
                  <a:tcPr marL="0" marR="0" marT="0" marB="0" anchor="ctr">
                    <a:lnL w="9525" cap="flat" cmpd="sng" algn="ctr">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defTabSz="914400" rtl="0" eaLnBrk="1" fontAlgn="auto" latinLnBrk="0" hangingPunct="1">
                        <a:lnSpc>
                          <a:spcPct val="100000"/>
                        </a:lnSpc>
                        <a:spcBef>
                          <a:spcPts val="0"/>
                        </a:spcBef>
                        <a:spcAft>
                          <a:spcPts val="0"/>
                        </a:spcAft>
                        <a:buClr>
                          <a:srgbClr val="000000"/>
                        </a:buClr>
                        <a:buSzPts val="1050"/>
                        <a:buFont typeface="PT Serif"/>
                        <a:buNone/>
                        <a:tabLst/>
                        <a:defRPr/>
                      </a:pPr>
                      <a:r>
                        <a:rPr lang="en-US" sz="1000" b="0" i="0" u="none" strike="noStrike" kern="0" cap="none" spc="0" normalizeH="0" baseline="0" noProof="0">
                          <a:ln>
                            <a:noFill/>
                          </a:ln>
                          <a:solidFill>
                            <a:srgbClr val="303A46"/>
                          </a:solidFill>
                          <a:effectLst/>
                          <a:uLnTx/>
                          <a:uFillTx/>
                          <a:latin typeface="Source Sans Pro"/>
                          <a:ea typeface="Source Sans Pro"/>
                          <a:cs typeface="Source Sans Pro"/>
                        </a:rPr>
                        <a:t>04/15/22</a:t>
                      </a:r>
                      <a:endParaRPr kumimoji="0" lang="en-US" sz="1000" b="0" i="0" u="none" strike="noStrike" kern="0" cap="none" spc="0" normalizeH="0" baseline="0" noProof="0">
                        <a:ln>
                          <a:noFill/>
                        </a:ln>
                        <a:solidFill>
                          <a:srgbClr val="303A46"/>
                        </a:solidFill>
                        <a:effectLst/>
                        <a:uLnTx/>
                        <a:uFillTx/>
                        <a:latin typeface="Source Sans Pro"/>
                        <a:ea typeface="Source Sans Pro"/>
                        <a:cs typeface="Source Sans Pro"/>
                        <a:sym typeface="Source Sans Pro"/>
                      </a:endParaRPr>
                    </a:p>
                  </a:txBody>
                  <a:tcPr marL="0" marR="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ctr" defTabSz="914400" rtl="0" eaLnBrk="1" fontAlgn="auto" latinLnBrk="0" hangingPunct="1">
                        <a:lnSpc>
                          <a:spcPct val="100000"/>
                        </a:lnSpc>
                        <a:spcBef>
                          <a:spcPts val="0"/>
                        </a:spcBef>
                        <a:spcAft>
                          <a:spcPts val="0"/>
                        </a:spcAft>
                        <a:buClr>
                          <a:srgbClr val="000000"/>
                        </a:buClr>
                        <a:buSzPts val="1050"/>
                        <a:buFont typeface="PT Serif"/>
                        <a:buNone/>
                        <a:tabLst/>
                        <a:defRPr/>
                      </a:pPr>
                      <a:endParaRPr kumimoji="0" lang="en-US" sz="1000" b="0" i="0" u="none" strike="noStrike" kern="0" cap="none" spc="0" normalizeH="0" baseline="0" noProof="0">
                        <a:ln>
                          <a:noFill/>
                        </a:ln>
                        <a:solidFill>
                          <a:srgbClr val="303A46"/>
                        </a:solidFill>
                        <a:effectLst/>
                        <a:uLnTx/>
                        <a:uFillTx/>
                        <a:latin typeface="Source Sans Pro" panose="020B0503030403020204" pitchFamily="34" charset="0"/>
                        <a:ea typeface="Source Sans Pro" panose="020B0503030403020204" pitchFamily="34" charset="0"/>
                        <a:cs typeface="Source Sans Pro"/>
                        <a:sym typeface="Source Sans Pro"/>
                      </a:endParaRPr>
                    </a:p>
                    <a:p>
                      <a:pPr marL="0" marR="0" lvl="0" indent="0" algn="ctr" defTabSz="914400" rtl="0" eaLnBrk="1" fontAlgn="auto" latinLnBrk="0" hangingPunct="1">
                        <a:lnSpc>
                          <a:spcPct val="100000"/>
                        </a:lnSpc>
                        <a:spcBef>
                          <a:spcPts val="0"/>
                        </a:spcBef>
                        <a:spcAft>
                          <a:spcPts val="0"/>
                        </a:spcAft>
                        <a:buClr>
                          <a:srgbClr val="000000"/>
                        </a:buClr>
                        <a:buSzPts val="1050"/>
                        <a:buFont typeface="PT Serif"/>
                        <a:buNone/>
                        <a:tabLst/>
                        <a:defRPr/>
                      </a:pPr>
                      <a:r>
                        <a:rPr kumimoji="0" lang="en-US" sz="1000" b="0" i="0" u="none" strike="noStrike" kern="0" cap="none" spc="0" normalizeH="0" baseline="0" noProof="0">
                          <a:ln>
                            <a:noFill/>
                          </a:ln>
                          <a:solidFill>
                            <a:srgbClr val="303A46"/>
                          </a:solidFill>
                          <a:effectLst/>
                          <a:uLnTx/>
                          <a:uFillTx/>
                          <a:latin typeface="Source Sans Pro"/>
                          <a:ea typeface="Source Sans Pro"/>
                          <a:cs typeface="Source Sans Pro"/>
                          <a:sym typeface="Source Sans Pro"/>
                        </a:rPr>
                        <a:t>✓</a:t>
                      </a:r>
                    </a:p>
                  </a:txBody>
                  <a:tcPr marL="0" marR="0" marT="0" marB="0">
                    <a:lnL w="9525" cap="flat" cmpd="sng" algn="ctr">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extLst>
                  <a:ext uri="{0D108BD9-81ED-4DB2-BD59-A6C34878D82A}">
                    <a16:rowId xmlns:a16="http://schemas.microsoft.com/office/drawing/2014/main" val="10005"/>
                  </a:ext>
                </a:extLst>
              </a:tr>
              <a:tr h="349735">
                <a:tc>
                  <a:txBody>
                    <a:bodyPr/>
                    <a:lstStyle/>
                    <a:p>
                      <a:pPr marL="0" marR="0" lvl="0" indent="0" algn="l" rtl="0">
                        <a:lnSpc>
                          <a:spcPct val="100000"/>
                        </a:lnSpc>
                        <a:spcBef>
                          <a:spcPts val="0"/>
                        </a:spcBef>
                        <a:spcAft>
                          <a:spcPts val="0"/>
                        </a:spcAft>
                        <a:buClr>
                          <a:schemeClr val="dk2"/>
                        </a:buClr>
                        <a:buSzPts val="1050"/>
                        <a:buFont typeface="PT Serif"/>
                        <a:buNone/>
                      </a:pPr>
                      <a:r>
                        <a:rPr lang="en-US" sz="1000" b="0" i="0" u="none" strike="noStrike" cap="none">
                          <a:solidFill>
                            <a:schemeClr val="dk2"/>
                          </a:solidFill>
                          <a:latin typeface="Source Sans Pro"/>
                          <a:ea typeface="Source Sans Pro"/>
                          <a:cs typeface="Source Sans Pro"/>
                          <a:sym typeface="Source Sans Pro"/>
                        </a:rPr>
                        <a:t>PM</a:t>
                      </a:r>
                      <a:endParaRPr sz="1000" u="none" strike="noStrike" cap="none">
                        <a:latin typeface="Source Sans Pro"/>
                        <a:ea typeface="Source Sans Pro"/>
                        <a:cs typeface="Source Sans Pro"/>
                        <a:sym typeface="Source Sans Pro"/>
                      </a:endParaRPr>
                    </a:p>
                  </a:txBody>
                  <a:tcPr marL="0" marR="36575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1"/>
                        </a:buClr>
                        <a:buSzPts val="1050"/>
                        <a:buFont typeface="PT Serif"/>
                        <a:buNone/>
                      </a:pPr>
                      <a:r>
                        <a:rPr lang="en-US" sz="1000" b="0" i="0" u="none" strike="noStrike" cap="none">
                          <a:solidFill>
                            <a:schemeClr val="dk1"/>
                          </a:solidFill>
                          <a:latin typeface="Source Sans Pro"/>
                          <a:ea typeface="Source Sans Pro"/>
                          <a:hlinkClick r:id="rId17"/>
                        </a:rPr>
                        <a:t>#38144 </a:t>
                      </a:r>
                      <a:r>
                        <a:rPr lang="en-US" sz="1000" b="0" i="0" u="none" strike="noStrike" cap="none">
                          <a:solidFill>
                            <a:schemeClr val="dk1"/>
                          </a:solidFill>
                          <a:latin typeface="Source Sans Pro"/>
                          <a:ea typeface="Source Sans Pro"/>
                        </a:rPr>
                        <a:t>Platform orientation [Munish Sikka]</a:t>
                      </a:r>
                      <a:endParaRPr lang="en-US" sz="1000" b="1" i="0" u="none" strike="noStrike" cap="none">
                        <a:solidFill>
                          <a:schemeClr val="bg2"/>
                        </a:solidFill>
                        <a:latin typeface="Source Sans Pro"/>
                        <a:ea typeface="Source Sans Pro"/>
                        <a:cs typeface="Source Sans Pro SemiBold"/>
                        <a:sym typeface="Source Sans Pro SemiBold"/>
                      </a:endParaRPr>
                    </a:p>
                  </a:txBody>
                  <a:tcPr marL="0" marR="0" marT="0" marB="0" anchor="ctr">
                    <a:lnL w="9525" cap="flat" cmpd="sng">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chemeClr val="dk2"/>
                        </a:buClr>
                        <a:buSzPts val="1050"/>
                        <a:buFont typeface="PT Serif"/>
                        <a:buNone/>
                      </a:pPr>
                      <a:r>
                        <a:rPr lang="en-US" sz="1000" u="none" strike="noStrike" cap="none">
                          <a:latin typeface="Source Sans Pro"/>
                          <a:ea typeface="Source Sans Pro"/>
                          <a:cs typeface="Source Sans Pro"/>
                          <a:sym typeface="Source Sans Pro"/>
                        </a:rPr>
                        <a:t>5</a:t>
                      </a:r>
                    </a:p>
                  </a:txBody>
                  <a:tcPr marL="0" marR="0" marT="0" marB="0" anchor="ctr">
                    <a:lnL w="9525" cap="flat" cmpd="sng" algn="ctr">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2"/>
                        </a:buClr>
                        <a:buSzPts val="1050"/>
                        <a:buFont typeface="PT Serif"/>
                        <a:buNone/>
                      </a:pPr>
                      <a:r>
                        <a:rPr lang="en-US" sz="1000" u="none" strike="noStrike" cap="none">
                          <a:latin typeface="Source Sans Pro"/>
                          <a:ea typeface="Source Sans Pro"/>
                          <a:cs typeface="Source Sans Pro"/>
                          <a:sym typeface="Source Sans Pro"/>
                        </a:rPr>
                        <a:t>Munish</a:t>
                      </a:r>
                    </a:p>
                  </a:txBody>
                  <a:tcPr marL="0" marR="365750" marT="0" marB="0" anchor="ctr">
                    <a:lnL w="9525" cap="flat" cmpd="sng">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120650" marR="0" lvl="0" indent="-120650" algn="l" rtl="0">
                        <a:lnSpc>
                          <a:spcPct val="100000"/>
                        </a:lnSpc>
                        <a:spcBef>
                          <a:spcPts val="0"/>
                        </a:spcBef>
                        <a:spcAft>
                          <a:spcPts val="0"/>
                        </a:spcAft>
                        <a:buClr>
                          <a:schemeClr val="dk1"/>
                        </a:buClr>
                        <a:buSzPts val="800"/>
                        <a:buFont typeface="Noto Sans Symbols"/>
                        <a:buChar char="▪"/>
                      </a:pPr>
                      <a:r>
                        <a:rPr lang="en-US" sz="1000" b="0" i="0" u="none" strike="noStrike" cap="none">
                          <a:solidFill>
                            <a:schemeClr val="dk1"/>
                          </a:solidFill>
                          <a:latin typeface="Source Sans Pro"/>
                          <a:ea typeface="Source Sans Pro"/>
                          <a:hlinkClick r:id="rId17"/>
                        </a:rPr>
                        <a:t>Ticket</a:t>
                      </a:r>
                      <a:endParaRPr lang="en-US" sz="1000" u="none">
                        <a:latin typeface="Source Sans Pro"/>
                        <a:ea typeface="Source Sans Pro"/>
                      </a:endParaRPr>
                    </a:p>
                  </a:txBody>
                  <a:tcPr marL="0" marR="0" marT="0" marB="0" anchor="ctr">
                    <a:lnL w="9525" cap="flat" cmpd="sng" algn="ctr">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defTabSz="914400" rtl="0" eaLnBrk="1" fontAlgn="auto" latinLnBrk="0" hangingPunct="1">
                        <a:lnSpc>
                          <a:spcPct val="100000"/>
                        </a:lnSpc>
                        <a:spcBef>
                          <a:spcPts val="0"/>
                        </a:spcBef>
                        <a:spcAft>
                          <a:spcPts val="0"/>
                        </a:spcAft>
                        <a:buClr>
                          <a:srgbClr val="000000"/>
                        </a:buClr>
                        <a:buSzPts val="1050"/>
                        <a:buFont typeface="PT Serif"/>
                        <a:buNone/>
                        <a:tabLst/>
                        <a:defRPr/>
                      </a:pPr>
                      <a:r>
                        <a:rPr lang="en-US" sz="1000" b="0" i="0" u="none" strike="noStrike" kern="0" cap="none" spc="0" normalizeH="0" baseline="0" noProof="0">
                          <a:ln>
                            <a:noFill/>
                          </a:ln>
                          <a:solidFill>
                            <a:srgbClr val="303A46"/>
                          </a:solidFill>
                          <a:effectLst/>
                          <a:uLnTx/>
                          <a:uFillTx/>
                          <a:latin typeface="Source Sans Pro"/>
                          <a:ea typeface="Source Sans Pro"/>
                          <a:cs typeface="Source Sans Pro"/>
                        </a:rPr>
                        <a:t>N/A</a:t>
                      </a:r>
                      <a:endParaRPr kumimoji="0" lang="en-US" sz="1000" b="0" i="0" u="none" strike="noStrike" kern="0" cap="none" spc="0" normalizeH="0" baseline="0" noProof="0">
                        <a:ln>
                          <a:noFill/>
                        </a:ln>
                        <a:solidFill>
                          <a:srgbClr val="303A46"/>
                        </a:solidFill>
                        <a:effectLst/>
                        <a:uLnTx/>
                        <a:uFillTx/>
                        <a:latin typeface="Source Sans Pro"/>
                        <a:ea typeface="Source Sans Pro"/>
                        <a:cs typeface="Source Sans Pro"/>
                        <a:sym typeface="Source Sans Pro"/>
                      </a:endParaRPr>
                    </a:p>
                  </a:txBody>
                  <a:tcPr marL="0" marR="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ctr" defTabSz="914400" rtl="0" eaLnBrk="1" fontAlgn="auto" latinLnBrk="0" hangingPunct="1">
                        <a:lnSpc>
                          <a:spcPct val="100000"/>
                        </a:lnSpc>
                        <a:spcBef>
                          <a:spcPts val="0"/>
                        </a:spcBef>
                        <a:spcAft>
                          <a:spcPts val="0"/>
                        </a:spcAft>
                        <a:buClr>
                          <a:srgbClr val="000000"/>
                        </a:buClr>
                        <a:buSzPts val="1050"/>
                        <a:buFont typeface="PT Serif"/>
                        <a:buNone/>
                        <a:tabLst/>
                        <a:defRPr/>
                      </a:pPr>
                      <a:endParaRPr kumimoji="0" lang="en-US" sz="1000" b="0" i="0" u="none" strike="noStrike" kern="0" cap="none" spc="0" normalizeH="0" baseline="0" noProof="0">
                        <a:ln>
                          <a:noFill/>
                        </a:ln>
                        <a:solidFill>
                          <a:srgbClr val="303A46"/>
                        </a:solidFill>
                        <a:effectLst/>
                        <a:uLnTx/>
                        <a:uFillTx/>
                        <a:latin typeface="Source Sans Pro" panose="020B0503030403020204" pitchFamily="34" charset="0"/>
                        <a:ea typeface="Source Sans Pro" panose="020B0503030403020204" pitchFamily="34" charset="0"/>
                        <a:cs typeface="Source Sans Pro"/>
                        <a:sym typeface="Source Sans Pro"/>
                      </a:endParaRPr>
                    </a:p>
                    <a:p>
                      <a:pPr marL="0" marR="0" lvl="0" indent="0" algn="ctr" defTabSz="914400" rtl="0" eaLnBrk="1" fontAlgn="auto" latinLnBrk="0" hangingPunct="1">
                        <a:lnSpc>
                          <a:spcPct val="100000"/>
                        </a:lnSpc>
                        <a:spcBef>
                          <a:spcPts val="0"/>
                        </a:spcBef>
                        <a:spcAft>
                          <a:spcPts val="0"/>
                        </a:spcAft>
                        <a:buClr>
                          <a:srgbClr val="000000"/>
                        </a:buClr>
                        <a:buSzPts val="1050"/>
                        <a:buFont typeface="PT Serif"/>
                        <a:buNone/>
                        <a:tabLst/>
                        <a:defRPr/>
                      </a:pPr>
                      <a:r>
                        <a:rPr kumimoji="0" lang="en-US" sz="1000" b="0" i="0" u="none" strike="noStrike" kern="0" cap="none" spc="0" normalizeH="0" baseline="0" noProof="0">
                          <a:ln>
                            <a:noFill/>
                          </a:ln>
                          <a:solidFill>
                            <a:srgbClr val="303A46"/>
                          </a:solidFill>
                          <a:effectLst/>
                          <a:uLnTx/>
                          <a:uFillTx/>
                          <a:latin typeface="Source Sans Pro"/>
                          <a:ea typeface="Source Sans Pro"/>
                          <a:cs typeface="Source Sans Pro"/>
                          <a:sym typeface="Source Sans Pro"/>
                        </a:rPr>
                        <a:t>✓</a:t>
                      </a:r>
                    </a:p>
                  </a:txBody>
                  <a:tcPr marL="0" marR="0" marT="0" marB="0">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extLst>
                  <a:ext uri="{0D108BD9-81ED-4DB2-BD59-A6C34878D82A}">
                    <a16:rowId xmlns:a16="http://schemas.microsoft.com/office/drawing/2014/main" val="10006"/>
                  </a:ext>
                </a:extLst>
              </a:tr>
              <a:tr h="349735">
                <a:tc>
                  <a:txBody>
                    <a:bodyPr/>
                    <a:lstStyle/>
                    <a:p>
                      <a:pPr marL="0" marR="0" lvl="0" indent="0" algn="l" rtl="0">
                        <a:lnSpc>
                          <a:spcPct val="100000"/>
                        </a:lnSpc>
                        <a:spcBef>
                          <a:spcPts val="0"/>
                        </a:spcBef>
                        <a:spcAft>
                          <a:spcPts val="0"/>
                        </a:spcAft>
                        <a:buClr>
                          <a:schemeClr val="dk2"/>
                        </a:buClr>
                        <a:buSzPts val="1050"/>
                        <a:buFont typeface="PT Serif"/>
                        <a:buNone/>
                      </a:pPr>
                      <a:r>
                        <a:rPr lang="en-US" sz="1000" b="0" i="0" u="none" strike="noStrike" cap="none">
                          <a:solidFill>
                            <a:schemeClr val="dk2"/>
                          </a:solidFill>
                          <a:latin typeface="Source Sans Pro"/>
                          <a:ea typeface="Source Sans Pro"/>
                          <a:cs typeface="Source Sans Pro"/>
                          <a:sym typeface="Source Sans Pro"/>
                        </a:rPr>
                        <a:t>PM</a:t>
                      </a:r>
                      <a:endParaRPr sz="1000" u="none" strike="noStrike" cap="none">
                        <a:latin typeface="Source Sans Pro"/>
                        <a:ea typeface="Source Sans Pro"/>
                        <a:cs typeface="Source Sans Pro"/>
                        <a:sym typeface="Source Sans Pro"/>
                      </a:endParaRPr>
                    </a:p>
                  </a:txBody>
                  <a:tcPr marL="0" marR="365750" marT="0" marB="0" anchor="ctr">
                    <a:lnL w="9525" cap="flat" cmpd="sng">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1"/>
                        </a:buClr>
                        <a:buSzPts val="1050"/>
                        <a:buFont typeface="PT Serif"/>
                        <a:buNone/>
                      </a:pPr>
                      <a:r>
                        <a:rPr lang="en-US" sz="1000" b="0" i="0" u="none" strike="noStrike" cap="none">
                          <a:solidFill>
                            <a:schemeClr val="dk1"/>
                          </a:solidFill>
                          <a:latin typeface="Source Sans Pro"/>
                          <a:ea typeface="Source Sans Pro"/>
                          <a:hlinkClick r:id="rId18"/>
                        </a:rPr>
                        <a:t>#39723 </a:t>
                      </a:r>
                      <a:r>
                        <a:rPr lang="en-US" sz="1000" b="0" i="0" u="none" strike="noStrike" cap="none">
                          <a:solidFill>
                            <a:schemeClr val="dk1"/>
                          </a:solidFill>
                          <a:latin typeface="Source Sans Pro"/>
                          <a:ea typeface="Source Sans Pro"/>
                        </a:rPr>
                        <a:t>PM team to f/u on VA notify ticket for opt-in</a:t>
                      </a:r>
                      <a:endParaRPr lang="en-US" sz="1000" b="1" i="0" u="none" strike="noStrike" cap="none">
                        <a:solidFill>
                          <a:schemeClr val="bg2"/>
                        </a:solidFill>
                        <a:latin typeface="Source Sans Pro"/>
                        <a:ea typeface="Source Sans Pro"/>
                        <a:cs typeface="Source Sans Pro SemiBold"/>
                        <a:sym typeface="Source Sans Pro SemiBold"/>
                      </a:endParaRPr>
                    </a:p>
                  </a:txBody>
                  <a:tcPr marL="0" marR="0" marT="0" marB="0" anchor="ctr">
                    <a:lnL w="9525" cap="flat" cmpd="sng" algn="ctr">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chemeClr val="dk2"/>
                        </a:buClr>
                        <a:buSzPts val="1050"/>
                        <a:buFont typeface="PT Serif"/>
                        <a:buNone/>
                      </a:pPr>
                      <a:r>
                        <a:rPr lang="en-US" sz="1000" u="none" strike="noStrike" cap="none">
                          <a:latin typeface="Source Sans Pro"/>
                          <a:ea typeface="Source Sans Pro"/>
                          <a:cs typeface="Source Sans Pro"/>
                          <a:sym typeface="Source Sans Pro"/>
                        </a:rPr>
                        <a:t>0</a:t>
                      </a:r>
                    </a:p>
                  </a:txBody>
                  <a:tcPr marL="0" marR="0" marT="0" marB="0" anchor="ctr">
                    <a:lnL w="9525" cap="flat" cmpd="sng" algn="ctr">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2"/>
                        </a:buClr>
                        <a:buSzPts val="1050"/>
                        <a:buFont typeface="PT Serif"/>
                        <a:buNone/>
                      </a:pPr>
                      <a:r>
                        <a:rPr lang="en-US" sz="1000" u="none" strike="noStrike" cap="none">
                          <a:latin typeface="Source Sans Pro"/>
                          <a:ea typeface="Source Sans Pro"/>
                          <a:cs typeface="Source Sans Pro"/>
                          <a:sym typeface="Source Sans Pro"/>
                        </a:rPr>
                        <a:t>Jordan Tami</a:t>
                      </a:r>
                    </a:p>
                  </a:txBody>
                  <a:tcPr marL="0" marR="365750" marT="0" marB="0" anchor="ctr">
                    <a:lnL w="9525" cap="flat" cmpd="sng" algn="ctr">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120650" marR="0" lvl="0" indent="-120650" algn="l" rtl="0">
                        <a:lnSpc>
                          <a:spcPct val="100000"/>
                        </a:lnSpc>
                        <a:spcBef>
                          <a:spcPts val="0"/>
                        </a:spcBef>
                        <a:spcAft>
                          <a:spcPts val="0"/>
                        </a:spcAft>
                        <a:buClr>
                          <a:schemeClr val="dk1"/>
                        </a:buClr>
                        <a:buSzPts val="800"/>
                        <a:buFont typeface="Noto Sans Symbols"/>
                        <a:buChar char="▪"/>
                      </a:pPr>
                      <a:r>
                        <a:rPr lang="en-US" sz="1000" b="0" i="0" u="none" strike="noStrike" cap="none">
                          <a:solidFill>
                            <a:schemeClr val="dk1"/>
                          </a:solidFill>
                          <a:latin typeface="Source Sans Pro"/>
                          <a:ea typeface="Source Sans Pro"/>
                          <a:hlinkClick r:id="rId19"/>
                        </a:rPr>
                        <a:t>Ticket CMDMRP-2269</a:t>
                      </a:r>
                      <a:endParaRPr lang="en-US" sz="1000" u="none">
                        <a:latin typeface="Source Sans Pro"/>
                        <a:ea typeface="Source Sans Pro"/>
                      </a:endParaRPr>
                    </a:p>
                  </a:txBody>
                  <a:tcPr marL="0" marR="0" marT="0" marB="0" anchor="ctr">
                    <a:lnL w="9525" cap="flat" cmpd="sng" algn="ctr">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defTabSz="914400" rtl="0" eaLnBrk="1" fontAlgn="auto" latinLnBrk="0" hangingPunct="1">
                        <a:lnSpc>
                          <a:spcPct val="100000"/>
                        </a:lnSpc>
                        <a:spcBef>
                          <a:spcPts val="0"/>
                        </a:spcBef>
                        <a:spcAft>
                          <a:spcPts val="0"/>
                        </a:spcAft>
                        <a:buClr>
                          <a:srgbClr val="000000"/>
                        </a:buClr>
                        <a:buSzPts val="1050"/>
                        <a:buFont typeface="PT Serif"/>
                        <a:buNone/>
                        <a:tabLst/>
                        <a:defRPr/>
                      </a:pPr>
                      <a:r>
                        <a:rPr lang="en-US" sz="1000" b="0" i="0" u="none" strike="noStrike" kern="0" cap="none" spc="0" normalizeH="0" baseline="0" noProof="0">
                          <a:ln>
                            <a:noFill/>
                          </a:ln>
                          <a:solidFill>
                            <a:srgbClr val="303A46"/>
                          </a:solidFill>
                          <a:effectLst/>
                          <a:uLnTx/>
                          <a:uFillTx/>
                          <a:latin typeface="Source Sans Pro"/>
                          <a:ea typeface="Source Sans Pro"/>
                          <a:cs typeface="Source Sans Pro"/>
                        </a:rPr>
                        <a:t>N/A</a:t>
                      </a:r>
                      <a:endParaRPr kumimoji="0" lang="en-US" sz="1000" b="0" i="0" u="none" strike="noStrike" kern="0" cap="none" spc="0" normalizeH="0" baseline="0" noProof="0">
                        <a:ln>
                          <a:noFill/>
                        </a:ln>
                        <a:solidFill>
                          <a:srgbClr val="303A46"/>
                        </a:solidFill>
                        <a:effectLst/>
                        <a:uLnTx/>
                        <a:uFillTx/>
                        <a:latin typeface="Source Sans Pro"/>
                        <a:ea typeface="Source Sans Pro"/>
                        <a:cs typeface="Source Sans Pro"/>
                        <a:sym typeface="Source Sans Pro"/>
                      </a:endParaRPr>
                    </a:p>
                  </a:txBody>
                  <a:tcPr marL="0" marR="0" marT="0" marB="0" anchor="ctr">
                    <a:lnL w="9525" cap="flat" cmpd="sng" algn="ctr">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ctr" defTabSz="914400" rtl="0" eaLnBrk="1" fontAlgn="auto" latinLnBrk="0" hangingPunct="1">
                        <a:lnSpc>
                          <a:spcPct val="100000"/>
                        </a:lnSpc>
                        <a:spcBef>
                          <a:spcPts val="0"/>
                        </a:spcBef>
                        <a:spcAft>
                          <a:spcPts val="0"/>
                        </a:spcAft>
                        <a:buClr>
                          <a:srgbClr val="000000"/>
                        </a:buClr>
                        <a:buSzPts val="1050"/>
                        <a:buFont typeface="PT Serif"/>
                        <a:buNone/>
                        <a:tabLst/>
                        <a:defRPr/>
                      </a:pPr>
                      <a:endParaRPr kumimoji="0" lang="en-US" sz="1000" b="0" i="0" u="none" strike="noStrike" kern="0" cap="none" spc="0" normalizeH="0" baseline="0" noProof="0">
                        <a:ln>
                          <a:noFill/>
                        </a:ln>
                        <a:solidFill>
                          <a:srgbClr val="303A46"/>
                        </a:solidFill>
                        <a:effectLst/>
                        <a:uLnTx/>
                        <a:uFillTx/>
                        <a:latin typeface="Source Sans Pro" panose="020B0503030403020204" pitchFamily="34" charset="0"/>
                        <a:ea typeface="Source Sans Pro" panose="020B0503030403020204" pitchFamily="34" charset="0"/>
                        <a:cs typeface="Source Sans Pro"/>
                        <a:sym typeface="Source Sans Pro"/>
                      </a:endParaRPr>
                    </a:p>
                    <a:p>
                      <a:pPr marL="0" marR="0" lvl="0" indent="0" algn="ctr" defTabSz="914400" rtl="0" eaLnBrk="1" fontAlgn="auto" latinLnBrk="0" hangingPunct="1">
                        <a:lnSpc>
                          <a:spcPct val="100000"/>
                        </a:lnSpc>
                        <a:spcBef>
                          <a:spcPts val="0"/>
                        </a:spcBef>
                        <a:spcAft>
                          <a:spcPts val="0"/>
                        </a:spcAft>
                        <a:buClr>
                          <a:srgbClr val="000000"/>
                        </a:buClr>
                        <a:buSzPts val="1050"/>
                        <a:buFont typeface="PT Serif"/>
                        <a:buNone/>
                        <a:tabLst/>
                        <a:defRPr/>
                      </a:pPr>
                      <a:r>
                        <a:rPr kumimoji="0" lang="en-US" sz="1000" b="0" i="0" u="none" strike="noStrike" kern="0" cap="none" spc="0" normalizeH="0" baseline="0" noProof="0">
                          <a:ln>
                            <a:noFill/>
                          </a:ln>
                          <a:solidFill>
                            <a:srgbClr val="303A46"/>
                          </a:solidFill>
                          <a:effectLst/>
                          <a:uLnTx/>
                          <a:uFillTx/>
                          <a:latin typeface="Source Sans Pro"/>
                          <a:ea typeface="Source Sans Pro"/>
                          <a:cs typeface="Source Sans Pro"/>
                          <a:sym typeface="Source Sans Pro"/>
                        </a:rPr>
                        <a:t>✓</a:t>
                      </a:r>
                    </a:p>
                  </a:txBody>
                  <a:tcPr marL="0" marR="0" marT="0" marB="0">
                    <a:lnL w="9525" cap="flat" cmpd="sng" algn="ctr">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extLst>
                  <a:ext uri="{0D108BD9-81ED-4DB2-BD59-A6C34878D82A}">
                    <a16:rowId xmlns:a16="http://schemas.microsoft.com/office/drawing/2014/main" val="1162473202"/>
                  </a:ext>
                </a:extLst>
              </a:tr>
              <a:tr h="349735">
                <a:tc>
                  <a:txBody>
                    <a:bodyPr/>
                    <a:lstStyle/>
                    <a:p>
                      <a:pPr marL="0" marR="0" lvl="0" indent="0" algn="l" rtl="0">
                        <a:lnSpc>
                          <a:spcPct val="100000"/>
                        </a:lnSpc>
                        <a:spcBef>
                          <a:spcPts val="0"/>
                        </a:spcBef>
                        <a:spcAft>
                          <a:spcPts val="0"/>
                        </a:spcAft>
                        <a:buClr>
                          <a:schemeClr val="dk2"/>
                        </a:buClr>
                        <a:buSzPts val="1050"/>
                        <a:buFont typeface="PT Serif"/>
                        <a:buNone/>
                      </a:pPr>
                      <a:r>
                        <a:rPr lang="en-US" sz="1000" b="0" i="0" u="none" strike="noStrike" cap="none">
                          <a:solidFill>
                            <a:schemeClr val="dk2"/>
                          </a:solidFill>
                          <a:latin typeface="Source Sans Pro"/>
                          <a:ea typeface="Source Sans Pro"/>
                          <a:cs typeface="Source Sans Pro"/>
                          <a:sym typeface="Source Sans Pro"/>
                        </a:rPr>
                        <a:t>PM</a:t>
                      </a:r>
                      <a:endParaRPr sz="1000" u="none" strike="noStrike" cap="none">
                        <a:latin typeface="Source Sans Pro"/>
                        <a:ea typeface="Source Sans Pro"/>
                        <a:cs typeface="Source Sans Pro"/>
                        <a:sym typeface="Source Sans Pro"/>
                      </a:endParaRPr>
                    </a:p>
                  </a:txBody>
                  <a:tcPr marL="0" marR="365750" marT="0" marB="0" anchor="ctr">
                    <a:lnL w="9525" cap="flat" cmpd="sng">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1"/>
                        </a:buClr>
                        <a:buSzPts val="1050"/>
                        <a:buFont typeface="PT Serif"/>
                        <a:buNone/>
                      </a:pPr>
                      <a:r>
                        <a:rPr lang="en-US" sz="1000" b="0" i="0" u="none" strike="noStrike" cap="none">
                          <a:solidFill>
                            <a:schemeClr val="dk1"/>
                          </a:solidFill>
                          <a:latin typeface="Source Sans Pro"/>
                          <a:ea typeface="Source Sans Pro"/>
                          <a:hlinkClick r:id="rId20"/>
                        </a:rPr>
                        <a:t>#39722 </a:t>
                      </a:r>
                      <a:r>
                        <a:rPr lang="en-US" sz="1000" b="0" i="0" u="none" strike="noStrike" cap="none">
                          <a:solidFill>
                            <a:schemeClr val="dk1"/>
                          </a:solidFill>
                          <a:latin typeface="Source Sans Pro"/>
                          <a:ea typeface="Source Sans Pro"/>
                        </a:rPr>
                        <a:t>PM team to f/u on 508 accessibility support ticket</a:t>
                      </a:r>
                      <a:endParaRPr lang="en-US" sz="1000" b="1" i="0" u="none" strike="noStrike" cap="none">
                        <a:solidFill>
                          <a:schemeClr val="bg2"/>
                        </a:solidFill>
                        <a:latin typeface="Source Sans Pro"/>
                        <a:ea typeface="Source Sans Pro"/>
                        <a:cs typeface="Source Sans Pro SemiBold"/>
                        <a:sym typeface="Source Sans Pro SemiBold"/>
                      </a:endParaRPr>
                    </a:p>
                  </a:txBody>
                  <a:tcPr marL="0" marR="0" marT="0" marB="0" anchor="ctr">
                    <a:lnL w="9525" cap="flat" cmpd="sng" algn="ctr">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chemeClr val="dk2"/>
                        </a:buClr>
                        <a:buSzPts val="1050"/>
                        <a:buFont typeface="PT Serif"/>
                        <a:buNone/>
                      </a:pPr>
                      <a:r>
                        <a:rPr lang="en-US" sz="1000" u="none" strike="noStrike" cap="none">
                          <a:latin typeface="Source Sans Pro"/>
                          <a:ea typeface="Source Sans Pro"/>
                          <a:cs typeface="Source Sans Pro"/>
                          <a:sym typeface="Source Sans Pro"/>
                        </a:rPr>
                        <a:t>0</a:t>
                      </a:r>
                    </a:p>
                  </a:txBody>
                  <a:tcPr marL="0" marR="0" marT="0" marB="0" anchor="ctr">
                    <a:lnL w="9525" cap="flat" cmpd="sng" algn="ctr">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2"/>
                        </a:buClr>
                        <a:buSzPts val="1050"/>
                        <a:buFont typeface="PT Serif"/>
                        <a:buNone/>
                      </a:pPr>
                      <a:r>
                        <a:rPr lang="en-US" sz="1000" u="none" strike="noStrike" cap="none">
                          <a:latin typeface="Source Sans Pro"/>
                          <a:ea typeface="Source Sans Pro"/>
                          <a:cs typeface="Source Sans Pro"/>
                          <a:sym typeface="Source Sans Pro"/>
                        </a:rPr>
                        <a:t>Tami Jordan</a:t>
                      </a:r>
                    </a:p>
                  </a:txBody>
                  <a:tcPr marL="0" marR="365750" marT="0" marB="0" anchor="ctr">
                    <a:lnL w="9525" cap="flat" cmpd="sng" algn="ctr">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120650" marR="0" lvl="0" indent="-120650" algn="l" rtl="0">
                        <a:lnSpc>
                          <a:spcPct val="100000"/>
                        </a:lnSpc>
                        <a:spcBef>
                          <a:spcPts val="0"/>
                        </a:spcBef>
                        <a:spcAft>
                          <a:spcPts val="0"/>
                        </a:spcAft>
                        <a:buClr>
                          <a:schemeClr val="dk1"/>
                        </a:buClr>
                        <a:buSzPts val="800"/>
                        <a:buFont typeface="Noto Sans Symbols"/>
                        <a:buChar char="▪"/>
                      </a:pPr>
                      <a:r>
                        <a:rPr lang="en-US" sz="1000" b="0" i="0" u="none" strike="noStrike" cap="none" err="1">
                          <a:solidFill>
                            <a:schemeClr val="dk1"/>
                          </a:solidFill>
                          <a:latin typeface="Source Sans Pro"/>
                          <a:ea typeface="Source Sans Pro"/>
                          <a:hlinkClick r:id="rId21"/>
                        </a:rPr>
                        <a:t>yourIT</a:t>
                      </a:r>
                      <a:r>
                        <a:rPr lang="en-US" sz="1000" b="0" i="0" u="none" strike="noStrike" cap="none">
                          <a:solidFill>
                            <a:schemeClr val="dk1"/>
                          </a:solidFill>
                          <a:latin typeface="Source Sans Pro"/>
                          <a:ea typeface="Source Sans Pro"/>
                          <a:hlinkClick r:id="rId21"/>
                        </a:rPr>
                        <a:t> ticket</a:t>
                      </a:r>
                      <a:endParaRPr lang="en-US" sz="1000" u="none">
                        <a:latin typeface="Source Sans Pro"/>
                        <a:ea typeface="Source Sans Pro"/>
                      </a:endParaRPr>
                    </a:p>
                  </a:txBody>
                  <a:tcPr marL="0" marR="0" marT="0" marB="0" anchor="ctr">
                    <a:lnL w="9525" cap="flat" cmpd="sng" algn="ctr">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defTabSz="914400" rtl="0" eaLnBrk="1" fontAlgn="auto" latinLnBrk="0" hangingPunct="1">
                        <a:lnSpc>
                          <a:spcPct val="100000"/>
                        </a:lnSpc>
                        <a:spcBef>
                          <a:spcPts val="0"/>
                        </a:spcBef>
                        <a:spcAft>
                          <a:spcPts val="0"/>
                        </a:spcAft>
                        <a:buClr>
                          <a:srgbClr val="000000"/>
                        </a:buClr>
                        <a:buSzPts val="1050"/>
                        <a:buFont typeface="PT Serif"/>
                        <a:buNone/>
                        <a:tabLst/>
                        <a:defRPr/>
                      </a:pPr>
                      <a:r>
                        <a:rPr lang="en-US" sz="1000" b="0" i="0" u="none" strike="noStrike" kern="0" cap="none" spc="0" normalizeH="0" baseline="0" noProof="0">
                          <a:ln>
                            <a:noFill/>
                          </a:ln>
                          <a:solidFill>
                            <a:srgbClr val="303A46"/>
                          </a:solidFill>
                          <a:effectLst/>
                          <a:uLnTx/>
                          <a:uFillTx/>
                          <a:latin typeface="Source Sans Pro"/>
                          <a:ea typeface="Source Sans Pro"/>
                          <a:cs typeface="Source Sans Pro"/>
                        </a:rPr>
                        <a:t>N/A</a:t>
                      </a:r>
                      <a:endParaRPr kumimoji="0" lang="en-US" sz="1000" b="0" i="0" u="none" strike="noStrike" kern="0" cap="none" spc="0" normalizeH="0" baseline="0" noProof="0">
                        <a:ln>
                          <a:noFill/>
                        </a:ln>
                        <a:solidFill>
                          <a:srgbClr val="303A46"/>
                        </a:solidFill>
                        <a:effectLst/>
                        <a:uLnTx/>
                        <a:uFillTx/>
                        <a:latin typeface="Source Sans Pro"/>
                        <a:ea typeface="Source Sans Pro"/>
                        <a:cs typeface="Source Sans Pro"/>
                        <a:sym typeface="Source Sans Pro"/>
                      </a:endParaRPr>
                    </a:p>
                  </a:txBody>
                  <a:tcPr marL="0" marR="0" marT="0" marB="0" anchor="ctr">
                    <a:lnL w="9525" cap="flat" cmpd="sng" algn="ctr">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ctr" defTabSz="914400" rtl="0" eaLnBrk="1" fontAlgn="auto" latinLnBrk="0" hangingPunct="1">
                        <a:lnSpc>
                          <a:spcPct val="100000"/>
                        </a:lnSpc>
                        <a:spcBef>
                          <a:spcPts val="0"/>
                        </a:spcBef>
                        <a:spcAft>
                          <a:spcPts val="0"/>
                        </a:spcAft>
                        <a:buClr>
                          <a:srgbClr val="000000"/>
                        </a:buClr>
                        <a:buSzPts val="1050"/>
                        <a:buFont typeface="PT Serif"/>
                        <a:buNone/>
                        <a:tabLst/>
                        <a:defRPr/>
                      </a:pPr>
                      <a:endParaRPr kumimoji="0" lang="en-US" sz="1000" b="0" i="0" u="none" strike="noStrike" kern="0" cap="none" spc="0" normalizeH="0" baseline="0" noProof="0">
                        <a:ln>
                          <a:noFill/>
                        </a:ln>
                        <a:solidFill>
                          <a:srgbClr val="303A46"/>
                        </a:solidFill>
                        <a:effectLst/>
                        <a:uLnTx/>
                        <a:uFillTx/>
                        <a:latin typeface="Source Sans Pro" panose="020B0503030403020204" pitchFamily="34" charset="0"/>
                        <a:ea typeface="Source Sans Pro" panose="020B0503030403020204" pitchFamily="34" charset="0"/>
                        <a:cs typeface="Source Sans Pro"/>
                        <a:sym typeface="Source Sans Pro"/>
                      </a:endParaRPr>
                    </a:p>
                    <a:p>
                      <a:pPr marL="0" marR="0" lvl="0" indent="0" algn="ctr" defTabSz="914400" rtl="0" eaLnBrk="1" fontAlgn="auto" latinLnBrk="0" hangingPunct="1">
                        <a:lnSpc>
                          <a:spcPct val="100000"/>
                        </a:lnSpc>
                        <a:spcBef>
                          <a:spcPts val="0"/>
                        </a:spcBef>
                        <a:spcAft>
                          <a:spcPts val="0"/>
                        </a:spcAft>
                        <a:buClr>
                          <a:srgbClr val="000000"/>
                        </a:buClr>
                        <a:buSzPts val="1050"/>
                        <a:buFont typeface="PT Serif"/>
                        <a:buNone/>
                        <a:tabLst/>
                        <a:defRPr/>
                      </a:pPr>
                      <a:r>
                        <a:rPr kumimoji="0" lang="en-US" sz="1000" b="0" i="0" u="none" strike="noStrike" kern="0" cap="none" spc="0" normalizeH="0" baseline="0" noProof="0">
                          <a:ln>
                            <a:noFill/>
                          </a:ln>
                          <a:solidFill>
                            <a:srgbClr val="303A46"/>
                          </a:solidFill>
                          <a:effectLst/>
                          <a:uLnTx/>
                          <a:uFillTx/>
                          <a:latin typeface="Source Sans Pro"/>
                          <a:ea typeface="Source Sans Pro"/>
                          <a:cs typeface="Source Sans Pro"/>
                          <a:sym typeface="Source Sans Pro"/>
                        </a:rPr>
                        <a:t>✓</a:t>
                      </a:r>
                    </a:p>
                  </a:txBody>
                  <a:tcPr marL="0" marR="0" marT="0" marB="0">
                    <a:lnL w="9525" cap="flat" cmpd="sng" algn="ctr">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extLst>
                  <a:ext uri="{0D108BD9-81ED-4DB2-BD59-A6C34878D82A}">
                    <a16:rowId xmlns:a16="http://schemas.microsoft.com/office/drawing/2014/main" val="3341655865"/>
                  </a:ext>
                </a:extLst>
              </a:tr>
            </a:tbl>
          </a:graphicData>
        </a:graphic>
      </p:graphicFrame>
      <p:sp>
        <p:nvSpPr>
          <p:cNvPr id="695" name="Google Shape;695;p20"/>
          <p:cNvSpPr txBox="1"/>
          <p:nvPr/>
        </p:nvSpPr>
        <p:spPr>
          <a:xfrm>
            <a:off x="10140593" y="6408650"/>
            <a:ext cx="1500232" cy="276959"/>
          </a:xfrm>
          <a:prstGeom prst="rect">
            <a:avLst/>
          </a:prstGeom>
          <a:noFill/>
          <a:ln>
            <a:noFill/>
          </a:ln>
        </p:spPr>
        <p:txBody>
          <a:bodyPr spcFirstLastPara="1" wrap="square" lIns="91425" tIns="45700" rIns="91425" bIns="45700" anchor="t" anchorCtr="0">
            <a:spAutoFit/>
          </a:bodyPr>
          <a:lstStyle/>
          <a:p>
            <a:pPr marL="0" marR="0" lvl="0" indent="0" algn="r" rtl="0">
              <a:spcBef>
                <a:spcPts val="0"/>
              </a:spcBef>
              <a:spcAft>
                <a:spcPts val="0"/>
              </a:spcAft>
              <a:buClr>
                <a:srgbClr val="747C74"/>
              </a:buClr>
              <a:buSzPts val="1200"/>
              <a:buFont typeface="Source Sans Pro"/>
              <a:buNone/>
            </a:pPr>
            <a:r>
              <a:rPr lang="en-US" sz="1200">
                <a:solidFill>
                  <a:srgbClr val="747C74"/>
                </a:solidFill>
                <a:latin typeface="Source Sans Pro"/>
                <a:ea typeface="Source Sans Pro"/>
                <a:cs typeface="Source Sans Pro"/>
                <a:sym typeface="Source Sans Pro"/>
              </a:rPr>
              <a:t>Sprint 6 Deliverables</a:t>
            </a:r>
            <a:endParaRPr sz="1800">
              <a:solidFill>
                <a:schemeClr val="dk1"/>
              </a:solidFill>
              <a:latin typeface="Calibri"/>
              <a:ea typeface="Calibri"/>
              <a:cs typeface="Calibri"/>
              <a:sym typeface="Calibri"/>
            </a:endParaRPr>
          </a:p>
        </p:txBody>
      </p:sp>
      <p:sp>
        <p:nvSpPr>
          <p:cNvPr id="4" name="Google Shape;337;p6">
            <a:extLst>
              <a:ext uri="{FF2B5EF4-FFF2-40B4-BE49-F238E27FC236}">
                <a16:creationId xmlns:a16="http://schemas.microsoft.com/office/drawing/2014/main" id="{9AFC4AAF-F922-425A-B866-F54294711148}"/>
              </a:ext>
            </a:extLst>
          </p:cNvPr>
          <p:cNvSpPr txBox="1"/>
          <p:nvPr/>
        </p:nvSpPr>
        <p:spPr>
          <a:xfrm>
            <a:off x="419100" y="6408650"/>
            <a:ext cx="2723465" cy="276999"/>
          </a:xfrm>
          <a:prstGeom prst="rect">
            <a:avLst/>
          </a:prstGeom>
          <a:noFill/>
          <a:ln>
            <a:noFill/>
          </a:ln>
        </p:spPr>
        <p:txBody>
          <a:bodyPr spcFirstLastPara="1" wrap="square" lIns="0" tIns="45700" rIns="91425" bIns="45700" anchor="t" anchorCtr="0">
            <a:spAutoFit/>
          </a:bodyPr>
          <a:lstStyle/>
          <a:p>
            <a:pPr marL="0" marR="0" lvl="0" indent="0" algn="l" rtl="0">
              <a:spcBef>
                <a:spcPts val="0"/>
              </a:spcBef>
              <a:spcAft>
                <a:spcPts val="0"/>
              </a:spcAft>
              <a:buNone/>
            </a:pPr>
            <a:r>
              <a:rPr lang="en-US" sz="1200" b="0" i="0" u="none" strike="noStrike" cap="none">
                <a:solidFill>
                  <a:srgbClr val="747C74"/>
                </a:solidFill>
                <a:latin typeface="Source Sans Pro"/>
                <a:ea typeface="Source Sans Pro"/>
                <a:cs typeface="Source Sans Pro"/>
                <a:sym typeface="Source Sans Pro"/>
              </a:rPr>
              <a:t>04-19 Sprint 6 Demo</a:t>
            </a:r>
            <a:endParaRPr sz="1200" b="0" i="0" u="none" strike="noStrike" cap="none">
              <a:solidFill>
                <a:srgbClr val="747C74"/>
              </a:solidFill>
              <a:latin typeface="Calibri"/>
              <a:ea typeface="Calibri"/>
              <a:cs typeface="Calibri"/>
              <a:sym typeface="Calibri"/>
            </a:endParaRPr>
          </a:p>
        </p:txBody>
      </p:sp>
    </p:spTree>
    <p:extLst>
      <p:ext uri="{BB962C8B-B14F-4D97-AF65-F5344CB8AC3E}">
        <p14:creationId xmlns:p14="http://schemas.microsoft.com/office/powerpoint/2010/main" val="298290728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Shape 691"/>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339F7FD-B9B1-4B3D-82B8-0B1D2490A08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6561" name="think-cell Slide" r:id="rId5" imgW="395" imgH="396" progId="TCLayout.ActiveDocument.1">
                  <p:embed/>
                </p:oleObj>
              </mc:Choice>
              <mc:Fallback>
                <p:oleObj name="think-cell Slide" r:id="rId5" imgW="395" imgH="396" progId="TCLayout.ActiveDocument.1">
                  <p:embed/>
                  <p:pic>
                    <p:nvPicPr>
                      <p:cNvPr id="3" name="Object 2" hidden="1">
                        <a:extLst>
                          <a:ext uri="{FF2B5EF4-FFF2-40B4-BE49-F238E27FC236}">
                            <a16:creationId xmlns:a16="http://schemas.microsoft.com/office/drawing/2014/main" id="{E339F7FD-B9B1-4B3D-82B8-0B1D2490A08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92" name="Google Shape;692;p20"/>
          <p:cNvSpPr txBox="1">
            <a:spLocks noGrp="1"/>
          </p:cNvSpPr>
          <p:nvPr>
            <p:ph type="title"/>
          </p:nvPr>
        </p:nvSpPr>
        <p:spPr>
          <a:xfrm>
            <a:off x="312812" y="373491"/>
            <a:ext cx="11353800" cy="746983"/>
          </a:xfrm>
          <a:prstGeom prst="rect">
            <a:avLst/>
          </a:prstGeom>
          <a:noFill/>
          <a:ln>
            <a:noFill/>
          </a:ln>
        </p:spPr>
        <p:txBody>
          <a:bodyPr spcFirstLastPara="1" wrap="square" lIns="91425" tIns="45700" rIns="91425" bIns="45700" anchor="t" anchorCtr="0">
            <a:normAutofit/>
          </a:bodyPr>
          <a:lstStyle/>
          <a:p>
            <a:r>
              <a:rPr lang="en-US" sz="3200"/>
              <a:t>Sprint 6 Deliverables Community Care </a:t>
            </a:r>
          </a:p>
        </p:txBody>
      </p:sp>
      <p:sp>
        <p:nvSpPr>
          <p:cNvPr id="693" name="Google Shape;693;p20"/>
          <p:cNvSpPr txBox="1">
            <a:spLocks noGrp="1"/>
          </p:cNvSpPr>
          <p:nvPr>
            <p:ph type="sldNum" idx="12"/>
          </p:nvPr>
        </p:nvSpPr>
        <p:spPr>
          <a:xfrm>
            <a:off x="11474969" y="6363970"/>
            <a:ext cx="406052" cy="365125"/>
          </a:xfrm>
          <a:prstGeom prst="rect">
            <a:avLst/>
          </a:prstGeom>
          <a:noFill/>
          <a:ln>
            <a:noFill/>
          </a:ln>
        </p:spPr>
        <p:txBody>
          <a:bodyPr spcFirstLastPara="1" wrap="square" lIns="91425" tIns="45700" rIns="91425" bIns="45700" anchor="ctr" anchorCtr="0">
            <a:noAutofit/>
          </a:bodyPr>
          <a:lstStyle/>
          <a:p>
            <a:pPr marL="0" lvl="0" indent="0" algn="r" rtl="0">
              <a:spcBef>
                <a:spcPts val="0"/>
              </a:spcBef>
              <a:spcAft>
                <a:spcPts val="0"/>
              </a:spcAft>
              <a:buNone/>
            </a:pPr>
            <a:fld id="{00000000-1234-1234-1234-123412341234}" type="slidenum">
              <a:rPr lang="en-US">
                <a:latin typeface="Source Sans Pro"/>
                <a:ea typeface="Source Sans Pro"/>
                <a:cs typeface="Source Sans Pro"/>
                <a:sym typeface="Source Sans Pro"/>
              </a:rPr>
              <a:t>22</a:t>
            </a:fld>
            <a:endParaRPr>
              <a:latin typeface="Source Sans Pro"/>
              <a:ea typeface="Source Sans Pro"/>
              <a:cs typeface="Source Sans Pro"/>
              <a:sym typeface="Source Sans Pro"/>
            </a:endParaRPr>
          </a:p>
        </p:txBody>
      </p:sp>
      <p:graphicFrame>
        <p:nvGraphicFramePr>
          <p:cNvPr id="694" name="Google Shape;694;p20"/>
          <p:cNvGraphicFramePr/>
          <p:nvPr>
            <p:extLst>
              <p:ext uri="{D42A27DB-BD31-4B8C-83A1-F6EECF244321}">
                <p14:modId xmlns:p14="http://schemas.microsoft.com/office/powerpoint/2010/main" val="1914297331"/>
              </p:ext>
            </p:extLst>
          </p:nvPr>
        </p:nvGraphicFramePr>
        <p:xfrm>
          <a:off x="431214" y="1030271"/>
          <a:ext cx="11329571" cy="1908334"/>
        </p:xfrm>
        <a:graphic>
          <a:graphicData uri="http://schemas.openxmlformats.org/drawingml/2006/table">
            <a:tbl>
              <a:tblPr>
                <a:noFill/>
                <a:tableStyleId>{1F4BC13E-62C9-4DB2-9D77-78E559E1D0AC}</a:tableStyleId>
              </a:tblPr>
              <a:tblGrid>
                <a:gridCol w="824272">
                  <a:extLst>
                    <a:ext uri="{9D8B030D-6E8A-4147-A177-3AD203B41FA5}">
                      <a16:colId xmlns:a16="http://schemas.microsoft.com/office/drawing/2014/main" val="20000"/>
                    </a:ext>
                  </a:extLst>
                </a:gridCol>
                <a:gridCol w="4085545">
                  <a:extLst>
                    <a:ext uri="{9D8B030D-6E8A-4147-A177-3AD203B41FA5}">
                      <a16:colId xmlns:a16="http://schemas.microsoft.com/office/drawing/2014/main" val="20001"/>
                    </a:ext>
                  </a:extLst>
                </a:gridCol>
                <a:gridCol w="747202">
                  <a:extLst>
                    <a:ext uri="{9D8B030D-6E8A-4147-A177-3AD203B41FA5}">
                      <a16:colId xmlns:a16="http://schemas.microsoft.com/office/drawing/2014/main" val="20002"/>
                    </a:ext>
                  </a:extLst>
                </a:gridCol>
                <a:gridCol w="914146">
                  <a:extLst>
                    <a:ext uri="{9D8B030D-6E8A-4147-A177-3AD203B41FA5}">
                      <a16:colId xmlns:a16="http://schemas.microsoft.com/office/drawing/2014/main" val="20003"/>
                    </a:ext>
                  </a:extLst>
                </a:gridCol>
                <a:gridCol w="2039353">
                  <a:extLst>
                    <a:ext uri="{9D8B030D-6E8A-4147-A177-3AD203B41FA5}">
                      <a16:colId xmlns:a16="http://schemas.microsoft.com/office/drawing/2014/main" val="20004"/>
                    </a:ext>
                  </a:extLst>
                </a:gridCol>
                <a:gridCol w="1358880">
                  <a:extLst>
                    <a:ext uri="{9D8B030D-6E8A-4147-A177-3AD203B41FA5}">
                      <a16:colId xmlns:a16="http://schemas.microsoft.com/office/drawing/2014/main" val="20005"/>
                    </a:ext>
                  </a:extLst>
                </a:gridCol>
                <a:gridCol w="1360173">
                  <a:extLst>
                    <a:ext uri="{9D8B030D-6E8A-4147-A177-3AD203B41FA5}">
                      <a16:colId xmlns:a16="http://schemas.microsoft.com/office/drawing/2014/main" val="20006"/>
                    </a:ext>
                  </a:extLst>
                </a:gridCol>
              </a:tblGrid>
              <a:tr h="362504">
                <a:tc>
                  <a:txBody>
                    <a:bodyPr/>
                    <a:lstStyle/>
                    <a:p>
                      <a:pPr marL="0" marR="0" lvl="0" indent="0" algn="l" rtl="0">
                        <a:spcBef>
                          <a:spcPts val="0"/>
                        </a:spcBef>
                        <a:spcAft>
                          <a:spcPts val="0"/>
                        </a:spcAft>
                        <a:buClr>
                          <a:schemeClr val="accent1"/>
                        </a:buClr>
                        <a:buSzPts val="1100"/>
                        <a:buFont typeface="Source Sans Pro SemiBold"/>
                        <a:buNone/>
                      </a:pPr>
                      <a:r>
                        <a:rPr lang="en-US" sz="1000" u="none" strike="noStrike" cap="none">
                          <a:solidFill>
                            <a:schemeClr val="accent1"/>
                          </a:solidFill>
                          <a:latin typeface="Source Sans Pro SemiBold"/>
                          <a:ea typeface="Source Sans Pro SemiBold"/>
                          <a:cs typeface="Source Sans Pro SemiBold"/>
                          <a:sym typeface="Source Sans Pro SemiBold"/>
                        </a:rPr>
                        <a:t>EPIC</a:t>
                      </a:r>
                      <a:endParaRPr sz="1000">
                        <a:latin typeface="Source Sans Pro SemiBold"/>
                        <a:ea typeface="Source Sans Pro SemiBold"/>
                        <a:cs typeface="Source Sans Pro SemiBold"/>
                        <a:sym typeface="Source Sans Pro SemiBold"/>
                      </a:endParaRPr>
                    </a:p>
                  </a:txBody>
                  <a:tcPr marL="0" marR="91450" marT="9144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12700" cap="flat" cmpd="sng" algn="ctr">
                      <a:solidFill>
                        <a:schemeClr val="tx1"/>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rgbClr val="022D50"/>
                        </a:buClr>
                        <a:buSzPts val="1100"/>
                        <a:buFont typeface="Source Sans Pro SemiBold"/>
                        <a:buNone/>
                      </a:pPr>
                      <a:r>
                        <a:rPr lang="en-US" sz="1000" b="0" i="0" u="none" strike="noStrike" cap="none">
                          <a:solidFill>
                            <a:srgbClr val="022D50"/>
                          </a:solidFill>
                          <a:latin typeface="Source Sans Pro SemiBold"/>
                          <a:ea typeface="Source Sans Pro SemiBold"/>
                          <a:cs typeface="Source Sans Pro SemiBold"/>
                          <a:sym typeface="Source Sans Pro SemiBold"/>
                        </a:rPr>
                        <a:t>STORY</a:t>
                      </a:r>
                      <a:endParaRPr sz="1000" b="0" i="0" u="none" strike="noStrike" cap="none">
                        <a:solidFill>
                          <a:srgbClr val="202120"/>
                        </a:solidFill>
                        <a:latin typeface="Source Sans Pro SemiBold"/>
                        <a:ea typeface="Source Sans Pro SemiBold"/>
                        <a:cs typeface="Source Sans Pro SemiBold"/>
                        <a:sym typeface="Source Sans Pro SemiBold"/>
                      </a:endParaRPr>
                    </a:p>
                  </a:txBody>
                  <a:tcPr marL="0" marR="91450" marT="9144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12700" cap="flat" cmpd="sng" algn="ctr">
                      <a:solidFill>
                        <a:schemeClr val="tx1"/>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accent1"/>
                        </a:buClr>
                        <a:buSzPts val="1400"/>
                        <a:buFont typeface="Source Sans Pro SemiBold"/>
                        <a:buNone/>
                      </a:pPr>
                      <a:r>
                        <a:rPr lang="en-US" sz="1000" b="1" i="0" u="none" strike="noStrike">
                          <a:solidFill>
                            <a:schemeClr val="accent1"/>
                          </a:solidFill>
                          <a:latin typeface="Source Sans Pro Semibold"/>
                          <a:ea typeface="Source Sans Pro Semibold"/>
                          <a:cs typeface="Source Sans Pro Semibold"/>
                          <a:sym typeface="Source Sans Pro SemiBold"/>
                        </a:rPr>
                        <a:t>ESTIMATE</a:t>
                      </a:r>
                      <a:endParaRPr sz="1000">
                        <a:latin typeface="Source Sans Pro SemiBold"/>
                        <a:ea typeface="Source Sans Pro SemiBold"/>
                        <a:cs typeface="Source Sans Pro SemiBold"/>
                        <a:sym typeface="Source Sans Pro SemiBold"/>
                      </a:endParaRPr>
                    </a:p>
                  </a:txBody>
                  <a:tcPr marL="0" marR="91450" marT="9144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12700" cap="flat" cmpd="sng" algn="ctr">
                      <a:solidFill>
                        <a:schemeClr val="tx1"/>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rgbClr val="022D50"/>
                        </a:buClr>
                        <a:buSzPts val="1400"/>
                        <a:buFont typeface="Source Sans Pro SemiBold"/>
                        <a:buNone/>
                      </a:pPr>
                      <a:r>
                        <a:rPr lang="en-US" sz="1000" b="1" i="0" u="none" strike="noStrike" cap="none">
                          <a:solidFill>
                            <a:srgbClr val="022D50"/>
                          </a:solidFill>
                          <a:latin typeface="Source Sans Pro Semibold"/>
                          <a:ea typeface="Source Sans Pro Semibold"/>
                          <a:cs typeface="Source Sans Pro Semibold"/>
                          <a:sym typeface="Source Sans Pro SemiBold"/>
                        </a:rPr>
                        <a:t>ASSIGNED</a:t>
                      </a:r>
                      <a:endParaRPr sz="1000" b="0" i="0" u="none" strike="noStrike" cap="none">
                        <a:solidFill>
                          <a:srgbClr val="202120"/>
                        </a:solidFill>
                        <a:latin typeface="Source Sans Pro SemiBold"/>
                        <a:ea typeface="Source Sans Pro SemiBold"/>
                        <a:cs typeface="Source Sans Pro SemiBold"/>
                        <a:sym typeface="Source Sans Pro SemiBold"/>
                      </a:endParaRPr>
                    </a:p>
                  </a:txBody>
                  <a:tcPr marL="0" marR="91450" marT="9144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12700" cap="flat" cmpd="sng" algn="ctr">
                      <a:solidFill>
                        <a:schemeClr val="tx1"/>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rgbClr val="022D50"/>
                        </a:buClr>
                        <a:buSzPts val="1400"/>
                        <a:buFont typeface="Source Sans Pro SemiBold"/>
                        <a:buNone/>
                      </a:pPr>
                      <a:r>
                        <a:rPr lang="en-US" sz="1000" b="1" i="0" u="none" strike="noStrike" cap="none">
                          <a:solidFill>
                            <a:srgbClr val="022D50"/>
                          </a:solidFill>
                          <a:latin typeface="Source Sans Pro Semibold"/>
                          <a:ea typeface="Source Sans Pro Semibold"/>
                          <a:cs typeface="Source Sans Pro Semibold"/>
                          <a:sym typeface="Source Sans Pro SemiBold"/>
                        </a:rPr>
                        <a:t>OUTPUT</a:t>
                      </a:r>
                      <a:endParaRPr sz="1000" b="0" i="0" u="none" strike="noStrike" cap="none">
                        <a:solidFill>
                          <a:srgbClr val="202120"/>
                        </a:solidFill>
                        <a:latin typeface="Source Sans Pro SemiBold"/>
                        <a:ea typeface="Source Sans Pro SemiBold"/>
                        <a:cs typeface="Source Sans Pro SemiBold"/>
                        <a:sym typeface="Source Sans Pro SemiBold"/>
                      </a:endParaRPr>
                    </a:p>
                  </a:txBody>
                  <a:tcPr marL="0" marR="0" marT="9144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12700" cap="flat" cmpd="sng" algn="ctr">
                      <a:solidFill>
                        <a:schemeClr val="tx1"/>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rgbClr val="022D50"/>
                        </a:buClr>
                        <a:buSzPts val="1400"/>
                        <a:buFont typeface="Source Sans Pro SemiBold"/>
                        <a:buNone/>
                      </a:pPr>
                      <a:r>
                        <a:rPr lang="en-US" sz="1000" b="1" i="0" u="none" strike="noStrike" cap="none">
                          <a:solidFill>
                            <a:srgbClr val="022D50"/>
                          </a:solidFill>
                          <a:latin typeface="Source Sans Pro Semibold"/>
                          <a:ea typeface="Source Sans Pro Semibold"/>
                          <a:cs typeface="Source Sans Pro Semibold"/>
                          <a:sym typeface="Source Sans Pro SemiBold"/>
                        </a:rPr>
                        <a:t>REVIEWED W/ VA-PO</a:t>
                      </a:r>
                      <a:endParaRPr sz="1000" b="0" i="0" u="none" strike="noStrike" cap="none">
                        <a:solidFill>
                          <a:srgbClr val="202120"/>
                        </a:solidFill>
                        <a:latin typeface="Source Sans Pro SemiBold"/>
                        <a:ea typeface="Source Sans Pro SemiBold"/>
                        <a:cs typeface="Source Sans Pro SemiBold"/>
                        <a:sym typeface="Source Sans Pro SemiBold"/>
                      </a:endParaRPr>
                    </a:p>
                  </a:txBody>
                  <a:tcPr marL="0" marR="0" marT="9144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12700" cap="flat" cmpd="sng" algn="ctr">
                      <a:solidFill>
                        <a:schemeClr val="tx1"/>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accent1"/>
                        </a:buClr>
                        <a:buSzPts val="1400"/>
                        <a:buFont typeface="Source Sans Pro SemiBold"/>
                        <a:buNone/>
                      </a:pPr>
                      <a:r>
                        <a:rPr lang="en-US" sz="1000" b="1" i="0" u="none" strike="noStrike">
                          <a:solidFill>
                            <a:schemeClr val="accent1"/>
                          </a:solidFill>
                          <a:latin typeface="Source Sans Pro Semibold"/>
                          <a:ea typeface="Source Sans Pro Semibold"/>
                          <a:cs typeface="Source Sans Pro Semibold"/>
                          <a:sym typeface="Source Sans Pro SemiBold"/>
                        </a:rPr>
                        <a:t>SPRINT TEAM GOAL COMPLETED?</a:t>
                      </a:r>
                      <a:endParaRPr sz="1000">
                        <a:latin typeface="Source Sans Pro SemiBold"/>
                        <a:ea typeface="Source Sans Pro SemiBold"/>
                        <a:cs typeface="Source Sans Pro SemiBold"/>
                        <a:sym typeface="Source Sans Pro SemiBold"/>
                      </a:endParaRPr>
                    </a:p>
                  </a:txBody>
                  <a:tcPr marL="91450" marR="91450" marT="0" marB="0">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12700" cap="flat" cmpd="sng" algn="ctr">
                      <a:solidFill>
                        <a:schemeClr val="tx1"/>
                      </a:solidFill>
                      <a:prstDash val="solid"/>
                      <a:round/>
                      <a:headEnd type="none" w="sm" len="sm"/>
                      <a:tailEnd type="none" w="sm" len="sm"/>
                    </a:lnB>
                  </a:tcPr>
                </a:tc>
                <a:extLst>
                  <a:ext uri="{0D108BD9-81ED-4DB2-BD59-A6C34878D82A}">
                    <a16:rowId xmlns:a16="http://schemas.microsoft.com/office/drawing/2014/main" val="10000"/>
                  </a:ext>
                </a:extLst>
              </a:tr>
              <a:tr h="503619">
                <a:tc>
                  <a:txBody>
                    <a:bodyPr/>
                    <a:lstStyle/>
                    <a:p>
                      <a:pPr marL="0" marR="0" lvl="0" indent="0" algn="l" rtl="0">
                        <a:lnSpc>
                          <a:spcPct val="100000"/>
                        </a:lnSpc>
                        <a:spcBef>
                          <a:spcPts val="0"/>
                        </a:spcBef>
                        <a:spcAft>
                          <a:spcPts val="0"/>
                        </a:spcAft>
                        <a:buClr>
                          <a:schemeClr val="dk2"/>
                        </a:buClr>
                        <a:buSzPts val="1050"/>
                        <a:buFont typeface="PT Serif"/>
                        <a:buNone/>
                      </a:pPr>
                      <a:r>
                        <a:rPr lang="en-US" sz="1000" b="0" i="0" u="none" strike="noStrike" cap="none">
                          <a:solidFill>
                            <a:schemeClr val="dk2"/>
                          </a:solidFill>
                          <a:latin typeface="Source Sans Pro"/>
                          <a:ea typeface="Source Sans Pro"/>
                          <a:cs typeface="Source Sans Pro"/>
                          <a:sym typeface="Source Sans Pro"/>
                        </a:rPr>
                        <a:t>P</a:t>
                      </a:r>
                      <a:endParaRPr sz="1000" u="none" strike="noStrike" cap="none">
                        <a:latin typeface="Source Sans Pro"/>
                        <a:ea typeface="Source Sans Pro"/>
                        <a:cs typeface="Source Sans Pro"/>
                        <a:sym typeface="Source Sans Pro"/>
                      </a:endParaRPr>
                    </a:p>
                  </a:txBody>
                  <a:tcPr marL="0" marR="36575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12700" cap="flat" cmpd="sng">
                      <a:solidFill>
                        <a:schemeClr val="tx1"/>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rtl="0" eaLnBrk="1" fontAlgn="auto" latinLnBrk="0" hangingPunct="1">
                        <a:lnSpc>
                          <a:spcPct val="100000"/>
                        </a:lnSpc>
                        <a:spcBef>
                          <a:spcPts val="0"/>
                        </a:spcBef>
                        <a:spcAft>
                          <a:spcPts val="0"/>
                        </a:spcAft>
                        <a:buClr>
                          <a:schemeClr val="dk1"/>
                        </a:buClr>
                        <a:buSzPts val="1050"/>
                        <a:buFont typeface="PT Serif"/>
                        <a:buNone/>
                      </a:pPr>
                      <a:r>
                        <a:rPr lang="en-US" sz="1000" b="0" i="0" u="none" strike="noStrike" cap="none">
                          <a:solidFill>
                            <a:schemeClr val="dk1"/>
                          </a:solidFill>
                          <a:latin typeface="Source Sans Pro"/>
                          <a:ea typeface="Source Sans Pro"/>
                        </a:rPr>
                        <a:t> </a:t>
                      </a:r>
                      <a:r>
                        <a:rPr lang="en-US" sz="1000" b="0" i="0" u="none" strike="noStrike" cap="none">
                          <a:solidFill>
                            <a:schemeClr val="dk1"/>
                          </a:solidFill>
                          <a:latin typeface="Source Sans Pro"/>
                          <a:ea typeface="Source Sans Pro"/>
                          <a:hlinkClick r:id="rId7"/>
                        </a:rPr>
                        <a:t>#39657 </a:t>
                      </a:r>
                      <a:r>
                        <a:rPr lang="en-US" sz="1000" b="0" i="0" u="none" strike="noStrike" cap="none">
                          <a:solidFill>
                            <a:schemeClr val="dk1"/>
                          </a:solidFill>
                          <a:latin typeface="Source Sans Pro"/>
                          <a:ea typeface="Source Sans Pro"/>
                        </a:rPr>
                        <a:t>CC: Iterate journey map based on additional findings from discovery activities</a:t>
                      </a:r>
                      <a:endParaRPr sz="1000" b="1" i="0" u="none" strike="noStrike" cap="none">
                        <a:solidFill>
                          <a:schemeClr val="bg2"/>
                        </a:solidFill>
                        <a:latin typeface="Source Sans Pro"/>
                        <a:ea typeface="Source Sans Pro"/>
                        <a:cs typeface="Source Sans Pro SemiBold"/>
                        <a:sym typeface="Source Sans Pro SemiBold"/>
                      </a:endParaRPr>
                    </a:p>
                  </a:txBody>
                  <a:tcPr marL="0" marR="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12700" cap="flat" cmpd="sng">
                      <a:solidFill>
                        <a:schemeClr val="tx1"/>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chemeClr val="dk2"/>
                        </a:buClr>
                        <a:buSzPts val="1050"/>
                        <a:buFont typeface="PT Serif"/>
                        <a:buNone/>
                      </a:pPr>
                      <a:r>
                        <a:rPr lang="en-US" sz="1000" u="none" strike="noStrike" cap="none">
                          <a:latin typeface="Source Sans Pro"/>
                          <a:ea typeface="Source Sans Pro"/>
                          <a:cs typeface="Source Sans Pro"/>
                          <a:sym typeface="Source Sans Pro"/>
                        </a:rPr>
                        <a:t>8</a:t>
                      </a:r>
                      <a:endParaRPr sz="1000" u="none" strike="noStrike" cap="none">
                        <a:latin typeface="Source Sans Pro"/>
                        <a:ea typeface="Source Sans Pro"/>
                        <a:cs typeface="Source Sans Pro"/>
                        <a:sym typeface="Source Sans Pro"/>
                      </a:endParaRPr>
                    </a:p>
                  </a:txBody>
                  <a:tcPr marL="0" marR="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12700" cap="flat" cmpd="sng">
                      <a:solidFill>
                        <a:schemeClr val="tx1"/>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2"/>
                        </a:buClr>
                        <a:buSzPts val="1050"/>
                        <a:buFont typeface="PT Serif"/>
                        <a:buNone/>
                      </a:pPr>
                      <a:r>
                        <a:rPr lang="en-US" sz="1000" u="none" strike="noStrike" cap="none">
                          <a:latin typeface="Source Sans Pro"/>
                          <a:ea typeface="Source Sans Pro"/>
                          <a:cs typeface="Source Sans Pro"/>
                          <a:sym typeface="Source Sans Pro"/>
                        </a:rPr>
                        <a:t>James</a:t>
                      </a:r>
                    </a:p>
                    <a:p>
                      <a:pPr marL="0" marR="0" lvl="0" indent="0" algn="l" rtl="0">
                        <a:lnSpc>
                          <a:spcPct val="100000"/>
                        </a:lnSpc>
                        <a:spcBef>
                          <a:spcPts val="0"/>
                        </a:spcBef>
                        <a:spcAft>
                          <a:spcPts val="0"/>
                        </a:spcAft>
                        <a:buClr>
                          <a:schemeClr val="dk2"/>
                        </a:buClr>
                        <a:buSzPts val="1050"/>
                        <a:buFont typeface="PT Serif"/>
                        <a:buNone/>
                      </a:pPr>
                      <a:r>
                        <a:rPr lang="en-US" sz="1000" u="none" strike="noStrike" cap="none">
                          <a:latin typeface="Source Sans Pro"/>
                          <a:ea typeface="Source Sans Pro"/>
                          <a:cs typeface="Source Sans Pro"/>
                          <a:sym typeface="Source Sans Pro"/>
                        </a:rPr>
                        <a:t>Grace</a:t>
                      </a:r>
                    </a:p>
                    <a:p>
                      <a:pPr marL="0" marR="0" lvl="0" indent="0" algn="l" rtl="0">
                        <a:lnSpc>
                          <a:spcPct val="100000"/>
                        </a:lnSpc>
                        <a:spcBef>
                          <a:spcPts val="0"/>
                        </a:spcBef>
                        <a:spcAft>
                          <a:spcPts val="0"/>
                        </a:spcAft>
                        <a:buClr>
                          <a:schemeClr val="dk2"/>
                        </a:buClr>
                        <a:buSzPts val="1050"/>
                        <a:buFont typeface="PT Serif"/>
                        <a:buNone/>
                      </a:pPr>
                      <a:r>
                        <a:rPr lang="en-US" sz="1000" u="none" strike="noStrike" cap="none">
                          <a:latin typeface="Source Sans Pro"/>
                          <a:ea typeface="Source Sans Pro"/>
                          <a:cs typeface="Source Sans Pro"/>
                          <a:sym typeface="Source Sans Pro"/>
                        </a:rPr>
                        <a:t>Teagan</a:t>
                      </a:r>
                      <a:endParaRPr sz="1000" u="none" strike="noStrike" cap="none">
                        <a:latin typeface="Source Sans Pro"/>
                        <a:ea typeface="Source Sans Pro"/>
                        <a:cs typeface="Source Sans Pro"/>
                        <a:sym typeface="Source Sans Pro"/>
                      </a:endParaRPr>
                    </a:p>
                  </a:txBody>
                  <a:tcPr marL="0" marR="36575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12700" cap="flat" cmpd="sng">
                      <a:solidFill>
                        <a:schemeClr val="tx1"/>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120650" marR="0" lvl="0" indent="-120650" algn="l" rtl="0">
                        <a:lnSpc>
                          <a:spcPct val="100000"/>
                        </a:lnSpc>
                        <a:spcBef>
                          <a:spcPts val="0"/>
                        </a:spcBef>
                        <a:spcAft>
                          <a:spcPts val="0"/>
                        </a:spcAft>
                        <a:buClr>
                          <a:schemeClr val="dk1"/>
                        </a:buClr>
                        <a:buSzPts val="800"/>
                        <a:buFont typeface="Noto Sans Symbols"/>
                        <a:buChar char="▪"/>
                      </a:pPr>
                      <a:r>
                        <a:rPr lang="en-US" sz="1000" b="0" i="0" u="none" strike="noStrike" cap="none">
                          <a:solidFill>
                            <a:schemeClr val="dk1"/>
                          </a:solidFill>
                          <a:latin typeface="Source Sans Pro"/>
                          <a:ea typeface="Source Sans Pro"/>
                          <a:hlinkClick r:id="rId8"/>
                        </a:rPr>
                        <a:t>Journey map</a:t>
                      </a:r>
                      <a:endParaRPr lang="en-US" sz="1000" b="0" i="0" u="none" strike="noStrike" cap="none">
                        <a:solidFill>
                          <a:schemeClr val="dk1"/>
                        </a:solidFill>
                        <a:latin typeface="Source Sans Pro"/>
                        <a:ea typeface="Source Sans Pro"/>
                      </a:endParaRPr>
                    </a:p>
                  </a:txBody>
                  <a:tcPr marL="0" marR="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12700" cap="flat" cmpd="sng">
                      <a:solidFill>
                        <a:schemeClr val="tx1"/>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defTabSz="914400" rtl="0" eaLnBrk="1" fontAlgn="auto" latinLnBrk="0" hangingPunct="1">
                        <a:lnSpc>
                          <a:spcPct val="100000"/>
                        </a:lnSpc>
                        <a:spcBef>
                          <a:spcPts val="0"/>
                        </a:spcBef>
                        <a:spcAft>
                          <a:spcPts val="0"/>
                        </a:spcAft>
                        <a:buClr>
                          <a:srgbClr val="000000"/>
                        </a:buClr>
                        <a:buSzPts val="1050"/>
                        <a:buFont typeface="PT Serif"/>
                        <a:buNone/>
                        <a:tabLst/>
                        <a:defRPr/>
                      </a:pPr>
                      <a:r>
                        <a:rPr lang="en-US" sz="1000" b="0" i="0" u="none" strike="noStrike" kern="0" cap="none" spc="0" normalizeH="0" baseline="0" noProof="0">
                          <a:ln>
                            <a:noFill/>
                          </a:ln>
                          <a:solidFill>
                            <a:srgbClr val="303A46"/>
                          </a:solidFill>
                          <a:effectLst/>
                          <a:uLnTx/>
                          <a:uFillTx/>
                          <a:latin typeface="Source Sans Pro"/>
                          <a:ea typeface="Source Sans Pro"/>
                          <a:cs typeface="Source Sans Pro"/>
                        </a:rPr>
                        <a:t>4/19/22</a:t>
                      </a:r>
                      <a:endParaRPr kumimoji="0" lang="en-US" sz="1000" b="0" i="0" u="none" strike="noStrike" kern="0" cap="none" spc="0" normalizeH="0" baseline="0" noProof="0">
                        <a:ln>
                          <a:noFill/>
                        </a:ln>
                        <a:solidFill>
                          <a:srgbClr val="303A46"/>
                        </a:solidFill>
                        <a:effectLst/>
                        <a:uLnTx/>
                        <a:uFillTx/>
                        <a:latin typeface="Source Sans Pro"/>
                        <a:ea typeface="Source Sans Pro"/>
                        <a:cs typeface="Source Sans Pro"/>
                        <a:sym typeface="Source Sans Pro"/>
                      </a:endParaRPr>
                    </a:p>
                  </a:txBody>
                  <a:tcPr marL="0" marR="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12700" cap="flat" cmpd="sng">
                      <a:solidFill>
                        <a:schemeClr val="tx1"/>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ctr" defTabSz="914400" rtl="0" eaLnBrk="1" fontAlgn="auto" latinLnBrk="0" hangingPunct="1">
                        <a:lnSpc>
                          <a:spcPct val="100000"/>
                        </a:lnSpc>
                        <a:spcBef>
                          <a:spcPts val="0"/>
                        </a:spcBef>
                        <a:spcAft>
                          <a:spcPts val="0"/>
                        </a:spcAft>
                        <a:buClr>
                          <a:srgbClr val="000000"/>
                        </a:buClr>
                        <a:buSzPts val="1050"/>
                        <a:buFont typeface="PT Serif"/>
                        <a:buNone/>
                        <a:tabLst/>
                        <a:defRPr/>
                      </a:pPr>
                      <a:endParaRPr kumimoji="0" lang="en-US" sz="1000" b="0" i="0" u="none" strike="noStrike" kern="0" cap="none" spc="0" normalizeH="0" baseline="0" noProof="0">
                        <a:ln>
                          <a:noFill/>
                        </a:ln>
                        <a:solidFill>
                          <a:srgbClr val="303A46"/>
                        </a:solidFill>
                        <a:effectLst/>
                        <a:uLnTx/>
                        <a:uFillTx/>
                        <a:latin typeface="Source Sans Pro" panose="020B0503030403020204" pitchFamily="34" charset="0"/>
                        <a:ea typeface="Source Sans Pro" panose="020B0503030403020204" pitchFamily="34" charset="0"/>
                        <a:cs typeface="Source Sans Pro"/>
                        <a:sym typeface="Source Sans Pro"/>
                      </a:endParaRPr>
                    </a:p>
                    <a:p>
                      <a:pPr marL="0" marR="0" lvl="0" indent="0" algn="ctr" defTabSz="914400" rtl="0" eaLnBrk="1" fontAlgn="auto" latinLnBrk="0" hangingPunct="1">
                        <a:lnSpc>
                          <a:spcPct val="100000"/>
                        </a:lnSpc>
                        <a:spcBef>
                          <a:spcPts val="0"/>
                        </a:spcBef>
                        <a:spcAft>
                          <a:spcPts val="0"/>
                        </a:spcAft>
                        <a:buClr>
                          <a:srgbClr val="000000"/>
                        </a:buClr>
                        <a:buSzPts val="1050"/>
                        <a:buFont typeface="PT Serif"/>
                        <a:buNone/>
                        <a:tabLst/>
                        <a:defRPr/>
                      </a:pPr>
                      <a:r>
                        <a:rPr kumimoji="0" lang="en-US" sz="1000" b="0" i="0" u="none" strike="noStrike" kern="0" cap="none" spc="0" normalizeH="0" baseline="0" noProof="0">
                          <a:ln>
                            <a:noFill/>
                          </a:ln>
                          <a:solidFill>
                            <a:srgbClr val="303A46"/>
                          </a:solidFill>
                          <a:effectLst/>
                          <a:uLnTx/>
                          <a:uFillTx/>
                          <a:latin typeface="Source Sans Pro"/>
                          <a:ea typeface="Source Sans Pro"/>
                          <a:cs typeface="Source Sans Pro"/>
                          <a:sym typeface="Source Sans Pro"/>
                        </a:rPr>
                        <a:t>✓</a:t>
                      </a:r>
                    </a:p>
                  </a:txBody>
                  <a:tcPr marL="0" marR="0" marT="0" marB="0">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12700" cap="flat" cmpd="sng">
                      <a:solidFill>
                        <a:schemeClr val="tx1"/>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extLst>
                  <a:ext uri="{0D108BD9-81ED-4DB2-BD59-A6C34878D82A}">
                    <a16:rowId xmlns:a16="http://schemas.microsoft.com/office/drawing/2014/main" val="10001"/>
                  </a:ext>
                </a:extLst>
              </a:tr>
              <a:tr h="349735">
                <a:tc>
                  <a:txBody>
                    <a:bodyPr/>
                    <a:lstStyle/>
                    <a:p>
                      <a:pPr marL="0" marR="0" lvl="0" indent="0" algn="l" rtl="0">
                        <a:lnSpc>
                          <a:spcPct val="100000"/>
                        </a:lnSpc>
                        <a:spcBef>
                          <a:spcPts val="0"/>
                        </a:spcBef>
                        <a:spcAft>
                          <a:spcPts val="0"/>
                        </a:spcAft>
                        <a:buClr>
                          <a:schemeClr val="dk2"/>
                        </a:buClr>
                        <a:buSzPts val="1050"/>
                        <a:buFont typeface="PT Serif"/>
                        <a:buNone/>
                      </a:pPr>
                      <a:r>
                        <a:rPr lang="en-US" sz="1000" b="0" i="0" u="none" strike="noStrike" cap="none">
                          <a:solidFill>
                            <a:schemeClr val="dk2"/>
                          </a:solidFill>
                          <a:latin typeface="Source Sans Pro"/>
                          <a:ea typeface="Source Sans Pro"/>
                          <a:cs typeface="Source Sans Pro"/>
                          <a:sym typeface="Source Sans Pro"/>
                        </a:rPr>
                        <a:t>D</a:t>
                      </a:r>
                      <a:endParaRPr lang="en-US" sz="1000" u="none" strike="noStrike" cap="none">
                        <a:latin typeface="Source Sans Pro"/>
                        <a:ea typeface="Source Sans Pro"/>
                        <a:cs typeface="Source Sans Pro"/>
                        <a:sym typeface="Source Sans Pro"/>
                      </a:endParaRPr>
                    </a:p>
                  </a:txBody>
                  <a:tcPr marL="0" marR="36575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1"/>
                        </a:buClr>
                        <a:buSzPts val="1050"/>
                        <a:buFont typeface="PT Serif"/>
                        <a:buNone/>
                      </a:pPr>
                      <a:r>
                        <a:rPr lang="en-US" sz="1000" b="0" i="0" u="none" strike="noStrike" cap="none">
                          <a:solidFill>
                            <a:schemeClr val="dk1"/>
                          </a:solidFill>
                          <a:latin typeface="Source Sans Pro"/>
                          <a:ea typeface="Source Sans Pro"/>
                          <a:hlinkClick r:id="rId9"/>
                        </a:rPr>
                        <a:t>#40069</a:t>
                      </a:r>
                      <a:r>
                        <a:rPr lang="en-US" sz="1000" b="0" i="0" u="none" strike="noStrike" cap="none">
                          <a:solidFill>
                            <a:schemeClr val="dk1"/>
                          </a:solidFill>
                          <a:latin typeface="Source Sans Pro"/>
                          <a:ea typeface="Source Sans Pro"/>
                        </a:rPr>
                        <a:t> CC: Overlay tech findings on journey map</a:t>
                      </a:r>
                      <a:endParaRPr lang="en-US" sz="1000" b="1" i="0" u="none" strike="noStrike" cap="none">
                        <a:solidFill>
                          <a:schemeClr val="bg2"/>
                        </a:solidFill>
                        <a:latin typeface="Source Sans Pro"/>
                        <a:ea typeface="Source Sans Pro"/>
                        <a:cs typeface="Source Sans Pro SemiBold"/>
                        <a:sym typeface="Source Sans Pro SemiBold"/>
                      </a:endParaRPr>
                    </a:p>
                  </a:txBody>
                  <a:tcPr marL="0" marR="0" marT="0" marB="0" anchor="ctr">
                    <a:lnL w="9525" cap="flat" cmpd="sng">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chemeClr val="dk2"/>
                        </a:buClr>
                        <a:buSzPts val="1050"/>
                        <a:buFont typeface="PT Serif"/>
                        <a:buNone/>
                      </a:pPr>
                      <a:r>
                        <a:rPr lang="en-US" sz="1000" u="none" strike="noStrike" cap="none">
                          <a:latin typeface="Source Sans Pro"/>
                          <a:ea typeface="Source Sans Pro"/>
                          <a:cs typeface="Source Sans Pro"/>
                          <a:sym typeface="Source Sans Pro"/>
                        </a:rPr>
                        <a:t>2</a:t>
                      </a:r>
                    </a:p>
                  </a:txBody>
                  <a:tcPr marL="0" marR="0" marT="0" marB="0" anchor="ctr">
                    <a:lnL w="9525" cap="flat" cmpd="sng" algn="ctr">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2"/>
                        </a:buClr>
                        <a:buSzPts val="1050"/>
                        <a:buFont typeface="PT Serif"/>
                        <a:buNone/>
                      </a:pPr>
                      <a:r>
                        <a:rPr lang="en-US" sz="1000" u="none" strike="noStrike" cap="none">
                          <a:latin typeface="Source Sans Pro"/>
                          <a:ea typeface="Source Sans Pro"/>
                          <a:cs typeface="Source Sans Pro"/>
                          <a:sym typeface="Source Sans Pro"/>
                        </a:rPr>
                        <a:t>Shashank</a:t>
                      </a:r>
                    </a:p>
                  </a:txBody>
                  <a:tcPr marL="0" marR="365750" marT="0" marB="0" anchor="ctr">
                    <a:lnL w="9525" cap="flat" cmpd="sng">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120650" marR="0" lvl="0" indent="-120650" algn="l" rtl="0">
                        <a:lnSpc>
                          <a:spcPct val="100000"/>
                        </a:lnSpc>
                        <a:spcBef>
                          <a:spcPts val="0"/>
                        </a:spcBef>
                        <a:spcAft>
                          <a:spcPts val="0"/>
                        </a:spcAft>
                        <a:buClr>
                          <a:schemeClr val="dk1"/>
                        </a:buClr>
                        <a:buSzPts val="800"/>
                        <a:buFont typeface="Noto Sans Symbols"/>
                        <a:buChar char="▪"/>
                      </a:pPr>
                      <a:r>
                        <a:rPr lang="en-US" sz="1000" b="0" i="0" u="none" strike="noStrike" cap="none">
                          <a:solidFill>
                            <a:schemeClr val="dk1"/>
                          </a:solidFill>
                          <a:latin typeface="Source Sans Pro"/>
                          <a:ea typeface="Source Sans Pro"/>
                          <a:hlinkClick r:id="rId10"/>
                        </a:rPr>
                        <a:t>Journey map v3</a:t>
                      </a:r>
                      <a:endParaRPr lang="en-US" sz="1000" u="none">
                        <a:latin typeface="Source Sans Pro"/>
                        <a:ea typeface="Source Sans Pro"/>
                      </a:endParaRPr>
                    </a:p>
                  </a:txBody>
                  <a:tcPr marL="0" marR="0" marT="0" marB="0" anchor="ctr">
                    <a:lnL w="9525" cap="flat" cmpd="sng" algn="ctr">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defTabSz="914400" rtl="0" eaLnBrk="1" fontAlgn="auto" latinLnBrk="0" hangingPunct="1">
                        <a:lnSpc>
                          <a:spcPct val="100000"/>
                        </a:lnSpc>
                        <a:spcBef>
                          <a:spcPts val="0"/>
                        </a:spcBef>
                        <a:spcAft>
                          <a:spcPts val="0"/>
                        </a:spcAft>
                        <a:buClr>
                          <a:srgbClr val="000000"/>
                        </a:buClr>
                        <a:buSzPts val="1050"/>
                        <a:buFont typeface="PT Serif"/>
                        <a:buNone/>
                        <a:tabLst/>
                        <a:defRPr/>
                      </a:pPr>
                      <a:r>
                        <a:rPr lang="en-US" sz="1000" b="0" i="0" u="none" strike="noStrike" kern="0" cap="none" spc="0" normalizeH="0" baseline="0" noProof="0">
                          <a:ln>
                            <a:noFill/>
                          </a:ln>
                          <a:solidFill>
                            <a:srgbClr val="303A46"/>
                          </a:solidFill>
                          <a:effectLst/>
                          <a:uLnTx/>
                          <a:uFillTx/>
                          <a:latin typeface="Source Sans Pro"/>
                          <a:ea typeface="Source Sans Pro"/>
                          <a:cs typeface="Source Sans Pro"/>
                        </a:rPr>
                        <a:t>4/19/22</a:t>
                      </a:r>
                      <a:endParaRPr kumimoji="0" lang="en-US" sz="1000" b="0" i="0" u="none" strike="noStrike" kern="0" cap="none" spc="0" normalizeH="0" baseline="0" noProof="0">
                        <a:ln>
                          <a:noFill/>
                        </a:ln>
                        <a:solidFill>
                          <a:srgbClr val="303A46"/>
                        </a:solidFill>
                        <a:effectLst/>
                        <a:uLnTx/>
                        <a:uFillTx/>
                        <a:latin typeface="Source Sans Pro"/>
                        <a:ea typeface="Source Sans Pro"/>
                        <a:cs typeface="Source Sans Pro"/>
                        <a:sym typeface="Source Sans Pro"/>
                      </a:endParaRPr>
                    </a:p>
                  </a:txBody>
                  <a:tcPr marL="0" marR="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ctr" defTabSz="914400" rtl="0" eaLnBrk="1" fontAlgn="auto" latinLnBrk="0" hangingPunct="1">
                        <a:lnSpc>
                          <a:spcPct val="100000"/>
                        </a:lnSpc>
                        <a:spcBef>
                          <a:spcPts val="0"/>
                        </a:spcBef>
                        <a:spcAft>
                          <a:spcPts val="0"/>
                        </a:spcAft>
                        <a:buClr>
                          <a:srgbClr val="000000"/>
                        </a:buClr>
                        <a:buSzPts val="1050"/>
                        <a:buFont typeface="PT Serif"/>
                        <a:buNone/>
                        <a:tabLst/>
                        <a:defRPr/>
                      </a:pPr>
                      <a:endParaRPr kumimoji="0" lang="en-US" sz="1000" b="0" i="0" u="none" strike="noStrike" kern="0" cap="none" spc="0" normalizeH="0" baseline="0" noProof="0">
                        <a:ln>
                          <a:noFill/>
                        </a:ln>
                        <a:solidFill>
                          <a:srgbClr val="303A46"/>
                        </a:solidFill>
                        <a:effectLst/>
                        <a:uLnTx/>
                        <a:uFillTx/>
                        <a:latin typeface="Source Sans Pro" panose="020B0503030403020204" pitchFamily="34" charset="0"/>
                        <a:ea typeface="Source Sans Pro" panose="020B0503030403020204" pitchFamily="34" charset="0"/>
                        <a:cs typeface="Source Sans Pro"/>
                        <a:sym typeface="Source Sans Pro"/>
                      </a:endParaRPr>
                    </a:p>
                    <a:p>
                      <a:pPr marL="0" marR="0" lvl="0" indent="0" algn="ctr" defTabSz="914400" rtl="0" eaLnBrk="1" fontAlgn="auto" latinLnBrk="0" hangingPunct="1">
                        <a:lnSpc>
                          <a:spcPct val="100000"/>
                        </a:lnSpc>
                        <a:spcBef>
                          <a:spcPts val="0"/>
                        </a:spcBef>
                        <a:spcAft>
                          <a:spcPts val="0"/>
                        </a:spcAft>
                        <a:buClr>
                          <a:srgbClr val="000000"/>
                        </a:buClr>
                        <a:buSzPts val="1050"/>
                        <a:buFont typeface="PT Serif"/>
                        <a:buNone/>
                        <a:tabLst/>
                        <a:defRPr/>
                      </a:pPr>
                      <a:r>
                        <a:rPr kumimoji="0" lang="en-US" sz="1000" b="0" i="0" u="none" strike="noStrike" kern="0" cap="none" spc="0" normalizeH="0" baseline="0" noProof="0">
                          <a:ln>
                            <a:noFill/>
                          </a:ln>
                          <a:solidFill>
                            <a:srgbClr val="303A46"/>
                          </a:solidFill>
                          <a:effectLst/>
                          <a:uLnTx/>
                          <a:uFillTx/>
                          <a:latin typeface="Source Sans Pro"/>
                          <a:ea typeface="Source Sans Pro"/>
                          <a:cs typeface="Source Sans Pro"/>
                          <a:sym typeface="Source Sans Pro"/>
                        </a:rPr>
                        <a:t>✓</a:t>
                      </a:r>
                    </a:p>
                  </a:txBody>
                  <a:tcPr marL="0" marR="0" marT="0" marB="0">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extLst>
                  <a:ext uri="{0D108BD9-81ED-4DB2-BD59-A6C34878D82A}">
                    <a16:rowId xmlns:a16="http://schemas.microsoft.com/office/drawing/2014/main" val="10002"/>
                  </a:ext>
                </a:extLst>
              </a:tr>
              <a:tr h="349735">
                <a:tc>
                  <a:txBody>
                    <a:bodyPr/>
                    <a:lstStyle/>
                    <a:p>
                      <a:pPr marL="0" marR="0" lvl="0" indent="0" algn="l" rtl="0">
                        <a:lnSpc>
                          <a:spcPct val="100000"/>
                        </a:lnSpc>
                        <a:spcBef>
                          <a:spcPts val="0"/>
                        </a:spcBef>
                        <a:spcAft>
                          <a:spcPts val="0"/>
                        </a:spcAft>
                        <a:buClr>
                          <a:schemeClr val="dk2"/>
                        </a:buClr>
                        <a:buSzPts val="1050"/>
                        <a:buFont typeface="PT Serif"/>
                        <a:buNone/>
                      </a:pPr>
                      <a:r>
                        <a:rPr lang="en-US" sz="1000" b="0" i="0" u="none" strike="noStrike" cap="none">
                          <a:solidFill>
                            <a:schemeClr val="dk2"/>
                          </a:solidFill>
                          <a:latin typeface="Source Sans Pro"/>
                          <a:ea typeface="Source Sans Pro"/>
                          <a:cs typeface="Source Sans Pro"/>
                          <a:sym typeface="Source Sans Pro"/>
                        </a:rPr>
                        <a:t>D</a:t>
                      </a:r>
                      <a:endParaRPr sz="1000" u="none" strike="noStrike" cap="none">
                        <a:latin typeface="Source Sans Pro"/>
                        <a:ea typeface="Source Sans Pro"/>
                        <a:cs typeface="Source Sans Pro"/>
                        <a:sym typeface="Source Sans Pro"/>
                      </a:endParaRPr>
                    </a:p>
                  </a:txBody>
                  <a:tcPr marL="0" marR="36575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1"/>
                        </a:buClr>
                        <a:buSzPts val="1050"/>
                        <a:buFont typeface="PT Serif"/>
                        <a:buNone/>
                      </a:pPr>
                      <a:r>
                        <a:rPr lang="en-US" sz="1000" b="0" i="0" u="none" strike="noStrike" cap="none">
                          <a:solidFill>
                            <a:schemeClr val="dk1"/>
                          </a:solidFill>
                          <a:latin typeface="Source Sans Pro"/>
                          <a:ea typeface="Source Sans Pro"/>
                          <a:hlinkClick r:id="rId11"/>
                        </a:rPr>
                        <a:t>#39656 </a:t>
                      </a:r>
                      <a:r>
                        <a:rPr lang="en-US" sz="1000" b="0" i="0" u="none" strike="noStrike" cap="none">
                          <a:solidFill>
                            <a:schemeClr val="dk1"/>
                          </a:solidFill>
                          <a:latin typeface="Source Sans Pro"/>
                          <a:ea typeface="Source Sans Pro"/>
                        </a:rPr>
                        <a:t>CC: Draft high-level current state of data elements (systems of record)</a:t>
                      </a:r>
                      <a:endParaRPr lang="en-US" sz="1000" b="1" i="0" u="none" strike="noStrike" cap="none">
                        <a:solidFill>
                          <a:schemeClr val="bg2"/>
                        </a:solidFill>
                        <a:latin typeface="Source Sans Pro"/>
                        <a:ea typeface="Source Sans Pro"/>
                        <a:cs typeface="Source Sans Pro SemiBold"/>
                        <a:sym typeface="Source Sans Pro SemiBold"/>
                      </a:endParaRPr>
                    </a:p>
                  </a:txBody>
                  <a:tcPr marL="0" marR="0" marT="0" marB="0" anchor="ctr">
                    <a:lnL w="9525" cap="flat" cmpd="sng">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chemeClr val="dk2"/>
                        </a:buClr>
                        <a:buSzPts val="1050"/>
                        <a:buFont typeface="PT Serif"/>
                        <a:buNone/>
                      </a:pPr>
                      <a:r>
                        <a:rPr lang="en-US" sz="1000" u="none" strike="noStrike" cap="none">
                          <a:latin typeface="Source Sans Pro"/>
                          <a:ea typeface="Source Sans Pro"/>
                          <a:cs typeface="Source Sans Pro"/>
                          <a:sym typeface="Source Sans Pro"/>
                        </a:rPr>
                        <a:t>13</a:t>
                      </a:r>
                    </a:p>
                  </a:txBody>
                  <a:tcPr marL="0" marR="0" marT="0" marB="0" anchor="ctr">
                    <a:lnL w="9525" cap="flat" cmpd="sng" algn="ctr">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2"/>
                        </a:buClr>
                        <a:buSzPts val="1050"/>
                        <a:buFont typeface="PT Serif"/>
                        <a:buNone/>
                      </a:pPr>
                      <a:r>
                        <a:rPr lang="en-US" sz="1000" u="none" strike="noStrike" cap="none">
                          <a:latin typeface="Source Sans Pro"/>
                          <a:ea typeface="Source Sans Pro"/>
                          <a:cs typeface="Source Sans Pro"/>
                          <a:sym typeface="Source Sans Pro"/>
                        </a:rPr>
                        <a:t>Shashank</a:t>
                      </a:r>
                    </a:p>
                    <a:p>
                      <a:pPr marL="0" marR="0" lvl="0" indent="0" algn="l" rtl="0">
                        <a:lnSpc>
                          <a:spcPct val="100000"/>
                        </a:lnSpc>
                        <a:spcBef>
                          <a:spcPts val="0"/>
                        </a:spcBef>
                        <a:spcAft>
                          <a:spcPts val="0"/>
                        </a:spcAft>
                        <a:buClr>
                          <a:schemeClr val="dk2"/>
                        </a:buClr>
                        <a:buSzPts val="1050"/>
                        <a:buFont typeface="PT Serif"/>
                        <a:buNone/>
                      </a:pPr>
                      <a:r>
                        <a:rPr lang="en-US" sz="1000" u="none" strike="noStrike" cap="none">
                          <a:latin typeface="Source Sans Pro"/>
                          <a:ea typeface="Source Sans Pro"/>
                          <a:cs typeface="Source Sans Pro"/>
                          <a:sym typeface="Source Sans Pro"/>
                        </a:rPr>
                        <a:t>Teagan</a:t>
                      </a:r>
                    </a:p>
                  </a:txBody>
                  <a:tcPr marL="0" marR="365750" marT="0" marB="0" anchor="ctr">
                    <a:lnL w="9525" cap="flat" cmpd="sng">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120650" marR="0" lvl="0" indent="-120650" algn="l" rtl="0">
                        <a:lnSpc>
                          <a:spcPct val="100000"/>
                        </a:lnSpc>
                        <a:spcBef>
                          <a:spcPts val="0"/>
                        </a:spcBef>
                        <a:spcAft>
                          <a:spcPts val="0"/>
                        </a:spcAft>
                        <a:buClr>
                          <a:schemeClr val="dk1"/>
                        </a:buClr>
                        <a:buSzPts val="800"/>
                        <a:buFont typeface="Noto Sans Symbols"/>
                        <a:buChar char="▪"/>
                      </a:pPr>
                      <a:r>
                        <a:rPr lang="en-US" sz="1000" b="0" i="0" u="none" strike="noStrike" cap="none">
                          <a:solidFill>
                            <a:schemeClr val="dk1"/>
                          </a:solidFill>
                          <a:latin typeface="Source Sans Pro"/>
                          <a:ea typeface="Source Sans Pro"/>
                          <a:hlinkClick r:id="rId12"/>
                        </a:rPr>
                        <a:t>Technical discovery</a:t>
                      </a:r>
                      <a:endParaRPr lang="en-US" sz="1000" u="none">
                        <a:latin typeface="Source Sans Pro"/>
                        <a:ea typeface="Source Sans Pro"/>
                      </a:endParaRPr>
                    </a:p>
                  </a:txBody>
                  <a:tcPr marL="0" marR="0" marT="0" marB="0" anchor="ctr">
                    <a:lnL w="9525" cap="flat" cmpd="sng" algn="ctr">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defTabSz="914400" rtl="0" eaLnBrk="1" fontAlgn="auto" latinLnBrk="0" hangingPunct="1">
                        <a:lnSpc>
                          <a:spcPct val="100000"/>
                        </a:lnSpc>
                        <a:spcBef>
                          <a:spcPts val="0"/>
                        </a:spcBef>
                        <a:spcAft>
                          <a:spcPts val="0"/>
                        </a:spcAft>
                        <a:buClr>
                          <a:srgbClr val="000000"/>
                        </a:buClr>
                        <a:buSzPts val="1050"/>
                        <a:buFont typeface="PT Serif"/>
                        <a:buNone/>
                        <a:tabLst/>
                        <a:defRPr/>
                      </a:pPr>
                      <a:r>
                        <a:rPr lang="en-US" sz="1000" b="0" i="0" u="none" strike="noStrike" kern="0" cap="none" spc="0" normalizeH="0" baseline="0" noProof="0">
                          <a:ln>
                            <a:noFill/>
                          </a:ln>
                          <a:solidFill>
                            <a:srgbClr val="303A46"/>
                          </a:solidFill>
                          <a:effectLst/>
                          <a:uLnTx/>
                          <a:uFillTx/>
                          <a:latin typeface="Source Sans Pro"/>
                          <a:ea typeface="Source Sans Pro"/>
                          <a:cs typeface="Source Sans Pro"/>
                        </a:rPr>
                        <a:t>4/19/22</a:t>
                      </a:r>
                      <a:endParaRPr kumimoji="0" lang="en-US" sz="1000" b="0" i="0" u="none" strike="noStrike" kern="0" cap="none" spc="0" normalizeH="0" baseline="0" noProof="0">
                        <a:ln>
                          <a:noFill/>
                        </a:ln>
                        <a:solidFill>
                          <a:srgbClr val="303A46"/>
                        </a:solidFill>
                        <a:effectLst/>
                        <a:uLnTx/>
                        <a:uFillTx/>
                        <a:latin typeface="Source Sans Pro"/>
                        <a:ea typeface="Source Sans Pro"/>
                        <a:cs typeface="Source Sans Pro"/>
                        <a:sym typeface="Source Sans Pro"/>
                      </a:endParaRPr>
                    </a:p>
                  </a:txBody>
                  <a:tcPr marL="0" marR="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ctr" defTabSz="914400" rtl="0" eaLnBrk="1" fontAlgn="auto" latinLnBrk="0" hangingPunct="1">
                        <a:lnSpc>
                          <a:spcPct val="100000"/>
                        </a:lnSpc>
                        <a:spcBef>
                          <a:spcPts val="0"/>
                        </a:spcBef>
                        <a:spcAft>
                          <a:spcPts val="0"/>
                        </a:spcAft>
                        <a:buClr>
                          <a:srgbClr val="000000"/>
                        </a:buClr>
                        <a:buSzPts val="1050"/>
                        <a:buFont typeface="PT Serif"/>
                        <a:buNone/>
                        <a:tabLst/>
                        <a:defRPr/>
                      </a:pPr>
                      <a:endParaRPr kumimoji="0" lang="en-US" sz="1000" b="0" i="0" u="none" strike="noStrike" kern="0" cap="none" spc="0" normalizeH="0" baseline="0" noProof="0">
                        <a:ln>
                          <a:noFill/>
                        </a:ln>
                        <a:solidFill>
                          <a:srgbClr val="303A46"/>
                        </a:solidFill>
                        <a:effectLst/>
                        <a:uLnTx/>
                        <a:uFillTx/>
                        <a:latin typeface="Source Sans Pro" panose="020B0503030403020204" pitchFamily="34" charset="0"/>
                        <a:ea typeface="Source Sans Pro" panose="020B0503030403020204" pitchFamily="34" charset="0"/>
                        <a:cs typeface="Source Sans Pro"/>
                        <a:sym typeface="Source Sans Pro"/>
                      </a:endParaRPr>
                    </a:p>
                    <a:p>
                      <a:pPr marL="0" marR="0" lvl="0" indent="0" algn="ctr" defTabSz="914400" rtl="0" eaLnBrk="1" fontAlgn="auto" latinLnBrk="0" hangingPunct="1">
                        <a:lnSpc>
                          <a:spcPct val="100000"/>
                        </a:lnSpc>
                        <a:spcBef>
                          <a:spcPts val="0"/>
                        </a:spcBef>
                        <a:spcAft>
                          <a:spcPts val="0"/>
                        </a:spcAft>
                        <a:buClr>
                          <a:srgbClr val="000000"/>
                        </a:buClr>
                        <a:buSzPts val="1050"/>
                        <a:buFont typeface="PT Serif"/>
                        <a:buNone/>
                        <a:tabLst/>
                        <a:defRPr/>
                      </a:pPr>
                      <a:r>
                        <a:rPr kumimoji="0" lang="en-US" sz="1000" b="0" i="0" u="none" strike="noStrike" kern="0" cap="none" spc="0" normalizeH="0" baseline="0" noProof="0">
                          <a:ln>
                            <a:noFill/>
                          </a:ln>
                          <a:solidFill>
                            <a:srgbClr val="303A46"/>
                          </a:solidFill>
                          <a:effectLst/>
                          <a:uLnTx/>
                          <a:uFillTx/>
                          <a:latin typeface="Source Sans Pro"/>
                          <a:ea typeface="Source Sans Pro"/>
                          <a:cs typeface="Source Sans Pro"/>
                          <a:sym typeface="Source Sans Pro"/>
                        </a:rPr>
                        <a:t>✓</a:t>
                      </a:r>
                    </a:p>
                  </a:txBody>
                  <a:tcPr marL="0" marR="0" marT="0" marB="0">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extLst>
                  <a:ext uri="{0D108BD9-81ED-4DB2-BD59-A6C34878D82A}">
                    <a16:rowId xmlns:a16="http://schemas.microsoft.com/office/drawing/2014/main" val="10003"/>
                  </a:ext>
                </a:extLst>
              </a:tr>
              <a:tr h="342741">
                <a:tc>
                  <a:txBody>
                    <a:bodyPr/>
                    <a:lstStyle/>
                    <a:p>
                      <a:pPr marL="0" marR="0" lvl="0" indent="0" algn="l" rtl="0">
                        <a:lnSpc>
                          <a:spcPct val="100000"/>
                        </a:lnSpc>
                        <a:spcBef>
                          <a:spcPts val="0"/>
                        </a:spcBef>
                        <a:spcAft>
                          <a:spcPts val="0"/>
                        </a:spcAft>
                        <a:buClr>
                          <a:schemeClr val="dk2"/>
                        </a:buClr>
                        <a:buSzPts val="1050"/>
                        <a:buFont typeface="PT Serif"/>
                        <a:buNone/>
                      </a:pPr>
                      <a:r>
                        <a:rPr lang="en-US" sz="1000" b="0" i="0" u="none" strike="noStrike" cap="none">
                          <a:solidFill>
                            <a:schemeClr val="dk2"/>
                          </a:solidFill>
                          <a:latin typeface="Source Sans Pro"/>
                          <a:ea typeface="Source Sans Pro"/>
                          <a:cs typeface="Source Sans Pro"/>
                          <a:sym typeface="Source Sans Pro"/>
                        </a:rPr>
                        <a:t>D</a:t>
                      </a:r>
                      <a:endParaRPr sz="1000" u="none" strike="noStrike" cap="none">
                        <a:latin typeface="Source Sans Pro"/>
                        <a:ea typeface="Source Sans Pro"/>
                        <a:cs typeface="Source Sans Pro"/>
                        <a:sym typeface="Source Sans Pro"/>
                      </a:endParaRPr>
                    </a:p>
                  </a:txBody>
                  <a:tcPr marL="0" marR="36575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1"/>
                        </a:buClr>
                        <a:buSzPts val="1050"/>
                        <a:buFont typeface="PT Serif"/>
                        <a:buNone/>
                      </a:pPr>
                      <a:r>
                        <a:rPr lang="en-US" sz="1000" b="0" i="0" u="none" strike="noStrike" cap="none">
                          <a:solidFill>
                            <a:schemeClr val="dk1"/>
                          </a:solidFill>
                          <a:latin typeface="Source Sans Pro"/>
                          <a:ea typeface="Source Sans Pro"/>
                          <a:hlinkClick r:id="rId13"/>
                        </a:rPr>
                        <a:t>#39658 </a:t>
                      </a:r>
                      <a:r>
                        <a:rPr lang="en-US" sz="1000" b="0" i="0" u="none" strike="noStrike" cap="none">
                          <a:solidFill>
                            <a:schemeClr val="dk1"/>
                          </a:solidFill>
                          <a:latin typeface="Source Sans Pro"/>
                          <a:ea typeface="Source Sans Pro"/>
                        </a:rPr>
                        <a:t>CC: Deeper dive into technical discovery with business partner(s)</a:t>
                      </a:r>
                      <a:endParaRPr lang="en-US" sz="1000" b="1" i="0" u="none" strike="noStrike" cap="none">
                        <a:solidFill>
                          <a:schemeClr val="bg2"/>
                        </a:solidFill>
                        <a:latin typeface="Source Sans Pro"/>
                        <a:ea typeface="Source Sans Pro"/>
                        <a:cs typeface="Source Sans Pro SemiBold"/>
                        <a:sym typeface="Source Sans Pro SemiBold"/>
                      </a:endParaRPr>
                    </a:p>
                  </a:txBody>
                  <a:tcPr marL="0" marR="0" marT="0" marB="0" anchor="ctr">
                    <a:lnL w="9525" cap="flat" cmpd="sng">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chemeClr val="dk2"/>
                        </a:buClr>
                        <a:buSzPts val="1050"/>
                        <a:buFont typeface="PT Serif"/>
                        <a:buNone/>
                      </a:pPr>
                      <a:r>
                        <a:rPr lang="en-US" sz="1000" u="none" strike="noStrike" cap="none">
                          <a:latin typeface="Source Sans Pro"/>
                          <a:ea typeface="Source Sans Pro"/>
                          <a:cs typeface="Source Sans Pro"/>
                          <a:sym typeface="Source Sans Pro"/>
                        </a:rPr>
                        <a:t>13</a:t>
                      </a:r>
                    </a:p>
                  </a:txBody>
                  <a:tcPr marL="0" marR="0" marT="0" marB="0" anchor="ctr">
                    <a:lnL w="9525" cap="flat" cmpd="sng" algn="ctr">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2"/>
                        </a:buClr>
                        <a:buSzPts val="1050"/>
                        <a:buFont typeface="PT Serif"/>
                        <a:buNone/>
                      </a:pPr>
                      <a:r>
                        <a:rPr lang="en-US" sz="1000" u="none" strike="noStrike" cap="none">
                          <a:latin typeface="Source Sans Pro"/>
                          <a:ea typeface="Source Sans Pro"/>
                          <a:cs typeface="Source Sans Pro"/>
                          <a:sym typeface="Source Sans Pro"/>
                        </a:rPr>
                        <a:t>Shashank</a:t>
                      </a:r>
                    </a:p>
                    <a:p>
                      <a:pPr marL="0" marR="0" lvl="0" indent="0" algn="l" rtl="0">
                        <a:lnSpc>
                          <a:spcPct val="100000"/>
                        </a:lnSpc>
                        <a:spcBef>
                          <a:spcPts val="0"/>
                        </a:spcBef>
                        <a:spcAft>
                          <a:spcPts val="0"/>
                        </a:spcAft>
                        <a:buClr>
                          <a:schemeClr val="dk2"/>
                        </a:buClr>
                        <a:buSzPts val="1050"/>
                        <a:buFont typeface="PT Serif"/>
                        <a:buNone/>
                      </a:pPr>
                      <a:r>
                        <a:rPr lang="en-US" sz="1000" u="none" strike="noStrike" cap="none">
                          <a:latin typeface="Source Sans Pro"/>
                          <a:ea typeface="Source Sans Pro"/>
                          <a:cs typeface="Source Sans Pro"/>
                          <a:sym typeface="Source Sans Pro"/>
                        </a:rPr>
                        <a:t>Teagan</a:t>
                      </a:r>
                    </a:p>
                  </a:txBody>
                  <a:tcPr marL="0" marR="365750" marT="0" marB="0" anchor="ctr">
                    <a:lnL w="9525" cap="flat" cmpd="sng">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120650" marR="0" lvl="0" indent="-120650" algn="l" rtl="0">
                        <a:lnSpc>
                          <a:spcPct val="100000"/>
                        </a:lnSpc>
                        <a:spcBef>
                          <a:spcPts val="0"/>
                        </a:spcBef>
                        <a:spcAft>
                          <a:spcPts val="0"/>
                        </a:spcAft>
                        <a:buClr>
                          <a:schemeClr val="dk1"/>
                        </a:buClr>
                        <a:buSzPts val="800"/>
                        <a:buFont typeface="Noto Sans Symbols"/>
                        <a:buChar char="▪"/>
                      </a:pPr>
                      <a:r>
                        <a:rPr lang="en-US" sz="1000" b="0" i="0" u="none" strike="noStrike" cap="none">
                          <a:solidFill>
                            <a:schemeClr val="dk1"/>
                          </a:solidFill>
                          <a:latin typeface="Source Sans Pro"/>
                          <a:ea typeface="Source Sans Pro"/>
                          <a:hlinkClick r:id="rId14"/>
                        </a:rPr>
                        <a:t>Notes from mtg w/ George et. al.</a:t>
                      </a:r>
                      <a:endParaRPr lang="en-US" sz="1000" b="0" i="0" u="none" strike="noStrike" cap="none">
                        <a:solidFill>
                          <a:schemeClr val="dk1"/>
                        </a:solidFill>
                        <a:latin typeface="Source Sans Pro"/>
                        <a:ea typeface="Source Sans Pro"/>
                      </a:endParaRPr>
                    </a:p>
                    <a:p>
                      <a:pPr marL="120650" marR="0" lvl="0" indent="-120650" algn="l" rtl="0">
                        <a:lnSpc>
                          <a:spcPct val="100000"/>
                        </a:lnSpc>
                        <a:spcBef>
                          <a:spcPts val="0"/>
                        </a:spcBef>
                        <a:spcAft>
                          <a:spcPts val="0"/>
                        </a:spcAft>
                        <a:buClr>
                          <a:schemeClr val="dk1"/>
                        </a:buClr>
                        <a:buSzPts val="800"/>
                        <a:buFont typeface="Noto Sans Symbols"/>
                        <a:buChar char="▪"/>
                      </a:pPr>
                      <a:r>
                        <a:rPr lang="en-US" sz="1000" b="0" i="0" u="none" strike="noStrike" cap="none">
                          <a:solidFill>
                            <a:schemeClr val="dk1"/>
                          </a:solidFill>
                          <a:latin typeface="Source Sans Pro"/>
                          <a:ea typeface="Source Sans Pro"/>
                          <a:hlinkClick r:id="rId15"/>
                        </a:rPr>
                        <a:t>Notes from mtg w/ Daniel</a:t>
                      </a:r>
                      <a:endParaRPr lang="en-US" sz="1000" u="none">
                        <a:latin typeface="Source Sans Pro"/>
                        <a:ea typeface="Source Sans Pro"/>
                      </a:endParaRPr>
                    </a:p>
                  </a:txBody>
                  <a:tcPr marL="0" marR="0" marT="0" marB="0" anchor="ctr">
                    <a:lnL w="9525" cap="flat" cmpd="sng" algn="ctr">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defTabSz="914400" rtl="0" eaLnBrk="1" fontAlgn="auto" latinLnBrk="0" hangingPunct="1">
                        <a:lnSpc>
                          <a:spcPct val="100000"/>
                        </a:lnSpc>
                        <a:spcBef>
                          <a:spcPts val="0"/>
                        </a:spcBef>
                        <a:spcAft>
                          <a:spcPts val="0"/>
                        </a:spcAft>
                        <a:buClr>
                          <a:srgbClr val="000000"/>
                        </a:buClr>
                        <a:buSzPts val="1050"/>
                        <a:buFont typeface="PT Serif"/>
                        <a:buNone/>
                        <a:tabLst/>
                        <a:defRPr/>
                      </a:pPr>
                      <a:r>
                        <a:rPr lang="en-US" sz="1000" b="0" i="0" u="none" strike="noStrike" kern="0" cap="none" spc="0" normalizeH="0" baseline="0" noProof="0">
                          <a:ln>
                            <a:noFill/>
                          </a:ln>
                          <a:solidFill>
                            <a:srgbClr val="303A46"/>
                          </a:solidFill>
                          <a:effectLst/>
                          <a:uLnTx/>
                          <a:uFillTx/>
                          <a:latin typeface="Source Sans Pro"/>
                          <a:ea typeface="Source Sans Pro"/>
                          <a:cs typeface="Source Sans Pro"/>
                        </a:rPr>
                        <a:t>4/19/22</a:t>
                      </a:r>
                      <a:endParaRPr kumimoji="0" lang="en-US" sz="1000" b="0" i="0" u="none" strike="noStrike" kern="0" cap="none" spc="0" normalizeH="0" baseline="0" noProof="0">
                        <a:ln>
                          <a:noFill/>
                        </a:ln>
                        <a:solidFill>
                          <a:srgbClr val="303A46"/>
                        </a:solidFill>
                        <a:effectLst/>
                        <a:uLnTx/>
                        <a:uFillTx/>
                        <a:latin typeface="Source Sans Pro"/>
                        <a:ea typeface="Source Sans Pro"/>
                        <a:cs typeface="Source Sans Pro"/>
                        <a:sym typeface="Source Sans Pro"/>
                      </a:endParaRPr>
                    </a:p>
                  </a:txBody>
                  <a:tcPr marL="0" marR="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ctr" defTabSz="914400" rtl="0" eaLnBrk="1" fontAlgn="auto" latinLnBrk="0" hangingPunct="1">
                        <a:lnSpc>
                          <a:spcPct val="100000"/>
                        </a:lnSpc>
                        <a:spcBef>
                          <a:spcPts val="0"/>
                        </a:spcBef>
                        <a:spcAft>
                          <a:spcPts val="0"/>
                        </a:spcAft>
                        <a:buClr>
                          <a:srgbClr val="000000"/>
                        </a:buClr>
                        <a:buSzPts val="1050"/>
                        <a:buFont typeface="PT Serif"/>
                        <a:buNone/>
                        <a:tabLst/>
                        <a:defRPr/>
                      </a:pPr>
                      <a:endParaRPr kumimoji="0" lang="en-US" sz="1000" b="0" i="0" u="none" strike="noStrike" kern="0" cap="none" spc="0" normalizeH="0" baseline="0" noProof="0">
                        <a:ln>
                          <a:noFill/>
                        </a:ln>
                        <a:solidFill>
                          <a:srgbClr val="303A46"/>
                        </a:solidFill>
                        <a:effectLst/>
                        <a:uLnTx/>
                        <a:uFillTx/>
                        <a:latin typeface="Source Sans Pro" panose="020B0503030403020204" pitchFamily="34" charset="0"/>
                        <a:ea typeface="Source Sans Pro" panose="020B0503030403020204" pitchFamily="34" charset="0"/>
                        <a:cs typeface="Source Sans Pro"/>
                        <a:sym typeface="Source Sans Pro"/>
                      </a:endParaRPr>
                    </a:p>
                    <a:p>
                      <a:pPr marL="0" marR="0" lvl="0" indent="0" algn="ctr" defTabSz="914400" rtl="0" eaLnBrk="1" fontAlgn="auto" latinLnBrk="0" hangingPunct="1">
                        <a:lnSpc>
                          <a:spcPct val="100000"/>
                        </a:lnSpc>
                        <a:spcBef>
                          <a:spcPts val="0"/>
                        </a:spcBef>
                        <a:spcAft>
                          <a:spcPts val="0"/>
                        </a:spcAft>
                        <a:buClr>
                          <a:srgbClr val="000000"/>
                        </a:buClr>
                        <a:buSzPts val="1050"/>
                        <a:buFont typeface="PT Serif"/>
                        <a:buNone/>
                        <a:tabLst/>
                        <a:defRPr/>
                      </a:pPr>
                      <a:r>
                        <a:rPr kumimoji="0" lang="en-US" sz="1000" b="0" i="0" u="none" strike="noStrike" kern="0" cap="none" spc="0" normalizeH="0" baseline="0" noProof="0">
                          <a:ln>
                            <a:noFill/>
                          </a:ln>
                          <a:solidFill>
                            <a:srgbClr val="303A46"/>
                          </a:solidFill>
                          <a:effectLst/>
                          <a:uLnTx/>
                          <a:uFillTx/>
                          <a:latin typeface="Source Sans Pro"/>
                          <a:ea typeface="Source Sans Pro"/>
                          <a:cs typeface="Source Sans Pro"/>
                          <a:sym typeface="Source Sans Pro"/>
                        </a:rPr>
                        <a:t>✓</a:t>
                      </a:r>
                    </a:p>
                  </a:txBody>
                  <a:tcPr marL="0" marR="0" marT="0" marB="0">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extLst>
                  <a:ext uri="{0D108BD9-81ED-4DB2-BD59-A6C34878D82A}">
                    <a16:rowId xmlns:a16="http://schemas.microsoft.com/office/drawing/2014/main" val="10004"/>
                  </a:ext>
                </a:extLst>
              </a:tr>
            </a:tbl>
          </a:graphicData>
        </a:graphic>
      </p:graphicFrame>
      <p:sp>
        <p:nvSpPr>
          <p:cNvPr id="695" name="Google Shape;695;p20"/>
          <p:cNvSpPr txBox="1"/>
          <p:nvPr/>
        </p:nvSpPr>
        <p:spPr>
          <a:xfrm>
            <a:off x="10140593" y="6408650"/>
            <a:ext cx="1500232" cy="276959"/>
          </a:xfrm>
          <a:prstGeom prst="rect">
            <a:avLst/>
          </a:prstGeom>
          <a:noFill/>
          <a:ln>
            <a:noFill/>
          </a:ln>
        </p:spPr>
        <p:txBody>
          <a:bodyPr spcFirstLastPara="1" wrap="square" lIns="91425" tIns="45700" rIns="91425" bIns="45700" anchor="t" anchorCtr="0">
            <a:spAutoFit/>
          </a:bodyPr>
          <a:lstStyle/>
          <a:p>
            <a:pPr marL="0" marR="0" lvl="0" indent="0" algn="r" rtl="0">
              <a:spcBef>
                <a:spcPts val="0"/>
              </a:spcBef>
              <a:spcAft>
                <a:spcPts val="0"/>
              </a:spcAft>
              <a:buClr>
                <a:srgbClr val="747C74"/>
              </a:buClr>
              <a:buSzPts val="1200"/>
              <a:buFont typeface="Source Sans Pro"/>
              <a:buNone/>
            </a:pPr>
            <a:r>
              <a:rPr lang="en-US" sz="1200">
                <a:solidFill>
                  <a:srgbClr val="747C74"/>
                </a:solidFill>
                <a:latin typeface="Source Sans Pro"/>
                <a:ea typeface="Source Sans Pro"/>
                <a:cs typeface="Source Sans Pro"/>
                <a:sym typeface="Source Sans Pro"/>
              </a:rPr>
              <a:t>Sprint 6 Deliverables</a:t>
            </a:r>
            <a:endParaRPr sz="1800">
              <a:solidFill>
                <a:schemeClr val="dk1"/>
              </a:solidFill>
              <a:latin typeface="Calibri"/>
              <a:ea typeface="Calibri"/>
              <a:cs typeface="Calibri"/>
              <a:sym typeface="Calibri"/>
            </a:endParaRPr>
          </a:p>
        </p:txBody>
      </p:sp>
      <p:sp>
        <p:nvSpPr>
          <p:cNvPr id="4" name="Google Shape;337;p6">
            <a:extLst>
              <a:ext uri="{FF2B5EF4-FFF2-40B4-BE49-F238E27FC236}">
                <a16:creationId xmlns:a16="http://schemas.microsoft.com/office/drawing/2014/main" id="{9AFC4AAF-F922-425A-B866-F54294711148}"/>
              </a:ext>
            </a:extLst>
          </p:cNvPr>
          <p:cNvSpPr txBox="1"/>
          <p:nvPr/>
        </p:nvSpPr>
        <p:spPr>
          <a:xfrm>
            <a:off x="419100" y="6408650"/>
            <a:ext cx="2723465" cy="276999"/>
          </a:xfrm>
          <a:prstGeom prst="rect">
            <a:avLst/>
          </a:prstGeom>
          <a:noFill/>
          <a:ln>
            <a:noFill/>
          </a:ln>
        </p:spPr>
        <p:txBody>
          <a:bodyPr spcFirstLastPara="1" wrap="square" lIns="0" tIns="45700" rIns="91425" bIns="45700" anchor="t" anchorCtr="0">
            <a:spAutoFit/>
          </a:bodyPr>
          <a:lstStyle/>
          <a:p>
            <a:pPr marL="0" marR="0" lvl="0" indent="0" algn="l" rtl="0">
              <a:spcBef>
                <a:spcPts val="0"/>
              </a:spcBef>
              <a:spcAft>
                <a:spcPts val="0"/>
              </a:spcAft>
              <a:buNone/>
            </a:pPr>
            <a:r>
              <a:rPr lang="en-US" sz="1200" b="0" i="0" u="none" strike="noStrike" cap="none">
                <a:solidFill>
                  <a:srgbClr val="747C74"/>
                </a:solidFill>
                <a:latin typeface="Source Sans Pro"/>
                <a:ea typeface="Source Sans Pro"/>
                <a:cs typeface="Source Sans Pro"/>
                <a:sym typeface="Source Sans Pro"/>
              </a:rPr>
              <a:t>04-19 Sprint 6 Demo</a:t>
            </a:r>
            <a:endParaRPr sz="1200" b="0" i="0" u="none" strike="noStrike" cap="none">
              <a:solidFill>
                <a:srgbClr val="747C74"/>
              </a:solidFill>
              <a:latin typeface="Calibri"/>
              <a:ea typeface="Calibri"/>
              <a:cs typeface="Calibri"/>
              <a:sym typeface="Calibri"/>
            </a:endParaRPr>
          </a:p>
        </p:txBody>
      </p:sp>
    </p:spTree>
    <p:extLst>
      <p:ext uri="{BB962C8B-B14F-4D97-AF65-F5344CB8AC3E}">
        <p14:creationId xmlns:p14="http://schemas.microsoft.com/office/powerpoint/2010/main" val="416364448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Shape 703"/>
        <p:cNvGrpSpPr/>
        <p:nvPr/>
      </p:nvGrpSpPr>
      <p:grpSpPr>
        <a:xfrm>
          <a:off x="0" y="0"/>
          <a:ext cx="0" cy="0"/>
          <a:chOff x="0" y="0"/>
          <a:chExt cx="0" cy="0"/>
        </a:xfrm>
      </p:grpSpPr>
      <p:sp>
        <p:nvSpPr>
          <p:cNvPr id="704" name="Google Shape;704;p21"/>
          <p:cNvSpPr txBox="1">
            <a:spLocks noGrp="1"/>
          </p:cNvSpPr>
          <p:nvPr>
            <p:ph type="ctrTitle"/>
          </p:nvPr>
        </p:nvSpPr>
        <p:spPr>
          <a:xfrm>
            <a:off x="317460" y="2938176"/>
            <a:ext cx="7261656" cy="1632577"/>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6600"/>
              <a:buFont typeface="PT Serif"/>
              <a:buNone/>
            </a:pPr>
            <a:r>
              <a:rPr lang="en-US"/>
              <a:t>Preview of Sprint 1</a:t>
            </a:r>
            <a:endParaRPr/>
          </a:p>
        </p:txBody>
      </p:sp>
      <p:sp>
        <p:nvSpPr>
          <p:cNvPr id="705" name="Google Shape;705;p21"/>
          <p:cNvSpPr txBox="1">
            <a:spLocks noGrp="1"/>
          </p:cNvSpPr>
          <p:nvPr>
            <p:ph type="body" idx="1"/>
          </p:nvPr>
        </p:nvSpPr>
        <p:spPr>
          <a:xfrm>
            <a:off x="341868" y="2523777"/>
            <a:ext cx="4246607" cy="366651"/>
          </a:xfrm>
          <a:prstGeom prst="rect">
            <a:avLst/>
          </a:prstGeom>
          <a:noFill/>
          <a:ln>
            <a:noFill/>
          </a:ln>
        </p:spPr>
        <p:txBody>
          <a:bodyPr spcFirstLastPara="1" wrap="square" lIns="91425" tIns="45700" rIns="91425" bIns="45700" anchor="t" anchorCtr="0">
            <a:normAutofit/>
          </a:bodyPr>
          <a:lstStyle/>
          <a:p>
            <a:pPr marL="0" lvl="0" indent="0" algn="l" rtl="0">
              <a:lnSpc>
                <a:spcPct val="90000"/>
              </a:lnSpc>
              <a:spcBef>
                <a:spcPts val="0"/>
              </a:spcBef>
              <a:spcAft>
                <a:spcPts val="0"/>
              </a:spcAft>
              <a:buClr>
                <a:schemeClr val="lt1"/>
              </a:buClr>
              <a:buSzPts val="1600"/>
              <a:buNone/>
            </a:pPr>
            <a:r>
              <a:rPr lang="en-US"/>
              <a:t>SPRINT 6 DEMO</a:t>
            </a:r>
            <a:endParaRPr/>
          </a:p>
        </p:txBody>
      </p:sp>
      <p:sp>
        <p:nvSpPr>
          <p:cNvPr id="706" name="Google Shape;706;p21"/>
          <p:cNvSpPr txBox="1">
            <a:spLocks noGrp="1"/>
          </p:cNvSpPr>
          <p:nvPr>
            <p:ph type="sldNum" idx="12"/>
          </p:nvPr>
        </p:nvSpPr>
        <p:spPr>
          <a:xfrm>
            <a:off x="11474969" y="6356350"/>
            <a:ext cx="406052" cy="365125"/>
          </a:xfrm>
          <a:prstGeom prst="rect">
            <a:avLst/>
          </a:prstGeom>
          <a:noFill/>
          <a:ln>
            <a:noFill/>
          </a:ln>
        </p:spPr>
        <p:txBody>
          <a:bodyPr spcFirstLastPara="1" wrap="square" lIns="91425" tIns="45700" rIns="91425" bIns="45700" anchor="ctr" anchorCtr="0">
            <a:noAutofit/>
          </a:bodyPr>
          <a:lstStyle/>
          <a:p>
            <a:pPr marL="0" lvl="0" indent="0" algn="r" rtl="0">
              <a:spcBef>
                <a:spcPts val="0"/>
              </a:spcBef>
              <a:spcAft>
                <a:spcPts val="0"/>
              </a:spcAft>
              <a:buNone/>
            </a:pPr>
            <a:fld id="{00000000-1234-1234-1234-123412341234}" type="slidenum">
              <a:rPr lang="en-US"/>
              <a:t>23</a:t>
            </a:fld>
            <a:endParaRPr/>
          </a:p>
        </p:txBody>
      </p:sp>
      <p:sp>
        <p:nvSpPr>
          <p:cNvPr id="2" name="Google Shape;265;p4">
            <a:extLst>
              <a:ext uri="{FF2B5EF4-FFF2-40B4-BE49-F238E27FC236}">
                <a16:creationId xmlns:a16="http://schemas.microsoft.com/office/drawing/2014/main" id="{218A2BF7-C208-A0CB-E88F-A3CA5FD0CE37}"/>
              </a:ext>
            </a:extLst>
          </p:cNvPr>
          <p:cNvSpPr txBox="1"/>
          <p:nvPr/>
        </p:nvSpPr>
        <p:spPr>
          <a:xfrm>
            <a:off x="419100" y="6408650"/>
            <a:ext cx="2723465" cy="276999"/>
          </a:xfrm>
          <a:prstGeom prst="rect">
            <a:avLst/>
          </a:prstGeom>
          <a:noFill/>
          <a:ln>
            <a:noFill/>
          </a:ln>
        </p:spPr>
        <p:txBody>
          <a:bodyPr spcFirstLastPara="1" wrap="square" lIns="0" tIns="45700" rIns="91425" bIns="45700" anchor="t" anchorCtr="0">
            <a:spAutoFit/>
          </a:bodyPr>
          <a:lstStyle/>
          <a:p>
            <a:pPr marL="0" marR="0" lvl="0" indent="0" algn="l" rtl="0">
              <a:spcBef>
                <a:spcPts val="0"/>
              </a:spcBef>
              <a:spcAft>
                <a:spcPts val="0"/>
              </a:spcAft>
              <a:buNone/>
            </a:pPr>
            <a:r>
              <a:rPr lang="en-US" sz="1200" b="0" i="0" u="none" strike="noStrike" cap="none">
                <a:solidFill>
                  <a:srgbClr val="747C74"/>
                </a:solidFill>
                <a:latin typeface="Source Sans Pro"/>
                <a:ea typeface="Source Sans Pro"/>
                <a:cs typeface="Source Sans Pro"/>
                <a:sym typeface="Source Sans Pro"/>
              </a:rPr>
              <a:t>04-19 Sprint 6 Demo</a:t>
            </a:r>
            <a:endParaRPr sz="1800" b="0" i="0" u="none" strike="noStrike" cap="none">
              <a:solidFill>
                <a:srgbClr val="747C74"/>
              </a:solidFill>
              <a:latin typeface="Calibri"/>
              <a:ea typeface="Calibri"/>
              <a:cs typeface="Calibri"/>
              <a:sym typeface="Calibri"/>
            </a:endParaRPr>
          </a:p>
        </p:txBody>
      </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Shape 466"/>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AE7A1E5-B23E-48F6-B40F-A8EC6017F6F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0657" name="think-cell Slide" r:id="rId5" imgW="395" imgH="396" progId="TCLayout.ActiveDocument.1">
                  <p:embed/>
                </p:oleObj>
              </mc:Choice>
              <mc:Fallback>
                <p:oleObj name="think-cell Slide" r:id="rId5" imgW="395" imgH="396" progId="TCLayout.ActiveDocument.1">
                  <p:embed/>
                  <p:pic>
                    <p:nvPicPr>
                      <p:cNvPr id="3" name="Object 2" hidden="1">
                        <a:extLst>
                          <a:ext uri="{FF2B5EF4-FFF2-40B4-BE49-F238E27FC236}">
                            <a16:creationId xmlns:a16="http://schemas.microsoft.com/office/drawing/2014/main" id="{AAE7A1E5-B23E-48F6-B40F-A8EC6017F6F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71" name="Google Shape;471;p9"/>
          <p:cNvSpPr txBox="1"/>
          <p:nvPr/>
        </p:nvSpPr>
        <p:spPr>
          <a:xfrm>
            <a:off x="419100" y="6408650"/>
            <a:ext cx="2723465" cy="276999"/>
          </a:xfrm>
          <a:prstGeom prst="rect">
            <a:avLst/>
          </a:prstGeom>
          <a:noFill/>
          <a:ln>
            <a:noFill/>
          </a:ln>
        </p:spPr>
        <p:txBody>
          <a:bodyPr spcFirstLastPara="1" wrap="square" lIns="0" tIns="45700" rIns="91425" bIns="45700" anchor="t" anchorCtr="0">
            <a:spAutoFit/>
          </a:bodyPr>
          <a:lstStyle/>
          <a:p>
            <a:pPr marL="0" marR="0" lvl="0" indent="0" algn="l" rtl="0">
              <a:spcBef>
                <a:spcPts val="0"/>
              </a:spcBef>
              <a:spcAft>
                <a:spcPts val="0"/>
              </a:spcAft>
              <a:buNone/>
            </a:pPr>
            <a:r>
              <a:rPr lang="en-US" sz="1200" b="0" i="0" u="none" strike="noStrike" cap="none">
                <a:solidFill>
                  <a:srgbClr val="747C74"/>
                </a:solidFill>
                <a:latin typeface="Source Sans Pro"/>
                <a:ea typeface="Source Sans Pro"/>
                <a:cs typeface="Source Sans Pro"/>
                <a:sym typeface="Source Sans Pro"/>
              </a:rPr>
              <a:t>04-19 Sprint 6 Demo</a:t>
            </a:r>
            <a:endParaRPr sz="1200" b="0" i="0" u="none" strike="noStrike" cap="none">
              <a:solidFill>
                <a:srgbClr val="747C74"/>
              </a:solidFill>
              <a:latin typeface="Calibri"/>
              <a:ea typeface="Calibri"/>
              <a:cs typeface="Calibri"/>
              <a:sym typeface="Calibri"/>
            </a:endParaRPr>
          </a:p>
        </p:txBody>
      </p:sp>
      <p:graphicFrame>
        <p:nvGraphicFramePr>
          <p:cNvPr id="488" name="Google Shape;488;p9"/>
          <p:cNvGraphicFramePr/>
          <p:nvPr>
            <p:extLst>
              <p:ext uri="{D42A27DB-BD31-4B8C-83A1-F6EECF244321}">
                <p14:modId xmlns:p14="http://schemas.microsoft.com/office/powerpoint/2010/main" val="1532734144"/>
              </p:ext>
            </p:extLst>
          </p:nvPr>
        </p:nvGraphicFramePr>
        <p:xfrm>
          <a:off x="435089" y="1888500"/>
          <a:ext cx="2583092" cy="551365"/>
        </p:xfrm>
        <a:graphic>
          <a:graphicData uri="http://schemas.openxmlformats.org/drawingml/2006/table">
            <a:tbl>
              <a:tblPr firstRow="1" bandRow="1">
                <a:noFill/>
                <a:tableStyleId>{AC820A2F-F511-4E25-9DDC-E36724F9A483}</a:tableStyleId>
              </a:tblPr>
              <a:tblGrid>
                <a:gridCol w="73731">
                  <a:extLst>
                    <a:ext uri="{9D8B030D-6E8A-4147-A177-3AD203B41FA5}">
                      <a16:colId xmlns:a16="http://schemas.microsoft.com/office/drawing/2014/main" val="20000"/>
                    </a:ext>
                  </a:extLst>
                </a:gridCol>
                <a:gridCol w="2509361">
                  <a:extLst>
                    <a:ext uri="{9D8B030D-6E8A-4147-A177-3AD203B41FA5}">
                      <a16:colId xmlns:a16="http://schemas.microsoft.com/office/drawing/2014/main" val="20001"/>
                    </a:ext>
                  </a:extLst>
                </a:gridCol>
              </a:tblGrid>
              <a:tr h="551365">
                <a:tc>
                  <a:txBody>
                    <a:bodyPr/>
                    <a:lstStyle/>
                    <a:p>
                      <a:pPr marL="0" marR="0" lvl="0" indent="0" algn="l" rtl="0">
                        <a:spcBef>
                          <a:spcPts val="0"/>
                        </a:spcBef>
                        <a:spcAft>
                          <a:spcPts val="0"/>
                        </a:spcAft>
                        <a:buNone/>
                      </a:pPr>
                      <a:endParaRPr sz="1800"/>
                    </a:p>
                  </a:txBody>
                  <a:tcPr marL="0" marR="0" marT="45725" marB="45725">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chemeClr val="accent3"/>
                    </a:solidFill>
                  </a:tcPr>
                </a:tc>
                <a:tc>
                  <a:txBody>
                    <a:bodyPr/>
                    <a:lstStyle/>
                    <a:p>
                      <a:pPr lvl="0" algn="l">
                        <a:lnSpc>
                          <a:spcPct val="100000"/>
                        </a:lnSpc>
                        <a:spcBef>
                          <a:spcPts val="0"/>
                        </a:spcBef>
                        <a:spcAft>
                          <a:spcPts val="0"/>
                        </a:spcAft>
                        <a:buNone/>
                      </a:pPr>
                      <a:r>
                        <a:rPr lang="en-US" sz="1200" b="0" i="0" u="none" strike="noStrike" cap="none" noProof="0">
                          <a:solidFill>
                            <a:schemeClr val="dk2"/>
                          </a:solidFill>
                          <a:latin typeface="Source Sans Pro"/>
                        </a:rPr>
                        <a:t>Next sprint demo:</a:t>
                      </a:r>
                      <a:r>
                        <a:rPr lang="en-US" sz="1200" b="1" i="0" u="none" strike="noStrike" cap="none" noProof="0">
                          <a:solidFill>
                            <a:schemeClr val="dk2"/>
                          </a:solidFill>
                          <a:latin typeface="Source Sans Pro"/>
                        </a:rPr>
                        <a:t> </a:t>
                      </a:r>
                      <a:r>
                        <a:rPr lang="en-US" sz="1200" b="0" i="0" u="none" strike="noStrike" cap="none" noProof="0">
                          <a:solidFill>
                            <a:schemeClr val="dk2"/>
                          </a:solidFill>
                          <a:latin typeface="Source Sans Pro"/>
                        </a:rPr>
                        <a:t>May 3</a:t>
                      </a:r>
                      <a:r>
                        <a:rPr lang="en-US" sz="1200" b="0" i="0" u="none" strike="noStrike" cap="none" baseline="30000" noProof="0">
                          <a:solidFill>
                            <a:schemeClr val="dk2"/>
                          </a:solidFill>
                          <a:latin typeface="Source Sans Pro"/>
                        </a:rPr>
                        <a:t>rd</a:t>
                      </a:r>
                      <a:r>
                        <a:rPr lang="en-US" sz="1200" b="0" i="0" u="none" strike="noStrike" cap="none" noProof="0">
                          <a:solidFill>
                            <a:schemeClr val="dk2"/>
                          </a:solidFill>
                          <a:latin typeface="Source Sans Pro"/>
                        </a:rPr>
                        <a:t> </a:t>
                      </a:r>
                    </a:p>
                  </a:txBody>
                  <a:tcPr marL="182875" marR="182875" marT="182875" marB="182875"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rgbClr val="E8E8E8"/>
                    </a:solidFill>
                  </a:tcPr>
                </a:tc>
                <a:extLst>
                  <a:ext uri="{0D108BD9-81ED-4DB2-BD59-A6C34878D82A}">
                    <a16:rowId xmlns:a16="http://schemas.microsoft.com/office/drawing/2014/main" val="10000"/>
                  </a:ext>
                </a:extLst>
              </a:tr>
            </a:tbl>
          </a:graphicData>
        </a:graphic>
      </p:graphicFrame>
      <p:grpSp>
        <p:nvGrpSpPr>
          <p:cNvPr id="4" name="Group 3">
            <a:extLst>
              <a:ext uri="{FF2B5EF4-FFF2-40B4-BE49-F238E27FC236}">
                <a16:creationId xmlns:a16="http://schemas.microsoft.com/office/drawing/2014/main" id="{AB31B214-37A4-4CE0-A956-87A5196939D4}"/>
              </a:ext>
            </a:extLst>
          </p:cNvPr>
          <p:cNvGrpSpPr/>
          <p:nvPr/>
        </p:nvGrpSpPr>
        <p:grpSpPr>
          <a:xfrm>
            <a:off x="3587603" y="2023912"/>
            <a:ext cx="1106250" cy="406001"/>
            <a:chOff x="3240398" y="1573764"/>
            <a:chExt cx="1106250" cy="406001"/>
          </a:xfrm>
        </p:grpSpPr>
        <p:sp>
          <p:nvSpPr>
            <p:cNvPr id="474" name="Google Shape;474;p9"/>
            <p:cNvSpPr/>
            <p:nvPr/>
          </p:nvSpPr>
          <p:spPr>
            <a:xfrm>
              <a:off x="3240398" y="1576175"/>
              <a:ext cx="229970" cy="226723"/>
            </a:xfrm>
            <a:prstGeom prst="ellipse">
              <a:avLst/>
            </a:prstGeom>
            <a:solidFill>
              <a:srgbClr val="00548F"/>
            </a:solidFill>
            <a:ln>
              <a:noFill/>
            </a:ln>
          </p:spPr>
          <p:txBody>
            <a:bodyPr spcFirstLastPara="1" wrap="square" lIns="50800" tIns="50800" rIns="50800" bIns="50800" anchor="ctr" anchorCtr="0">
              <a:noAutofit/>
            </a:bodyPr>
            <a:lstStyle/>
            <a:p>
              <a:pPr marL="0" marR="0" lvl="0" indent="0" algn="ctr" rtl="0">
                <a:lnSpc>
                  <a:spcPct val="140000"/>
                </a:lnSpc>
                <a:spcBef>
                  <a:spcPts val="0"/>
                </a:spcBef>
                <a:spcAft>
                  <a:spcPts val="0"/>
                </a:spcAft>
                <a:buClr>
                  <a:srgbClr val="FDFFFD"/>
                </a:buClr>
                <a:buSzPts val="1600"/>
                <a:buFont typeface="PT Serif"/>
                <a:buNone/>
              </a:pPr>
              <a:r>
                <a:rPr lang="en-US" sz="1050" b="0" i="0" u="none" strike="noStrike" cap="none">
                  <a:solidFill>
                    <a:srgbClr val="FDFFFD"/>
                  </a:solidFill>
                  <a:latin typeface="Arial"/>
                  <a:ea typeface="Arial"/>
                  <a:cs typeface="Arial"/>
                  <a:sym typeface="Arial"/>
                </a:rPr>
                <a:t>1</a:t>
              </a:r>
              <a:endParaRPr sz="1000" b="0" i="0" u="none" strike="noStrike" cap="none">
                <a:solidFill>
                  <a:srgbClr val="000000"/>
                </a:solidFill>
                <a:latin typeface="Arial"/>
                <a:ea typeface="Arial"/>
                <a:cs typeface="Arial"/>
                <a:sym typeface="Arial"/>
              </a:endParaRPr>
            </a:p>
          </p:txBody>
        </p:sp>
        <p:sp>
          <p:nvSpPr>
            <p:cNvPr id="478" name="Google Shape;478;p9"/>
            <p:cNvSpPr txBox="1"/>
            <p:nvPr/>
          </p:nvSpPr>
          <p:spPr>
            <a:xfrm>
              <a:off x="3532057" y="1573764"/>
              <a:ext cx="814591" cy="406001"/>
            </a:xfrm>
            <a:prstGeom prst="rect">
              <a:avLst/>
            </a:prstGeom>
            <a:noFill/>
            <a:ln>
              <a:noFill/>
            </a:ln>
          </p:spPr>
          <p:txBody>
            <a:bodyPr spcFirstLastPara="1" wrap="square" lIns="0" tIns="45700" rIns="0" bIns="45700" anchor="t" anchorCtr="0">
              <a:normAutofit/>
            </a:bodyPr>
            <a:lstStyle/>
            <a:p>
              <a:pPr marL="0" marR="0" lvl="0" indent="0" algn="l">
                <a:lnSpc>
                  <a:spcPct val="90000"/>
                </a:lnSpc>
                <a:spcBef>
                  <a:spcPts val="0"/>
                </a:spcBef>
                <a:spcAft>
                  <a:spcPts val="0"/>
                </a:spcAft>
                <a:buNone/>
              </a:pPr>
              <a:r>
                <a:rPr lang="en-US" b="1">
                  <a:solidFill>
                    <a:srgbClr val="0365B9"/>
                  </a:solidFill>
                  <a:latin typeface="Source Sans Pro Semibold"/>
                  <a:ea typeface="Source Sans Pro Semibold"/>
                  <a:sym typeface="Source Sans Pro SemiBold"/>
                </a:rPr>
                <a:t>PRODUCT</a:t>
              </a:r>
              <a:endParaRPr lang="en-US"/>
            </a:p>
          </p:txBody>
        </p:sp>
      </p:grpSp>
      <p:sp>
        <p:nvSpPr>
          <p:cNvPr id="482" name="Google Shape;482;p9"/>
          <p:cNvSpPr txBox="1"/>
          <p:nvPr/>
        </p:nvSpPr>
        <p:spPr>
          <a:xfrm>
            <a:off x="4825717" y="2009565"/>
            <a:ext cx="6083811" cy="646331"/>
          </a:xfrm>
          <a:prstGeom prst="rect">
            <a:avLst/>
          </a:prstGeom>
          <a:noFill/>
          <a:ln>
            <a:noFill/>
          </a:ln>
        </p:spPr>
        <p:txBody>
          <a:bodyPr spcFirstLastPara="1" wrap="square" lIns="0" tIns="0" rIns="0" bIns="0" anchor="t" anchorCtr="0">
            <a:spAutoFit/>
          </a:bodyPr>
          <a:lstStyle/>
          <a:p>
            <a:pPr marL="228600" indent="-228600">
              <a:spcBef>
                <a:spcPts val="600"/>
              </a:spcBef>
              <a:buClr>
                <a:srgbClr val="747C74"/>
              </a:buClr>
              <a:buSzPts val="1200"/>
              <a:buAutoNum type="alphaUcPeriod"/>
            </a:pPr>
            <a:r>
              <a:rPr lang="en-US" sz="900">
                <a:latin typeface="PT Serif"/>
              </a:rPr>
              <a:t>Initial discovery</a:t>
            </a:r>
          </a:p>
          <a:p>
            <a:pPr marL="228600" indent="-228600">
              <a:spcBef>
                <a:spcPts val="600"/>
              </a:spcBef>
              <a:buClr>
                <a:srgbClr val="747C74"/>
              </a:buClr>
              <a:buSzPts val="1200"/>
              <a:buAutoNum type="alphaUcPeriod"/>
            </a:pPr>
            <a:r>
              <a:rPr lang="en-US" sz="900">
                <a:latin typeface="PT Serif"/>
              </a:rPr>
              <a:t>Vision framework formulation</a:t>
            </a:r>
          </a:p>
          <a:p>
            <a:pPr marL="228600" indent="-228600">
              <a:spcBef>
                <a:spcPts val="600"/>
              </a:spcBef>
              <a:buClr>
                <a:srgbClr val="747C74"/>
              </a:buClr>
              <a:buSzPts val="1200"/>
              <a:buAutoNum type="alphaUcPeriod"/>
            </a:pPr>
            <a:r>
              <a:rPr lang="en-US" sz="900">
                <a:latin typeface="PT Serif"/>
              </a:rPr>
              <a:t>Business partners identification</a:t>
            </a:r>
          </a:p>
        </p:txBody>
      </p:sp>
      <p:grpSp>
        <p:nvGrpSpPr>
          <p:cNvPr id="5" name="Group 4">
            <a:extLst>
              <a:ext uri="{FF2B5EF4-FFF2-40B4-BE49-F238E27FC236}">
                <a16:creationId xmlns:a16="http://schemas.microsoft.com/office/drawing/2014/main" id="{B4748D22-10CC-4855-AD20-21CA97C1DB4C}"/>
              </a:ext>
            </a:extLst>
          </p:cNvPr>
          <p:cNvGrpSpPr/>
          <p:nvPr/>
        </p:nvGrpSpPr>
        <p:grpSpPr>
          <a:xfrm>
            <a:off x="3620448" y="3603365"/>
            <a:ext cx="839223" cy="297144"/>
            <a:chOff x="3262592" y="4241791"/>
            <a:chExt cx="839223" cy="297144"/>
          </a:xfrm>
        </p:grpSpPr>
        <p:sp>
          <p:nvSpPr>
            <p:cNvPr id="475" name="Google Shape;475;p9"/>
            <p:cNvSpPr txBox="1"/>
            <p:nvPr/>
          </p:nvSpPr>
          <p:spPr>
            <a:xfrm>
              <a:off x="3536983" y="4241791"/>
              <a:ext cx="564832" cy="297144"/>
            </a:xfrm>
            <a:prstGeom prst="rect">
              <a:avLst/>
            </a:prstGeom>
            <a:noFill/>
            <a:ln>
              <a:noFill/>
            </a:ln>
          </p:spPr>
          <p:txBody>
            <a:bodyPr spcFirstLastPara="1" wrap="square" lIns="0" tIns="45700" rIns="0" bIns="45700" anchor="t" anchorCtr="0">
              <a:normAutofit/>
            </a:bodyPr>
            <a:lstStyle/>
            <a:p>
              <a:pPr marL="0" marR="0" lvl="0" indent="0" algn="l">
                <a:lnSpc>
                  <a:spcPct val="90000"/>
                </a:lnSpc>
                <a:spcBef>
                  <a:spcPts val="0"/>
                </a:spcBef>
                <a:spcAft>
                  <a:spcPts val="0"/>
                </a:spcAft>
                <a:buNone/>
              </a:pPr>
              <a:r>
                <a:rPr lang="en-US" b="1">
                  <a:solidFill>
                    <a:srgbClr val="0365B9"/>
                  </a:solidFill>
                  <a:latin typeface="Source Sans Pro Semibold"/>
                  <a:ea typeface="Source Sans Pro Semibold"/>
                  <a:sym typeface="Source Sans Pro SemiBold"/>
                </a:rPr>
                <a:t>TECH</a:t>
              </a:r>
              <a:endParaRPr lang="en-US"/>
            </a:p>
          </p:txBody>
        </p:sp>
        <p:sp>
          <p:nvSpPr>
            <p:cNvPr id="479" name="Google Shape;479;p9"/>
            <p:cNvSpPr/>
            <p:nvPr/>
          </p:nvSpPr>
          <p:spPr>
            <a:xfrm>
              <a:off x="3262592" y="4242802"/>
              <a:ext cx="229970" cy="226723"/>
            </a:xfrm>
            <a:prstGeom prst="ellipse">
              <a:avLst/>
            </a:prstGeom>
            <a:solidFill>
              <a:srgbClr val="00548F"/>
            </a:solidFill>
            <a:ln>
              <a:noFill/>
            </a:ln>
          </p:spPr>
          <p:txBody>
            <a:bodyPr spcFirstLastPara="1" wrap="square" lIns="50800" tIns="50800" rIns="50800" bIns="50800" anchor="ctr" anchorCtr="0">
              <a:noAutofit/>
            </a:bodyPr>
            <a:lstStyle/>
            <a:p>
              <a:pPr marL="0" marR="0" lvl="0" indent="0" algn="ctr" rtl="0">
                <a:lnSpc>
                  <a:spcPct val="140000"/>
                </a:lnSpc>
                <a:spcBef>
                  <a:spcPts val="0"/>
                </a:spcBef>
                <a:spcAft>
                  <a:spcPts val="0"/>
                </a:spcAft>
                <a:buClr>
                  <a:srgbClr val="FDFFFD"/>
                </a:buClr>
                <a:buSzPts val="1600"/>
                <a:buFont typeface="PT Serif"/>
                <a:buNone/>
              </a:pPr>
              <a:r>
                <a:rPr lang="en-US" sz="1050" b="0" i="0" u="none" strike="noStrike" cap="none">
                  <a:solidFill>
                    <a:srgbClr val="FDFFFD"/>
                  </a:solidFill>
                  <a:latin typeface="Arial"/>
                  <a:ea typeface="Arial"/>
                  <a:cs typeface="Arial"/>
                  <a:sym typeface="Arial"/>
                </a:rPr>
                <a:t>3</a:t>
              </a:r>
              <a:endParaRPr sz="1000" b="0" i="0" u="none" strike="noStrike" cap="none">
                <a:solidFill>
                  <a:srgbClr val="000000"/>
                </a:solidFill>
                <a:latin typeface="Arial"/>
                <a:ea typeface="Arial"/>
                <a:cs typeface="Arial"/>
                <a:sym typeface="Arial"/>
              </a:endParaRPr>
            </a:p>
          </p:txBody>
        </p:sp>
      </p:grpSp>
      <p:grpSp>
        <p:nvGrpSpPr>
          <p:cNvPr id="2" name="Group 1">
            <a:extLst>
              <a:ext uri="{FF2B5EF4-FFF2-40B4-BE49-F238E27FC236}">
                <a16:creationId xmlns:a16="http://schemas.microsoft.com/office/drawing/2014/main" id="{5446D027-4741-472B-92E7-05F1C5E0D155}"/>
              </a:ext>
            </a:extLst>
          </p:cNvPr>
          <p:cNvGrpSpPr/>
          <p:nvPr/>
        </p:nvGrpSpPr>
        <p:grpSpPr>
          <a:xfrm>
            <a:off x="3620448" y="2871265"/>
            <a:ext cx="1155249" cy="406001"/>
            <a:chOff x="3247796" y="2994263"/>
            <a:chExt cx="1155249" cy="406001"/>
          </a:xfrm>
        </p:grpSpPr>
        <p:sp>
          <p:nvSpPr>
            <p:cNvPr id="477" name="Google Shape;477;p9"/>
            <p:cNvSpPr/>
            <p:nvPr/>
          </p:nvSpPr>
          <p:spPr>
            <a:xfrm>
              <a:off x="3247796" y="2996622"/>
              <a:ext cx="229970" cy="226723"/>
            </a:xfrm>
            <a:prstGeom prst="ellipse">
              <a:avLst/>
            </a:prstGeom>
            <a:solidFill>
              <a:srgbClr val="00548F"/>
            </a:solidFill>
            <a:ln>
              <a:noFill/>
            </a:ln>
          </p:spPr>
          <p:txBody>
            <a:bodyPr spcFirstLastPara="1" wrap="square" lIns="50800" tIns="50800" rIns="50800" bIns="50800" anchor="ctr" anchorCtr="0">
              <a:noAutofit/>
            </a:bodyPr>
            <a:lstStyle/>
            <a:p>
              <a:pPr marL="0" marR="0" lvl="0" indent="0" algn="ctr" rtl="0">
                <a:lnSpc>
                  <a:spcPct val="140000"/>
                </a:lnSpc>
                <a:spcBef>
                  <a:spcPts val="0"/>
                </a:spcBef>
                <a:spcAft>
                  <a:spcPts val="0"/>
                </a:spcAft>
                <a:buClr>
                  <a:srgbClr val="FDFFFD"/>
                </a:buClr>
                <a:buSzPts val="1600"/>
                <a:buFont typeface="PT Serif"/>
                <a:buNone/>
              </a:pPr>
              <a:r>
                <a:rPr lang="en-US" sz="1050" b="0" i="0" u="none" strike="noStrike" cap="none">
                  <a:solidFill>
                    <a:srgbClr val="FDFFFD"/>
                  </a:solidFill>
                  <a:latin typeface="Arial"/>
                  <a:ea typeface="Arial"/>
                  <a:cs typeface="Arial"/>
                  <a:sym typeface="Arial"/>
                </a:rPr>
                <a:t>2</a:t>
              </a:r>
              <a:endParaRPr sz="1000" b="0" i="0" u="none" strike="noStrike" cap="none">
                <a:solidFill>
                  <a:srgbClr val="000000"/>
                </a:solidFill>
                <a:latin typeface="Arial"/>
                <a:ea typeface="Arial"/>
                <a:cs typeface="Arial"/>
                <a:sym typeface="Arial"/>
              </a:endParaRPr>
            </a:p>
          </p:txBody>
        </p:sp>
        <p:sp>
          <p:nvSpPr>
            <p:cNvPr id="480" name="Google Shape;480;p9"/>
            <p:cNvSpPr txBox="1"/>
            <p:nvPr/>
          </p:nvSpPr>
          <p:spPr>
            <a:xfrm>
              <a:off x="3530079" y="2994263"/>
              <a:ext cx="872966" cy="406001"/>
            </a:xfrm>
            <a:prstGeom prst="rect">
              <a:avLst/>
            </a:prstGeom>
            <a:noFill/>
            <a:ln>
              <a:noFill/>
            </a:ln>
          </p:spPr>
          <p:txBody>
            <a:bodyPr spcFirstLastPara="1" wrap="square" lIns="0" tIns="45700" rIns="0" bIns="45700" anchor="t" anchorCtr="0">
              <a:normAutofit/>
            </a:bodyPr>
            <a:lstStyle/>
            <a:p>
              <a:pPr marL="0" marR="0" lvl="0" indent="0" algn="l">
                <a:lnSpc>
                  <a:spcPct val="90000"/>
                </a:lnSpc>
                <a:spcBef>
                  <a:spcPts val="0"/>
                </a:spcBef>
                <a:spcAft>
                  <a:spcPts val="0"/>
                </a:spcAft>
                <a:buNone/>
              </a:pPr>
              <a:r>
                <a:rPr lang="en-US" b="1">
                  <a:solidFill>
                    <a:srgbClr val="0365B9"/>
                  </a:solidFill>
                  <a:latin typeface="Source Sans Pro Semibold"/>
                  <a:ea typeface="Source Sans Pro Semibold"/>
                  <a:sym typeface="Source Sans Pro SemiBold"/>
                </a:rPr>
                <a:t>DESIGN</a:t>
              </a:r>
              <a:endParaRPr lang="en-US"/>
            </a:p>
          </p:txBody>
        </p:sp>
      </p:grpSp>
      <p:cxnSp>
        <p:nvCxnSpPr>
          <p:cNvPr id="485" name="Google Shape;485;p9"/>
          <p:cNvCxnSpPr/>
          <p:nvPr/>
        </p:nvCxnSpPr>
        <p:spPr>
          <a:xfrm>
            <a:off x="3558637" y="2705428"/>
            <a:ext cx="8115033" cy="0"/>
          </a:xfrm>
          <a:prstGeom prst="straightConnector1">
            <a:avLst/>
          </a:prstGeom>
          <a:noFill/>
          <a:ln w="9525" cap="flat" cmpd="sng">
            <a:solidFill>
              <a:srgbClr val="747C74"/>
            </a:solidFill>
            <a:prstDash val="dot"/>
            <a:round/>
            <a:headEnd type="none" w="sm" len="sm"/>
            <a:tailEnd type="none" w="sm" len="sm"/>
          </a:ln>
        </p:spPr>
      </p:cxnSp>
      <p:cxnSp>
        <p:nvCxnSpPr>
          <p:cNvPr id="486" name="Google Shape;486;p9"/>
          <p:cNvCxnSpPr/>
          <p:nvPr/>
        </p:nvCxnSpPr>
        <p:spPr>
          <a:xfrm>
            <a:off x="3587603" y="3463925"/>
            <a:ext cx="8086547" cy="7121"/>
          </a:xfrm>
          <a:prstGeom prst="straightConnector1">
            <a:avLst/>
          </a:prstGeom>
          <a:noFill/>
          <a:ln w="9525" cap="flat" cmpd="sng">
            <a:solidFill>
              <a:srgbClr val="747C74"/>
            </a:solidFill>
            <a:prstDash val="dot"/>
            <a:round/>
            <a:headEnd type="none" w="sm" len="sm"/>
            <a:tailEnd type="none" w="sm" len="sm"/>
          </a:ln>
        </p:spPr>
      </p:cxnSp>
      <p:cxnSp>
        <p:nvCxnSpPr>
          <p:cNvPr id="487" name="Google Shape;487;p9"/>
          <p:cNvCxnSpPr/>
          <p:nvPr/>
        </p:nvCxnSpPr>
        <p:spPr>
          <a:xfrm>
            <a:off x="3586661" y="4325100"/>
            <a:ext cx="8085503" cy="0"/>
          </a:xfrm>
          <a:prstGeom prst="straightConnector1">
            <a:avLst/>
          </a:prstGeom>
          <a:noFill/>
          <a:ln w="9525" cap="flat" cmpd="sng">
            <a:solidFill>
              <a:srgbClr val="747C74"/>
            </a:solidFill>
            <a:prstDash val="dot"/>
            <a:round/>
            <a:headEnd type="none" w="sm" len="sm"/>
            <a:tailEnd type="none" w="sm" len="sm"/>
          </a:ln>
        </p:spPr>
      </p:cxnSp>
      <p:cxnSp>
        <p:nvCxnSpPr>
          <p:cNvPr id="36" name="Google Shape;485;p9">
            <a:extLst>
              <a:ext uri="{FF2B5EF4-FFF2-40B4-BE49-F238E27FC236}">
                <a16:creationId xmlns:a16="http://schemas.microsoft.com/office/drawing/2014/main" id="{EAECDCBB-3819-4FCD-A496-F9491BDFD89C}"/>
              </a:ext>
            </a:extLst>
          </p:cNvPr>
          <p:cNvCxnSpPr>
            <a:cxnSpLocks/>
          </p:cNvCxnSpPr>
          <p:nvPr/>
        </p:nvCxnSpPr>
        <p:spPr>
          <a:xfrm>
            <a:off x="3557130" y="1893073"/>
            <a:ext cx="8115033" cy="14242"/>
          </a:xfrm>
          <a:prstGeom prst="straightConnector1">
            <a:avLst/>
          </a:prstGeom>
          <a:noFill/>
          <a:ln w="9525" cap="flat" cmpd="sng">
            <a:solidFill>
              <a:srgbClr val="747C74"/>
            </a:solidFill>
            <a:prstDash val="dot"/>
            <a:round/>
            <a:headEnd type="none" w="sm" len="sm"/>
            <a:tailEnd type="none" w="sm" len="sm"/>
          </a:ln>
        </p:spPr>
      </p:cxnSp>
      <p:sp>
        <p:nvSpPr>
          <p:cNvPr id="7" name="Google Shape;822;p23">
            <a:extLst>
              <a:ext uri="{FF2B5EF4-FFF2-40B4-BE49-F238E27FC236}">
                <a16:creationId xmlns:a16="http://schemas.microsoft.com/office/drawing/2014/main" id="{BE7F7455-B913-4524-B9A1-CFE51EA4FDC0}"/>
              </a:ext>
            </a:extLst>
          </p:cNvPr>
          <p:cNvSpPr txBox="1">
            <a:spLocks/>
          </p:cNvSpPr>
          <p:nvPr/>
        </p:nvSpPr>
        <p:spPr>
          <a:xfrm>
            <a:off x="332047" y="370532"/>
            <a:ext cx="9922081" cy="1090421"/>
          </a:xfrm>
          <a:prstGeom prst="rect">
            <a:avLst/>
          </a:prstGeom>
          <a:noFill/>
          <a:ln>
            <a:noFill/>
          </a:ln>
        </p:spPr>
        <p:txBody>
          <a:bodyPr spcFirstLastPara="1" wrap="square" lIns="91425" tIns="45700" rIns="91425" bIns="45700" anchor="t" anchorCtr="0">
            <a:normAutofit fontScale="97500"/>
          </a:bodyPr>
          <a:lstStyle>
            <a:defPPr marR="0" lvl="0" algn="l" rtl="0">
              <a:lnSpc>
                <a:spcPct val="100000"/>
              </a:lnSpc>
              <a:spcBef>
                <a:spcPts val="0"/>
              </a:spcBef>
              <a:spcAft>
                <a:spcPts val="0"/>
              </a:spcAft>
            </a:defPPr>
            <a:lvl1pPr marR="0" lvl="0" algn="l" rtl="0">
              <a:lnSpc>
                <a:spcPct val="90000"/>
              </a:lnSpc>
              <a:spcBef>
                <a:spcPts val="0"/>
              </a:spcBef>
              <a:spcAft>
                <a:spcPts val="0"/>
              </a:spcAft>
              <a:buClr>
                <a:schemeClr val="dk1"/>
              </a:buClr>
              <a:buSzPts val="3600"/>
              <a:buFont typeface="PT Serif"/>
              <a:buNone/>
              <a:defRPr sz="3600" b="0" i="0" u="none" strike="noStrike" cap="none">
                <a:solidFill>
                  <a:schemeClr val="dk1"/>
                </a:solidFill>
                <a:latin typeface="PT Serif"/>
                <a:ea typeface="PT Serif"/>
                <a:cs typeface="PT Serif"/>
                <a:sym typeface="PT Serif"/>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pPr>
              <a:buSzPct val="100000"/>
            </a:pPr>
            <a:r>
              <a:rPr lang="en-US" sz="3300"/>
              <a:t>Sprint 1 of Health Hub will focus on </a:t>
            </a:r>
          </a:p>
        </p:txBody>
      </p:sp>
      <p:sp>
        <p:nvSpPr>
          <p:cNvPr id="15" name="TextBox 14">
            <a:extLst>
              <a:ext uri="{FF2B5EF4-FFF2-40B4-BE49-F238E27FC236}">
                <a16:creationId xmlns:a16="http://schemas.microsoft.com/office/drawing/2014/main" id="{7CB18294-8481-4276-8B40-97E3110A50BA}"/>
              </a:ext>
            </a:extLst>
          </p:cNvPr>
          <p:cNvSpPr txBox="1"/>
          <p:nvPr/>
        </p:nvSpPr>
        <p:spPr>
          <a:xfrm>
            <a:off x="236548" y="2625511"/>
            <a:ext cx="2790863" cy="552932"/>
          </a:xfrm>
          <a:prstGeom prst="rect">
            <a:avLst/>
          </a:prstGeom>
          <a:noFill/>
          <a:ln>
            <a:noFill/>
          </a:ln>
        </p:spPr>
        <p:txBody>
          <a:bodyPr spcFirstLastPara="1" wrap="square" lIns="91425" tIns="45700" rIns="91425" bIns="45700" anchor="t" anchorCtr="0">
            <a:spAutoFit/>
          </a:bodyPr>
          <a:lstStyle>
            <a:defPPr marR="0" lvl="0" algn="l" rtl="0">
              <a:lnSpc>
                <a:spcPct val="100000"/>
              </a:lnSpc>
              <a:spcBef>
                <a:spcPts val="0"/>
              </a:spcBef>
              <a:spcAft>
                <a:spcPts val="0"/>
              </a:spcAft>
            </a:defPPr>
            <a:lvl1pPr marL="457200" indent="-355600">
              <a:lnSpc>
                <a:spcPct val="90000"/>
              </a:lnSpc>
              <a:spcBef>
                <a:spcPts val="1000"/>
              </a:spcBef>
              <a:buClr>
                <a:schemeClr val="dk2"/>
              </a:buClr>
              <a:buSzPts val="2000"/>
              <a:buChar char="•"/>
              <a:defRPr sz="2000">
                <a:solidFill>
                  <a:schemeClr val="dk2"/>
                </a:solidFill>
                <a:latin typeface="PT Serif"/>
                <a:ea typeface="PT Serif"/>
                <a:cs typeface="PT Serif"/>
              </a:defRPr>
            </a:lvl1pPr>
            <a:lvl2pPr marL="914400" indent="-342900">
              <a:lnSpc>
                <a:spcPct val="90000"/>
              </a:lnSpc>
              <a:spcBef>
                <a:spcPts val="500"/>
              </a:spcBef>
              <a:buClr>
                <a:schemeClr val="dk2"/>
              </a:buClr>
              <a:buSzPts val="1800"/>
              <a:buChar char="•"/>
              <a:defRPr sz="1800">
                <a:solidFill>
                  <a:schemeClr val="dk2"/>
                </a:solidFill>
                <a:latin typeface="PT Serif"/>
                <a:ea typeface="PT Serif"/>
                <a:cs typeface="PT Serif"/>
              </a:defRPr>
            </a:lvl2pPr>
            <a:lvl3pPr marL="1371600" indent="-330200">
              <a:lnSpc>
                <a:spcPct val="90000"/>
              </a:lnSpc>
              <a:spcBef>
                <a:spcPts val="500"/>
              </a:spcBef>
              <a:buClr>
                <a:schemeClr val="dk2"/>
              </a:buClr>
              <a:buSzPts val="1600"/>
              <a:buChar char="•"/>
              <a:defRPr sz="1600">
                <a:solidFill>
                  <a:schemeClr val="dk2"/>
                </a:solidFill>
                <a:latin typeface="PT Serif"/>
                <a:ea typeface="PT Serif"/>
                <a:cs typeface="PT Serif"/>
              </a:defRPr>
            </a:lvl3pPr>
            <a:lvl4pPr marL="1828800" indent="-317500">
              <a:lnSpc>
                <a:spcPct val="90000"/>
              </a:lnSpc>
              <a:spcBef>
                <a:spcPts val="500"/>
              </a:spcBef>
              <a:buClr>
                <a:schemeClr val="dk2"/>
              </a:buClr>
              <a:buSzPts val="1400"/>
              <a:buChar char="•"/>
              <a:defRPr>
                <a:solidFill>
                  <a:schemeClr val="dk2"/>
                </a:solidFill>
                <a:latin typeface="PT Serif"/>
                <a:ea typeface="PT Serif"/>
                <a:cs typeface="PT Serif"/>
              </a:defRPr>
            </a:lvl4pPr>
            <a:lvl5pPr marL="2286000" indent="-317500">
              <a:lnSpc>
                <a:spcPct val="90000"/>
              </a:lnSpc>
              <a:spcBef>
                <a:spcPts val="500"/>
              </a:spcBef>
              <a:buClr>
                <a:schemeClr val="dk2"/>
              </a:buClr>
              <a:buSzPts val="1400"/>
              <a:buChar char="•"/>
              <a:defRPr>
                <a:solidFill>
                  <a:schemeClr val="dk2"/>
                </a:solidFill>
                <a:latin typeface="PT Serif"/>
                <a:ea typeface="PT Serif"/>
                <a:cs typeface="PT Serif"/>
              </a:defRPr>
            </a:lvl5pPr>
            <a:lvl6pPr marL="2743200" indent="-342900">
              <a:lnSpc>
                <a:spcPct val="90000"/>
              </a:lnSpc>
              <a:spcBef>
                <a:spcPts val="500"/>
              </a:spcBef>
              <a:buClr>
                <a:schemeClr val="dk1"/>
              </a:buClr>
              <a:buSzPts val="1800"/>
              <a:buChar char="•"/>
              <a:defRPr sz="1800">
                <a:solidFill>
                  <a:schemeClr val="dk1"/>
                </a:solidFill>
                <a:latin typeface="Calibri"/>
                <a:ea typeface="Calibri"/>
                <a:cs typeface="Calibri"/>
              </a:defRPr>
            </a:lvl6pPr>
            <a:lvl7pPr marL="3200400" indent="-342900">
              <a:lnSpc>
                <a:spcPct val="90000"/>
              </a:lnSpc>
              <a:spcBef>
                <a:spcPts val="500"/>
              </a:spcBef>
              <a:buClr>
                <a:schemeClr val="dk1"/>
              </a:buClr>
              <a:buSzPts val="1800"/>
              <a:buChar char="•"/>
              <a:defRPr sz="1800">
                <a:solidFill>
                  <a:schemeClr val="dk1"/>
                </a:solidFill>
                <a:latin typeface="Calibri"/>
                <a:ea typeface="Calibri"/>
                <a:cs typeface="Calibri"/>
              </a:defRPr>
            </a:lvl7pPr>
            <a:lvl8pPr marL="3657600" indent="-342900">
              <a:lnSpc>
                <a:spcPct val="90000"/>
              </a:lnSpc>
              <a:spcBef>
                <a:spcPts val="500"/>
              </a:spcBef>
              <a:buClr>
                <a:schemeClr val="dk1"/>
              </a:buClr>
              <a:buSzPts val="1800"/>
              <a:buChar char="•"/>
              <a:defRPr sz="1800">
                <a:solidFill>
                  <a:schemeClr val="dk1"/>
                </a:solidFill>
                <a:latin typeface="Calibri"/>
                <a:ea typeface="Calibri"/>
                <a:cs typeface="Calibri"/>
              </a:defRPr>
            </a:lvl8pPr>
            <a:lvl9pPr marL="4114800" indent="-342900">
              <a:lnSpc>
                <a:spcPct val="90000"/>
              </a:lnSpc>
              <a:spcBef>
                <a:spcPts val="500"/>
              </a:spcBef>
              <a:buClr>
                <a:schemeClr val="dk1"/>
              </a:buClr>
              <a:buSzPts val="1800"/>
              <a:buChar char="•"/>
              <a:defRPr sz="1800">
                <a:solidFill>
                  <a:schemeClr val="dk1"/>
                </a:solidFill>
                <a:latin typeface="Calibri"/>
                <a:ea typeface="Calibri"/>
                <a:cs typeface="Calibri"/>
              </a:defRPr>
            </a:lvl9pPr>
          </a:lstStyle>
          <a:p>
            <a:pPr marL="101600" indent="0">
              <a:buNone/>
            </a:pPr>
            <a:r>
              <a:rPr lang="en-GB" sz="1200"/>
              <a:t>*Stories subject to change during Sprint planning</a:t>
            </a:r>
          </a:p>
        </p:txBody>
      </p:sp>
      <p:sp>
        <p:nvSpPr>
          <p:cNvPr id="29" name="Google Shape;482;p9">
            <a:extLst>
              <a:ext uri="{FF2B5EF4-FFF2-40B4-BE49-F238E27FC236}">
                <a16:creationId xmlns:a16="http://schemas.microsoft.com/office/drawing/2014/main" id="{9EDE1D44-C442-44A3-A246-C666D0FC9506}"/>
              </a:ext>
            </a:extLst>
          </p:cNvPr>
          <p:cNvSpPr txBox="1"/>
          <p:nvPr/>
        </p:nvSpPr>
        <p:spPr>
          <a:xfrm>
            <a:off x="4858561" y="2870509"/>
            <a:ext cx="6083811" cy="646331"/>
          </a:xfrm>
          <a:prstGeom prst="rect">
            <a:avLst/>
          </a:prstGeom>
          <a:noFill/>
          <a:ln>
            <a:noFill/>
          </a:ln>
        </p:spPr>
        <p:txBody>
          <a:bodyPr spcFirstLastPara="1" wrap="square" lIns="0" tIns="0" rIns="0" bIns="0" anchor="t" anchorCtr="0">
            <a:spAutoFit/>
          </a:bodyPr>
          <a:lstStyle/>
          <a:p>
            <a:pPr marL="228600" indent="-228600">
              <a:spcBef>
                <a:spcPts val="600"/>
              </a:spcBef>
              <a:buClr>
                <a:srgbClr val="747C74"/>
              </a:buClr>
              <a:buSzPts val="1200"/>
              <a:buAutoNum type="alphaUcPeriod"/>
            </a:pPr>
            <a:r>
              <a:rPr lang="en-US" sz="900">
                <a:latin typeface="PT Serif"/>
              </a:rPr>
              <a:t>Conduct initial discovery of current state of health products on VA.gov</a:t>
            </a:r>
          </a:p>
          <a:p>
            <a:pPr marL="228600" indent="-228600">
              <a:spcBef>
                <a:spcPts val="600"/>
              </a:spcBef>
              <a:buClr>
                <a:srgbClr val="747C74"/>
              </a:buClr>
              <a:buSzPts val="1200"/>
              <a:buFont typeface="Arial"/>
              <a:buAutoNum type="alphaUcPeriod"/>
            </a:pPr>
            <a:r>
              <a:rPr lang="en-US" sz="900">
                <a:latin typeface="PT Serif"/>
              </a:rPr>
              <a:t>Create list of potential business partners for discovery</a:t>
            </a:r>
          </a:p>
          <a:p>
            <a:pPr>
              <a:spcBef>
                <a:spcPts val="600"/>
              </a:spcBef>
              <a:buClr>
                <a:srgbClr val="747C74"/>
              </a:buClr>
              <a:buSzPts val="1200"/>
            </a:pPr>
            <a:endParaRPr lang="en-US" sz="900">
              <a:latin typeface="PT Serif"/>
            </a:endParaRPr>
          </a:p>
        </p:txBody>
      </p:sp>
      <p:sp>
        <p:nvSpPr>
          <p:cNvPr id="30" name="Google Shape;482;p9">
            <a:extLst>
              <a:ext uri="{FF2B5EF4-FFF2-40B4-BE49-F238E27FC236}">
                <a16:creationId xmlns:a16="http://schemas.microsoft.com/office/drawing/2014/main" id="{F5E6A857-939B-428F-8E38-79E7432F9239}"/>
              </a:ext>
            </a:extLst>
          </p:cNvPr>
          <p:cNvSpPr txBox="1"/>
          <p:nvPr/>
        </p:nvSpPr>
        <p:spPr>
          <a:xfrm>
            <a:off x="4825717" y="3602342"/>
            <a:ext cx="6083811" cy="646331"/>
          </a:xfrm>
          <a:prstGeom prst="rect">
            <a:avLst/>
          </a:prstGeom>
          <a:noFill/>
          <a:ln>
            <a:noFill/>
          </a:ln>
        </p:spPr>
        <p:txBody>
          <a:bodyPr spcFirstLastPara="1" wrap="square" lIns="0" tIns="0" rIns="0" bIns="0" anchor="t" anchorCtr="0">
            <a:spAutoFit/>
          </a:bodyPr>
          <a:lstStyle/>
          <a:p>
            <a:pPr marL="228600" indent="-228600">
              <a:spcBef>
                <a:spcPts val="600"/>
              </a:spcBef>
              <a:buClr>
                <a:srgbClr val="747C74"/>
              </a:buClr>
              <a:buSzPts val="1200"/>
              <a:buAutoNum type="alphaUcPeriod"/>
            </a:pPr>
            <a:r>
              <a:rPr lang="en-US" sz="900">
                <a:latin typeface="PT Serif"/>
              </a:rPr>
              <a:t>Conduct initial tech discovery of current health products on VA.gov</a:t>
            </a:r>
          </a:p>
          <a:p>
            <a:pPr marL="228600" indent="-228600">
              <a:spcBef>
                <a:spcPts val="600"/>
              </a:spcBef>
              <a:buClr>
                <a:srgbClr val="747C74"/>
              </a:buClr>
              <a:buSzPts val="1200"/>
              <a:buAutoNum type="alphaUcPeriod"/>
            </a:pPr>
            <a:r>
              <a:rPr lang="en-US" sz="900">
                <a:latin typeface="PT Serif"/>
              </a:rPr>
              <a:t>Map out high-level data flows through current state</a:t>
            </a:r>
          </a:p>
          <a:p>
            <a:pPr marL="228600" indent="-228600">
              <a:spcBef>
                <a:spcPts val="600"/>
              </a:spcBef>
              <a:buClr>
                <a:srgbClr val="747C74"/>
              </a:buClr>
              <a:buSzPts val="1200"/>
              <a:buAutoNum type="alphaUcPeriod"/>
            </a:pPr>
            <a:r>
              <a:rPr lang="en-US" sz="900">
                <a:latin typeface="PT Serif"/>
              </a:rPr>
              <a:t>Create list of potential business partners for discovery</a:t>
            </a:r>
          </a:p>
        </p:txBody>
      </p:sp>
      <p:sp>
        <p:nvSpPr>
          <p:cNvPr id="6" name="Google Shape;693;p20">
            <a:extLst>
              <a:ext uri="{FF2B5EF4-FFF2-40B4-BE49-F238E27FC236}">
                <a16:creationId xmlns:a16="http://schemas.microsoft.com/office/drawing/2014/main" id="{B55CE2C2-56AC-47ED-99D5-58725C3B3F89}"/>
              </a:ext>
            </a:extLst>
          </p:cNvPr>
          <p:cNvSpPr txBox="1">
            <a:spLocks noGrp="1"/>
          </p:cNvSpPr>
          <p:nvPr>
            <p:ph type="sldNum" idx="12"/>
          </p:nvPr>
        </p:nvSpPr>
        <p:spPr>
          <a:xfrm>
            <a:off x="11474969" y="6363970"/>
            <a:ext cx="406052" cy="365125"/>
          </a:xfrm>
          <a:prstGeom prst="rect">
            <a:avLst/>
          </a:prstGeom>
          <a:noFill/>
          <a:ln>
            <a:noFill/>
          </a:ln>
        </p:spPr>
        <p:txBody>
          <a:bodyPr spcFirstLastPara="1" wrap="square" lIns="91425" tIns="45700" rIns="91425" bIns="45700" anchor="ctr" anchorCtr="0">
            <a:noAutofit/>
          </a:bodyPr>
          <a:lstStyle/>
          <a:p>
            <a:pPr marL="0" lvl="0" indent="0" algn="r" rtl="0">
              <a:spcBef>
                <a:spcPts val="0"/>
              </a:spcBef>
              <a:spcAft>
                <a:spcPts val="0"/>
              </a:spcAft>
              <a:buNone/>
            </a:pPr>
            <a:fld id="{00000000-1234-1234-1234-123412341234}" type="slidenum">
              <a:rPr lang="en-US">
                <a:latin typeface="Source Sans Pro"/>
                <a:ea typeface="Source Sans Pro"/>
                <a:cs typeface="Source Sans Pro"/>
                <a:sym typeface="Source Sans Pro"/>
              </a:rPr>
              <a:t>24</a:t>
            </a:fld>
            <a:endParaRPr>
              <a:latin typeface="Source Sans Pro"/>
              <a:ea typeface="Source Sans Pro"/>
              <a:cs typeface="Source Sans Pro"/>
              <a:sym typeface="Source Sans Pro"/>
            </a:endParaRPr>
          </a:p>
        </p:txBody>
      </p:sp>
      <p:sp>
        <p:nvSpPr>
          <p:cNvPr id="8" name="Google Shape;695;p20">
            <a:extLst>
              <a:ext uri="{FF2B5EF4-FFF2-40B4-BE49-F238E27FC236}">
                <a16:creationId xmlns:a16="http://schemas.microsoft.com/office/drawing/2014/main" id="{A19485DD-AF7A-4DC6-9406-74037D209156}"/>
              </a:ext>
            </a:extLst>
          </p:cNvPr>
          <p:cNvSpPr txBox="1"/>
          <p:nvPr/>
        </p:nvSpPr>
        <p:spPr>
          <a:xfrm>
            <a:off x="9330489" y="6408650"/>
            <a:ext cx="2310336" cy="276959"/>
          </a:xfrm>
          <a:prstGeom prst="rect">
            <a:avLst/>
          </a:prstGeom>
          <a:noFill/>
          <a:ln>
            <a:noFill/>
          </a:ln>
        </p:spPr>
        <p:txBody>
          <a:bodyPr spcFirstLastPara="1" wrap="square" lIns="91425" tIns="45700" rIns="91425" bIns="45700" anchor="t" anchorCtr="0">
            <a:spAutoFit/>
          </a:bodyPr>
          <a:lstStyle/>
          <a:p>
            <a:pPr algn="r">
              <a:buClr>
                <a:srgbClr val="747C74"/>
              </a:buClr>
              <a:buSzPts val="1200"/>
            </a:pPr>
            <a:r>
              <a:rPr lang="en-US" sz="1200">
                <a:solidFill>
                  <a:srgbClr val="747C74"/>
                </a:solidFill>
                <a:latin typeface="Source Sans Pro"/>
                <a:ea typeface="Source Sans Pro"/>
                <a:cs typeface="Source Sans Pro"/>
                <a:sym typeface="Source Sans Pro"/>
              </a:rPr>
              <a:t>Preview of Sprint 0 – Health Hub</a:t>
            </a:r>
            <a:endParaRPr lang="en-US" sz="1800">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21001578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Shape 342"/>
        <p:cNvGrpSpPr/>
        <p:nvPr/>
      </p:nvGrpSpPr>
      <p:grpSpPr>
        <a:xfrm>
          <a:off x="0" y="0"/>
          <a:ext cx="0" cy="0"/>
          <a:chOff x="0" y="0"/>
          <a:chExt cx="0" cy="0"/>
        </a:xfrm>
      </p:grpSpPr>
      <p:sp>
        <p:nvSpPr>
          <p:cNvPr id="133" name="Google Shape;343;p7">
            <a:extLst>
              <a:ext uri="{FF2B5EF4-FFF2-40B4-BE49-F238E27FC236}">
                <a16:creationId xmlns:a16="http://schemas.microsoft.com/office/drawing/2014/main" id="{338EE8A7-91BA-4536-9CDB-437D5EF8A4C1}"/>
              </a:ext>
            </a:extLst>
          </p:cNvPr>
          <p:cNvSpPr/>
          <p:nvPr/>
        </p:nvSpPr>
        <p:spPr>
          <a:xfrm>
            <a:off x="1359414" y="1784146"/>
            <a:ext cx="2077456" cy="4343910"/>
          </a:xfrm>
          <a:prstGeom prst="rect">
            <a:avLst/>
          </a:prstGeom>
          <a:solidFill>
            <a:srgbClr val="D3E9FF">
              <a:alpha val="40000"/>
            </a:srgbClr>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900"/>
              <a:buFont typeface="Calibri"/>
              <a:buNone/>
            </a:pPr>
            <a:endParaRPr sz="900" b="0" i="0" u="none" strike="noStrike" cap="none">
              <a:solidFill>
                <a:srgbClr val="FDFFFD"/>
              </a:solidFill>
              <a:latin typeface="PT Serif"/>
              <a:ea typeface="PT Serif"/>
              <a:cs typeface="PT Serif"/>
              <a:sym typeface="PT Serif"/>
            </a:endParaRPr>
          </a:p>
        </p:txBody>
      </p:sp>
      <p:graphicFrame>
        <p:nvGraphicFramePr>
          <p:cNvPr id="2" name="Object 1" hidden="1">
            <a:extLst>
              <a:ext uri="{FF2B5EF4-FFF2-40B4-BE49-F238E27FC236}">
                <a16:creationId xmlns:a16="http://schemas.microsoft.com/office/drawing/2014/main" id="{91E20C5D-5BD2-4B21-955F-CDE71A6075E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705" name="think-cell Slide" r:id="rId5" imgW="395" imgH="396" progId="TCLayout.ActiveDocument.1">
                  <p:embed/>
                </p:oleObj>
              </mc:Choice>
              <mc:Fallback>
                <p:oleObj name="think-cell Slide" r:id="rId5" imgW="395" imgH="396" progId="TCLayout.ActiveDocument.1">
                  <p:embed/>
                  <p:pic>
                    <p:nvPicPr>
                      <p:cNvPr id="2" name="Object 1" hidden="1">
                        <a:extLst>
                          <a:ext uri="{FF2B5EF4-FFF2-40B4-BE49-F238E27FC236}">
                            <a16:creationId xmlns:a16="http://schemas.microsoft.com/office/drawing/2014/main" id="{91E20C5D-5BD2-4B21-955F-CDE71A6075E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140" name="Google Shape;396;p7">
            <a:extLst>
              <a:ext uri="{FF2B5EF4-FFF2-40B4-BE49-F238E27FC236}">
                <a16:creationId xmlns:a16="http://schemas.microsoft.com/office/drawing/2014/main" id="{23C0FF3C-861F-42A1-BD37-345295530B62}"/>
              </a:ext>
            </a:extLst>
          </p:cNvPr>
          <p:cNvCxnSpPr/>
          <p:nvPr/>
        </p:nvCxnSpPr>
        <p:spPr>
          <a:xfrm>
            <a:off x="11498181" y="1746163"/>
            <a:ext cx="0" cy="4345725"/>
          </a:xfrm>
          <a:prstGeom prst="straightConnector1">
            <a:avLst/>
          </a:prstGeom>
          <a:noFill/>
          <a:ln w="9525" cap="flat" cmpd="sng">
            <a:solidFill>
              <a:srgbClr val="7F7F7F"/>
            </a:solidFill>
            <a:prstDash val="solid"/>
            <a:round/>
            <a:headEnd type="none" w="sm" len="sm"/>
            <a:tailEnd type="none" w="sm" len="sm"/>
          </a:ln>
        </p:spPr>
      </p:cxnSp>
      <p:sp>
        <p:nvSpPr>
          <p:cNvPr id="344" name="Google Shape;344;p7"/>
          <p:cNvSpPr txBox="1">
            <a:spLocks noGrp="1"/>
          </p:cNvSpPr>
          <p:nvPr>
            <p:ph type="title"/>
          </p:nvPr>
        </p:nvSpPr>
        <p:spPr>
          <a:xfrm>
            <a:off x="287025" y="380189"/>
            <a:ext cx="11353800" cy="746983"/>
          </a:xfrm>
          <a:prstGeom prst="rect">
            <a:avLst/>
          </a:prstGeom>
          <a:noFill/>
          <a:ln>
            <a:noFill/>
          </a:ln>
        </p:spPr>
        <p:txBody>
          <a:bodyPr spcFirstLastPara="1" wrap="square" lIns="91425" tIns="45700" rIns="91425" bIns="45700" anchor="t" anchorCtr="0">
            <a:normAutofit/>
          </a:bodyPr>
          <a:lstStyle/>
          <a:p>
            <a:r>
              <a:rPr lang="en-US"/>
              <a:t>Sprint 1 will run April 20 to May 3</a:t>
            </a:r>
            <a:r>
              <a:rPr lang="en-US" baseline="30000"/>
              <a:t>rd</a:t>
            </a:r>
            <a:endParaRPr lang="en-US"/>
          </a:p>
        </p:txBody>
      </p:sp>
      <p:sp>
        <p:nvSpPr>
          <p:cNvPr id="345" name="Google Shape;345;p7"/>
          <p:cNvSpPr txBox="1">
            <a:spLocks noGrp="1"/>
          </p:cNvSpPr>
          <p:nvPr>
            <p:ph type="sldNum" idx="12"/>
          </p:nvPr>
        </p:nvSpPr>
        <p:spPr>
          <a:xfrm>
            <a:off x="11474969" y="6363970"/>
            <a:ext cx="406052" cy="365125"/>
          </a:xfrm>
          <a:prstGeom prst="rect">
            <a:avLst/>
          </a:prstGeom>
          <a:noFill/>
          <a:ln>
            <a:noFill/>
          </a:ln>
        </p:spPr>
        <p:txBody>
          <a:bodyPr spcFirstLastPara="1" wrap="square" lIns="91425" tIns="45700" rIns="91425" bIns="45700" anchor="ctr" anchorCtr="0">
            <a:noAutofit/>
          </a:bodyPr>
          <a:lstStyle/>
          <a:p>
            <a:pPr marL="0" lvl="0" indent="0" algn="r" rtl="0">
              <a:spcBef>
                <a:spcPts val="0"/>
              </a:spcBef>
              <a:spcAft>
                <a:spcPts val="0"/>
              </a:spcAft>
              <a:buNone/>
            </a:pPr>
            <a:fld id="{00000000-1234-1234-1234-123412341234}" type="slidenum">
              <a:rPr lang="en-US">
                <a:latin typeface="Source Sans Pro"/>
                <a:ea typeface="Source Sans Pro"/>
                <a:cs typeface="Source Sans Pro"/>
                <a:sym typeface="Source Sans Pro"/>
              </a:rPr>
              <a:t>25</a:t>
            </a:fld>
            <a:endParaRPr>
              <a:latin typeface="Source Sans Pro"/>
              <a:ea typeface="Source Sans Pro"/>
              <a:cs typeface="Source Sans Pro"/>
              <a:sym typeface="Source Sans Pro"/>
            </a:endParaRPr>
          </a:p>
        </p:txBody>
      </p:sp>
      <p:sp>
        <p:nvSpPr>
          <p:cNvPr id="358" name="Google Shape;358;p7"/>
          <p:cNvSpPr txBox="1"/>
          <p:nvPr/>
        </p:nvSpPr>
        <p:spPr>
          <a:xfrm>
            <a:off x="1409511" y="1805982"/>
            <a:ext cx="658087" cy="276999"/>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1" i="0" u="none" strike="noStrike" cap="none">
                <a:solidFill>
                  <a:srgbClr val="202120"/>
                </a:solidFill>
                <a:latin typeface="Source Sans Pro Semibold"/>
                <a:ea typeface="Source Sans Pro Semibold"/>
                <a:cs typeface="Source Sans Pro Semibold"/>
                <a:sym typeface="Source Sans Pro SemiBold"/>
              </a:rPr>
              <a:t>Week 1: 0</a:t>
            </a:r>
            <a:r>
              <a:rPr lang="en-US" sz="900" b="1">
                <a:solidFill>
                  <a:srgbClr val="202120"/>
                </a:solidFill>
                <a:latin typeface="Source Sans Pro Semibold"/>
                <a:ea typeface="Source Sans Pro Semibold"/>
                <a:cs typeface="Source Sans Pro Semibold"/>
                <a:sym typeface="Source Sans Pro SemiBold"/>
              </a:rPr>
              <a:t>4/20</a:t>
            </a:r>
            <a:r>
              <a:rPr lang="en-US" sz="900" b="1" i="0" u="none" strike="noStrike" cap="none">
                <a:solidFill>
                  <a:srgbClr val="202120"/>
                </a:solidFill>
                <a:latin typeface="Source Sans Pro Semibold"/>
                <a:ea typeface="Source Sans Pro Semibold"/>
                <a:cs typeface="Source Sans Pro Semibold"/>
                <a:sym typeface="Source Sans Pro SemiBold"/>
              </a:rPr>
              <a:t> – 04/26</a:t>
            </a:r>
            <a:endParaRPr sz="900" b="1" i="0" u="none" strike="noStrike" cap="none">
              <a:solidFill>
                <a:srgbClr val="202120"/>
              </a:solidFill>
              <a:latin typeface="Source Sans Pro Semibold"/>
              <a:ea typeface="Source Sans Pro Semibold"/>
              <a:cs typeface="Source Sans Pro Semibold"/>
              <a:sym typeface="Source Sans Pro SemiBold"/>
            </a:endParaRPr>
          </a:p>
        </p:txBody>
      </p:sp>
      <p:sp>
        <p:nvSpPr>
          <p:cNvPr id="359" name="Google Shape;359;p7"/>
          <p:cNvSpPr txBox="1"/>
          <p:nvPr/>
        </p:nvSpPr>
        <p:spPr>
          <a:xfrm>
            <a:off x="2442401" y="1822797"/>
            <a:ext cx="662157" cy="276999"/>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1" i="0" u="none" strike="noStrike" cap="none">
                <a:solidFill>
                  <a:srgbClr val="202120"/>
                </a:solidFill>
                <a:latin typeface="Source Sans Pro Semibold"/>
                <a:ea typeface="Source Sans Pro Semibold"/>
                <a:cs typeface="Source Sans Pro Semibold"/>
                <a:sym typeface="Source Sans Pro SemiBold"/>
              </a:rPr>
              <a:t>Week 2: 04/27 – 05/03</a:t>
            </a:r>
            <a:endParaRPr sz="900" b="1" i="0" u="none" strike="noStrike" cap="none">
              <a:solidFill>
                <a:srgbClr val="202120"/>
              </a:solidFill>
              <a:latin typeface="Source Sans Pro Semibold"/>
              <a:ea typeface="Source Sans Pro Semibold"/>
              <a:cs typeface="Source Sans Pro Semibold"/>
              <a:sym typeface="Source Sans Pro SemiBold"/>
            </a:endParaRPr>
          </a:p>
        </p:txBody>
      </p:sp>
      <p:sp>
        <p:nvSpPr>
          <p:cNvPr id="360" name="Google Shape;360;p7"/>
          <p:cNvSpPr txBox="1"/>
          <p:nvPr/>
        </p:nvSpPr>
        <p:spPr>
          <a:xfrm>
            <a:off x="3532243" y="1817161"/>
            <a:ext cx="674520" cy="276999"/>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1" i="0" u="none" strike="noStrike" cap="none">
                <a:solidFill>
                  <a:srgbClr val="202120"/>
                </a:solidFill>
                <a:latin typeface="Source Sans Pro Semibold"/>
                <a:ea typeface="Source Sans Pro Semibold"/>
                <a:cs typeface="Source Sans Pro Semibold"/>
                <a:sym typeface="Source Sans Pro SemiBold"/>
              </a:rPr>
              <a:t>Week 3: 05/04 – 05/10</a:t>
            </a:r>
            <a:endParaRPr sz="900" b="1" i="0" u="none" strike="noStrike" cap="none">
              <a:solidFill>
                <a:srgbClr val="202120"/>
              </a:solidFill>
              <a:latin typeface="Source Sans Pro Semibold"/>
              <a:ea typeface="Source Sans Pro Semibold"/>
              <a:cs typeface="Source Sans Pro Semibold"/>
              <a:sym typeface="Source Sans Pro SemiBold"/>
            </a:endParaRPr>
          </a:p>
        </p:txBody>
      </p:sp>
      <p:sp>
        <p:nvSpPr>
          <p:cNvPr id="361" name="Google Shape;361;p7"/>
          <p:cNvSpPr txBox="1"/>
          <p:nvPr/>
        </p:nvSpPr>
        <p:spPr>
          <a:xfrm>
            <a:off x="4596502" y="1815352"/>
            <a:ext cx="616179" cy="276999"/>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1" i="0" u="none" strike="noStrike" cap="none">
                <a:solidFill>
                  <a:srgbClr val="202120"/>
                </a:solidFill>
                <a:latin typeface="Source Sans Pro Semibold"/>
                <a:ea typeface="Source Sans Pro Semibold"/>
                <a:cs typeface="Source Sans Pro Semibold"/>
                <a:sym typeface="Source Sans Pro SemiBold"/>
              </a:rPr>
              <a:t>Week 4: 05/11- 05/17</a:t>
            </a:r>
            <a:endParaRPr sz="900" b="1" i="0" u="none" strike="noStrike" cap="none">
              <a:solidFill>
                <a:srgbClr val="202120"/>
              </a:solidFill>
              <a:latin typeface="Source Sans Pro Semibold"/>
              <a:ea typeface="Source Sans Pro Semibold"/>
              <a:cs typeface="Source Sans Pro Semibold"/>
              <a:sym typeface="Source Sans Pro SemiBold"/>
            </a:endParaRPr>
          </a:p>
        </p:txBody>
      </p:sp>
      <p:sp>
        <p:nvSpPr>
          <p:cNvPr id="362" name="Google Shape;362;p7"/>
          <p:cNvSpPr txBox="1"/>
          <p:nvPr/>
        </p:nvSpPr>
        <p:spPr>
          <a:xfrm>
            <a:off x="6628815" y="1817701"/>
            <a:ext cx="656498" cy="276999"/>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1" i="0" u="none" strike="noStrike" cap="none">
                <a:solidFill>
                  <a:srgbClr val="202120"/>
                </a:solidFill>
                <a:latin typeface="Source Sans Pro Semibold"/>
                <a:ea typeface="Source Sans Pro Semibold"/>
                <a:cs typeface="Source Sans Pro Semibold"/>
                <a:sym typeface="Source Sans Pro SemiBold"/>
              </a:rPr>
              <a:t>Week 6: 05/25 – 05/31</a:t>
            </a:r>
            <a:endParaRPr sz="900" b="1" i="0" u="none" strike="noStrike" cap="none">
              <a:solidFill>
                <a:srgbClr val="202120"/>
              </a:solidFill>
              <a:latin typeface="Source Sans Pro Semibold"/>
              <a:ea typeface="Source Sans Pro Semibold"/>
              <a:cs typeface="Source Sans Pro Semibold"/>
              <a:sym typeface="Source Sans Pro SemiBold"/>
            </a:endParaRPr>
          </a:p>
        </p:txBody>
      </p:sp>
      <p:sp>
        <p:nvSpPr>
          <p:cNvPr id="363" name="Google Shape;363;p7"/>
          <p:cNvSpPr txBox="1"/>
          <p:nvPr/>
        </p:nvSpPr>
        <p:spPr>
          <a:xfrm>
            <a:off x="5637808" y="1805982"/>
            <a:ext cx="667633" cy="276999"/>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1" i="0" u="none" strike="noStrike" cap="none">
                <a:solidFill>
                  <a:srgbClr val="202120"/>
                </a:solidFill>
                <a:latin typeface="Source Sans Pro Semibold"/>
                <a:ea typeface="Source Sans Pro Semibold"/>
                <a:cs typeface="Source Sans Pro Semibold"/>
                <a:sym typeface="Source Sans Pro SemiBold"/>
              </a:rPr>
              <a:t>Week 5: 05/18 – 05/24</a:t>
            </a:r>
            <a:endParaRPr sz="900" b="1" i="0" u="none" strike="noStrike" cap="none">
              <a:solidFill>
                <a:srgbClr val="202120"/>
              </a:solidFill>
              <a:latin typeface="Source Sans Pro Semibold"/>
              <a:ea typeface="Source Sans Pro Semibold"/>
              <a:cs typeface="Source Sans Pro Semibold"/>
              <a:sym typeface="Source Sans Pro SemiBold"/>
            </a:endParaRPr>
          </a:p>
        </p:txBody>
      </p:sp>
      <p:sp>
        <p:nvSpPr>
          <p:cNvPr id="366" name="Google Shape;366;p7"/>
          <p:cNvSpPr txBox="1"/>
          <p:nvPr/>
        </p:nvSpPr>
        <p:spPr>
          <a:xfrm>
            <a:off x="1362215" y="1571005"/>
            <a:ext cx="616179" cy="138499"/>
          </a:xfrm>
          <a:prstGeom prst="rect">
            <a:avLst/>
          </a:prstGeom>
          <a:noFill/>
          <a:ln>
            <a:noFill/>
          </a:ln>
        </p:spPr>
        <p:txBody>
          <a:bodyPr spcFirstLastPara="1" wrap="square" lIns="0" tIns="0" rIns="0" bIns="0" anchor="b"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1" i="0" u="none" strike="noStrike" cap="none">
                <a:solidFill>
                  <a:srgbClr val="202120"/>
                </a:solidFill>
                <a:latin typeface="Source Sans Pro Semibold"/>
                <a:ea typeface="Source Sans Pro Semibold"/>
                <a:cs typeface="Source Sans Pro Semibold"/>
                <a:sym typeface="Source Sans Pro SemiBold"/>
              </a:rPr>
              <a:t>SPRINT </a:t>
            </a:r>
            <a:r>
              <a:rPr lang="en-US" sz="900" b="1">
                <a:solidFill>
                  <a:srgbClr val="202120"/>
                </a:solidFill>
                <a:latin typeface="Source Sans Pro Semibold"/>
                <a:ea typeface="Source Sans Pro Semibold"/>
                <a:cs typeface="Source Sans Pro Semibold"/>
                <a:sym typeface="Source Sans Pro SemiBold"/>
              </a:rPr>
              <a:t>1</a:t>
            </a:r>
            <a:endParaRPr/>
          </a:p>
        </p:txBody>
      </p:sp>
      <p:sp>
        <p:nvSpPr>
          <p:cNvPr id="367" name="Google Shape;367;p7"/>
          <p:cNvSpPr txBox="1"/>
          <p:nvPr/>
        </p:nvSpPr>
        <p:spPr>
          <a:xfrm>
            <a:off x="3512389" y="1571005"/>
            <a:ext cx="616179" cy="138499"/>
          </a:xfrm>
          <a:prstGeom prst="rect">
            <a:avLst/>
          </a:prstGeom>
          <a:noFill/>
          <a:ln>
            <a:noFill/>
          </a:ln>
        </p:spPr>
        <p:txBody>
          <a:bodyPr spcFirstLastPara="1" wrap="square" lIns="0" tIns="0" rIns="0" bIns="0" anchor="b"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1" i="0" u="none" strike="noStrike" cap="none">
                <a:solidFill>
                  <a:srgbClr val="202120"/>
                </a:solidFill>
                <a:latin typeface="Source Sans Pro Semibold"/>
                <a:ea typeface="Source Sans Pro Semibold"/>
                <a:cs typeface="Source Sans Pro Semibold"/>
                <a:sym typeface="Source Sans Pro SemiBold"/>
              </a:rPr>
              <a:t>SPRINT </a:t>
            </a:r>
            <a:r>
              <a:rPr lang="en-US" sz="900" b="1">
                <a:solidFill>
                  <a:srgbClr val="202120"/>
                </a:solidFill>
                <a:latin typeface="Source Sans Pro Semibold"/>
                <a:ea typeface="Source Sans Pro Semibold"/>
                <a:cs typeface="Source Sans Pro Semibold"/>
                <a:sym typeface="Source Sans Pro SemiBold"/>
              </a:rPr>
              <a:t>2</a:t>
            </a:r>
            <a:endParaRPr/>
          </a:p>
        </p:txBody>
      </p:sp>
      <p:sp>
        <p:nvSpPr>
          <p:cNvPr id="368" name="Google Shape;368;p7"/>
          <p:cNvSpPr txBox="1"/>
          <p:nvPr/>
        </p:nvSpPr>
        <p:spPr>
          <a:xfrm>
            <a:off x="5595468" y="1571005"/>
            <a:ext cx="616179" cy="138499"/>
          </a:xfrm>
          <a:prstGeom prst="rect">
            <a:avLst/>
          </a:prstGeom>
          <a:noFill/>
          <a:ln>
            <a:noFill/>
          </a:ln>
        </p:spPr>
        <p:txBody>
          <a:bodyPr spcFirstLastPara="1" wrap="square" lIns="0" tIns="0" rIns="0" bIns="0" anchor="b"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1" i="0" u="none" strike="noStrike" cap="none">
                <a:solidFill>
                  <a:srgbClr val="202120"/>
                </a:solidFill>
                <a:latin typeface="Source Sans Pro Semibold"/>
                <a:ea typeface="Source Sans Pro Semibold"/>
                <a:cs typeface="Source Sans Pro Semibold"/>
                <a:sym typeface="Source Sans Pro SemiBold"/>
              </a:rPr>
              <a:t>SPRINT </a:t>
            </a:r>
            <a:r>
              <a:rPr lang="en-US" sz="900" b="1">
                <a:solidFill>
                  <a:srgbClr val="202120"/>
                </a:solidFill>
                <a:latin typeface="Source Sans Pro Semibold"/>
                <a:ea typeface="Source Sans Pro Semibold"/>
                <a:cs typeface="Source Sans Pro Semibold"/>
                <a:sym typeface="Source Sans Pro SemiBold"/>
              </a:rPr>
              <a:t>3</a:t>
            </a:r>
            <a:endParaRPr/>
          </a:p>
        </p:txBody>
      </p:sp>
      <p:sp>
        <p:nvSpPr>
          <p:cNvPr id="369" name="Google Shape;369;p7"/>
          <p:cNvSpPr txBox="1"/>
          <p:nvPr/>
        </p:nvSpPr>
        <p:spPr>
          <a:xfrm>
            <a:off x="7633928" y="1822925"/>
            <a:ext cx="660841" cy="276999"/>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1" i="0" u="none" strike="noStrike" cap="none">
                <a:solidFill>
                  <a:srgbClr val="202120"/>
                </a:solidFill>
                <a:latin typeface="Source Sans Pro Semibold"/>
                <a:ea typeface="Source Sans Pro Semibold"/>
                <a:cs typeface="Source Sans Pro Semibold"/>
                <a:sym typeface="Source Sans Pro SemiBold"/>
              </a:rPr>
              <a:t>Week 7: 06/01 – 06/07</a:t>
            </a:r>
            <a:endParaRPr sz="900" b="1" i="0" u="none" strike="noStrike" cap="none">
              <a:solidFill>
                <a:srgbClr val="202120"/>
              </a:solidFill>
              <a:latin typeface="Source Sans Pro Semibold"/>
              <a:ea typeface="Source Sans Pro Semibold"/>
              <a:cs typeface="Source Sans Pro Semibold"/>
              <a:sym typeface="Source Sans Pro SemiBold"/>
            </a:endParaRPr>
          </a:p>
        </p:txBody>
      </p:sp>
      <p:sp>
        <p:nvSpPr>
          <p:cNvPr id="370" name="Google Shape;370;p7"/>
          <p:cNvSpPr txBox="1"/>
          <p:nvPr/>
        </p:nvSpPr>
        <p:spPr>
          <a:xfrm>
            <a:off x="7559976" y="1571003"/>
            <a:ext cx="845348" cy="138499"/>
          </a:xfrm>
          <a:prstGeom prst="rect">
            <a:avLst/>
          </a:prstGeom>
          <a:noFill/>
          <a:ln>
            <a:noFill/>
          </a:ln>
        </p:spPr>
        <p:txBody>
          <a:bodyPr spcFirstLastPara="1" wrap="square" lIns="0" tIns="0" rIns="0" bIns="0" anchor="b"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1" i="0" u="none" strike="noStrike" cap="none">
                <a:solidFill>
                  <a:srgbClr val="202120"/>
                </a:solidFill>
                <a:latin typeface="Source Sans Pro Semibold"/>
                <a:ea typeface="Source Sans Pro Semibold"/>
                <a:cs typeface="Source Sans Pro Semibold"/>
                <a:sym typeface="Source Sans Pro SemiBold"/>
              </a:rPr>
              <a:t>SPRINT </a:t>
            </a:r>
            <a:r>
              <a:rPr lang="en-US" sz="900" b="1">
                <a:solidFill>
                  <a:srgbClr val="202120"/>
                </a:solidFill>
                <a:latin typeface="Source Sans Pro Semibold"/>
                <a:ea typeface="Source Sans Pro Semibold"/>
                <a:cs typeface="Source Sans Pro Semibold"/>
                <a:sym typeface="Source Sans Pro SemiBold"/>
              </a:rPr>
              <a:t>4</a:t>
            </a:r>
            <a:endParaRPr/>
          </a:p>
        </p:txBody>
      </p:sp>
      <p:sp>
        <p:nvSpPr>
          <p:cNvPr id="371" name="Google Shape;371;p7"/>
          <p:cNvSpPr/>
          <p:nvPr/>
        </p:nvSpPr>
        <p:spPr>
          <a:xfrm>
            <a:off x="3493561" y="4497348"/>
            <a:ext cx="2039487" cy="293432"/>
          </a:xfrm>
          <a:prstGeom prst="rect">
            <a:avLst/>
          </a:prstGeom>
          <a:solidFill>
            <a:schemeClr val="accent6"/>
          </a:solidFill>
          <a:ln>
            <a:noFill/>
          </a:ln>
        </p:spPr>
        <p:txBody>
          <a:bodyPr spcFirstLastPara="1" wrap="square" lIns="60950" tIns="60925" rIns="60950" bIns="60925" anchor="ctr" anchorCtr="0">
            <a:noAutofit/>
          </a:bodyPr>
          <a:lstStyle/>
          <a:p>
            <a:pPr marL="0" marR="0" lvl="0" indent="0" algn="l" rtl="0">
              <a:lnSpc>
                <a:spcPct val="100000"/>
              </a:lnSpc>
              <a:spcBef>
                <a:spcPts val="0"/>
              </a:spcBef>
              <a:spcAft>
                <a:spcPts val="0"/>
              </a:spcAft>
              <a:buClr>
                <a:srgbClr val="FDFFFD"/>
              </a:buClr>
              <a:buSzPts val="900"/>
              <a:buFont typeface="PT Serif"/>
              <a:buNone/>
            </a:pPr>
            <a:r>
              <a:rPr lang="en-US" sz="850" b="0" i="0" u="none" strike="noStrike" cap="none">
                <a:solidFill>
                  <a:schemeClr val="accent1"/>
                </a:solidFill>
                <a:latin typeface="Source Sans Pro"/>
                <a:ea typeface="Source Sans Pro"/>
                <a:cs typeface="Source Sans Pro"/>
                <a:sym typeface="Source Sans Pro"/>
              </a:rPr>
              <a:t>HH: Tech di</a:t>
            </a:r>
            <a:r>
              <a:rPr lang="en-US" sz="850">
                <a:solidFill>
                  <a:schemeClr val="accent1"/>
                </a:solidFill>
                <a:latin typeface="Source Sans Pro"/>
                <a:ea typeface="Source Sans Pro"/>
                <a:cs typeface="Source Sans Pro"/>
                <a:sym typeface="Source Sans Pro"/>
              </a:rPr>
              <a:t>scovery</a:t>
            </a:r>
            <a:endParaRPr sz="850" b="0" i="0" u="none" strike="noStrike" cap="none">
              <a:solidFill>
                <a:schemeClr val="accent1"/>
              </a:solidFill>
              <a:latin typeface="Source Sans Pro"/>
              <a:ea typeface="Source Sans Pro"/>
              <a:cs typeface="Source Sans Pro"/>
              <a:sym typeface="Source Sans Pro"/>
            </a:endParaRPr>
          </a:p>
        </p:txBody>
      </p:sp>
      <p:sp>
        <p:nvSpPr>
          <p:cNvPr id="372" name="Google Shape;372;p7"/>
          <p:cNvSpPr/>
          <p:nvPr/>
        </p:nvSpPr>
        <p:spPr>
          <a:xfrm>
            <a:off x="9541333" y="4843688"/>
            <a:ext cx="1930065" cy="353180"/>
          </a:xfrm>
          <a:prstGeom prst="rect">
            <a:avLst/>
          </a:prstGeom>
          <a:solidFill>
            <a:schemeClr val="accent6"/>
          </a:solidFill>
          <a:ln w="9525" cap="flat" cmpd="sng">
            <a:solidFill>
              <a:schemeClr val="lt1"/>
            </a:solidFill>
            <a:prstDash val="solid"/>
            <a:round/>
            <a:headEnd type="none" w="sm" len="sm"/>
            <a:tailEnd type="none" w="sm" len="sm"/>
          </a:ln>
        </p:spPr>
        <p:txBody>
          <a:bodyPr spcFirstLastPara="1" wrap="square" lIns="60950" tIns="60925" rIns="60950" bIns="60925" anchor="ctr" anchorCtr="0">
            <a:noAutofit/>
          </a:bodyPr>
          <a:lstStyle/>
          <a:p>
            <a:r>
              <a:rPr lang="en-US" sz="850">
                <a:solidFill>
                  <a:schemeClr val="accent1"/>
                </a:solidFill>
                <a:latin typeface="Source Sans Pro"/>
                <a:ea typeface="Source Sans Pro"/>
                <a:sym typeface="Source Sans Pro"/>
              </a:rPr>
              <a:t>HH: Proposed tech integrations based off research findings</a:t>
            </a:r>
            <a:endParaRPr lang="en-US"/>
          </a:p>
        </p:txBody>
      </p:sp>
      <p:sp>
        <p:nvSpPr>
          <p:cNvPr id="376" name="Google Shape;376;p7"/>
          <p:cNvSpPr/>
          <p:nvPr/>
        </p:nvSpPr>
        <p:spPr>
          <a:xfrm>
            <a:off x="509879" y="2122972"/>
            <a:ext cx="813826" cy="276999"/>
          </a:xfrm>
          <a:prstGeom prst="rect">
            <a:avLst/>
          </a:prstGeom>
          <a:solidFill>
            <a:schemeClr val="lt1"/>
          </a:solid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1" i="0" u="none" strike="noStrike" cap="none">
                <a:solidFill>
                  <a:schemeClr val="dk2"/>
                </a:solidFill>
                <a:latin typeface="Source Sans Pro Semibold"/>
                <a:ea typeface="Source Sans Pro Semibold"/>
                <a:cs typeface="Source Sans Pro Semibold"/>
                <a:sym typeface="Source Sans Pro SemiBold"/>
              </a:rPr>
              <a:t>Product &amp; Delivery</a:t>
            </a:r>
            <a:endParaRPr sz="900" b="1" i="0" u="none" strike="noStrike" cap="none">
              <a:solidFill>
                <a:schemeClr val="dk2"/>
              </a:solidFill>
              <a:latin typeface="Source Sans Pro Semibold"/>
              <a:ea typeface="Source Sans Pro Semibold"/>
              <a:cs typeface="Source Sans Pro Semibold"/>
              <a:sym typeface="Source Sans Pro SemiBold"/>
            </a:endParaRPr>
          </a:p>
        </p:txBody>
      </p:sp>
      <p:sp>
        <p:nvSpPr>
          <p:cNvPr id="377" name="Google Shape;377;p7"/>
          <p:cNvSpPr/>
          <p:nvPr/>
        </p:nvSpPr>
        <p:spPr>
          <a:xfrm>
            <a:off x="511559" y="4522330"/>
            <a:ext cx="813826" cy="276999"/>
          </a:xfrm>
          <a:prstGeom prst="rect">
            <a:avLst/>
          </a:prstGeom>
          <a:solidFill>
            <a:schemeClr val="lt1"/>
          </a:solid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1" i="0" u="none" strike="noStrike" cap="none">
                <a:solidFill>
                  <a:schemeClr val="dk2"/>
                </a:solidFill>
                <a:latin typeface="Source Sans Pro Semibold"/>
                <a:ea typeface="Source Sans Pro Semibold"/>
                <a:cs typeface="Source Sans Pro Semibold"/>
                <a:sym typeface="Source Sans Pro SemiBold"/>
              </a:rPr>
              <a:t>Engineering &amp; Development</a:t>
            </a:r>
            <a:endParaRPr sz="900" b="1" i="0" u="none" strike="noStrike" cap="none">
              <a:solidFill>
                <a:schemeClr val="dk2"/>
              </a:solidFill>
              <a:latin typeface="Source Sans Pro Semibold"/>
              <a:ea typeface="Source Sans Pro Semibold"/>
              <a:cs typeface="Source Sans Pro Semibold"/>
              <a:sym typeface="Source Sans Pro SemiBold"/>
            </a:endParaRPr>
          </a:p>
        </p:txBody>
      </p:sp>
      <p:sp>
        <p:nvSpPr>
          <p:cNvPr id="378" name="Google Shape;378;p7"/>
          <p:cNvSpPr txBox="1"/>
          <p:nvPr/>
        </p:nvSpPr>
        <p:spPr>
          <a:xfrm>
            <a:off x="10619442" y="3554876"/>
            <a:ext cx="529394" cy="287130"/>
          </a:xfrm>
          <a:prstGeom prst="rect">
            <a:avLst/>
          </a:prstGeom>
          <a:noFill/>
          <a:ln>
            <a:noFill/>
          </a:ln>
        </p:spPr>
        <p:txBody>
          <a:bodyPr spcFirstLastPara="1" wrap="square" lIns="0" tIns="0" rIns="0" bIns="0" anchor="t" anchorCtr="0">
            <a:spAutoFit/>
          </a:bodyPr>
          <a:lstStyle/>
          <a:p>
            <a:pPr marL="0" marR="0" lvl="0" indent="0" algn="ctr" rtl="0">
              <a:lnSpc>
                <a:spcPct val="100000"/>
              </a:lnSpc>
              <a:spcBef>
                <a:spcPts val="0"/>
              </a:spcBef>
              <a:spcAft>
                <a:spcPts val="0"/>
              </a:spcAft>
              <a:buClr>
                <a:srgbClr val="202120"/>
              </a:buClr>
              <a:buSzPts val="900"/>
              <a:buFont typeface="PT Serif"/>
              <a:buNone/>
            </a:pPr>
            <a:r>
              <a:rPr lang="en-US" sz="900" b="0" i="0" u="none" strike="noStrike" cap="none">
                <a:solidFill>
                  <a:srgbClr val="202120"/>
                </a:solidFill>
                <a:latin typeface="PT Serif"/>
                <a:ea typeface="PT Serif"/>
                <a:cs typeface="PT Serif"/>
                <a:sym typeface="PT Serif"/>
              </a:rPr>
              <a:t>Voice of Veteran </a:t>
            </a:r>
            <a:endParaRPr sz="900" b="0" i="0" u="none" strike="noStrike" cap="none">
              <a:solidFill>
                <a:srgbClr val="202120"/>
              </a:solidFill>
              <a:latin typeface="PT Serif"/>
              <a:ea typeface="PT Serif"/>
              <a:cs typeface="PT Serif"/>
              <a:sym typeface="PT Serif"/>
            </a:endParaRPr>
          </a:p>
        </p:txBody>
      </p:sp>
      <p:sp>
        <p:nvSpPr>
          <p:cNvPr id="379" name="Google Shape;379;p7"/>
          <p:cNvSpPr txBox="1"/>
          <p:nvPr/>
        </p:nvSpPr>
        <p:spPr>
          <a:xfrm>
            <a:off x="8650305" y="3572420"/>
            <a:ext cx="529394" cy="287130"/>
          </a:xfrm>
          <a:prstGeom prst="rect">
            <a:avLst/>
          </a:prstGeom>
          <a:noFill/>
          <a:ln>
            <a:noFill/>
          </a:ln>
        </p:spPr>
        <p:txBody>
          <a:bodyPr spcFirstLastPara="1" wrap="square" lIns="0" tIns="0" rIns="0" bIns="0" anchor="t" anchorCtr="0">
            <a:spAutoFit/>
          </a:bodyPr>
          <a:lstStyle/>
          <a:p>
            <a:pPr marL="0" marR="0" lvl="0" indent="0" algn="ctr" rtl="0">
              <a:lnSpc>
                <a:spcPct val="100000"/>
              </a:lnSpc>
              <a:spcBef>
                <a:spcPts val="0"/>
              </a:spcBef>
              <a:spcAft>
                <a:spcPts val="0"/>
              </a:spcAft>
              <a:buClr>
                <a:srgbClr val="202120"/>
              </a:buClr>
              <a:buSzPts val="900"/>
              <a:buFont typeface="PT Serif"/>
              <a:buNone/>
            </a:pPr>
            <a:r>
              <a:rPr lang="en-US" sz="900" b="0" i="0" u="none" strike="noStrike" cap="none">
                <a:solidFill>
                  <a:srgbClr val="202120"/>
                </a:solidFill>
                <a:latin typeface="PT Serif"/>
                <a:ea typeface="PT Serif"/>
                <a:cs typeface="PT Serif"/>
                <a:sym typeface="PT Serif"/>
              </a:rPr>
              <a:t>Voice of Veteran </a:t>
            </a:r>
            <a:endParaRPr sz="900" b="0" i="0" u="none" strike="noStrike" cap="none">
              <a:solidFill>
                <a:srgbClr val="202120"/>
              </a:solidFill>
              <a:latin typeface="PT Serif"/>
              <a:ea typeface="PT Serif"/>
              <a:cs typeface="PT Serif"/>
              <a:sym typeface="PT Serif"/>
            </a:endParaRPr>
          </a:p>
        </p:txBody>
      </p:sp>
      <p:sp>
        <p:nvSpPr>
          <p:cNvPr id="380" name="Google Shape;380;p7"/>
          <p:cNvSpPr/>
          <p:nvPr/>
        </p:nvSpPr>
        <p:spPr>
          <a:xfrm>
            <a:off x="10657414" y="3420232"/>
            <a:ext cx="82296" cy="82576"/>
          </a:xfrm>
          <a:prstGeom prst="ellipse">
            <a:avLst/>
          </a:prstGeom>
          <a:solidFill>
            <a:schemeClr val="accent3"/>
          </a:solidFill>
          <a:ln w="9525" cap="flat" cmpd="sng">
            <a:solidFill>
              <a:schemeClr val="dk2"/>
            </a:solidFill>
            <a:prstDash val="solid"/>
            <a:round/>
            <a:headEnd type="none" w="sm" len="sm"/>
            <a:tailEnd type="none" w="sm" len="sm"/>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chemeClr val="dk1"/>
              </a:buClr>
              <a:buSzPts val="900"/>
              <a:buFont typeface="Calibri"/>
              <a:buNone/>
            </a:pPr>
            <a:endParaRPr sz="900" b="0" i="0" u="none" strike="noStrike" cap="none">
              <a:solidFill>
                <a:srgbClr val="202120"/>
              </a:solidFill>
              <a:latin typeface="PT Serif"/>
              <a:ea typeface="PT Serif"/>
              <a:cs typeface="PT Serif"/>
              <a:sym typeface="PT Serif"/>
            </a:endParaRPr>
          </a:p>
        </p:txBody>
      </p:sp>
      <p:sp>
        <p:nvSpPr>
          <p:cNvPr id="381" name="Google Shape;381;p7"/>
          <p:cNvSpPr/>
          <p:nvPr/>
        </p:nvSpPr>
        <p:spPr>
          <a:xfrm>
            <a:off x="8656708" y="3423072"/>
            <a:ext cx="82296" cy="82576"/>
          </a:xfrm>
          <a:prstGeom prst="ellipse">
            <a:avLst/>
          </a:prstGeom>
          <a:solidFill>
            <a:schemeClr val="accent3"/>
          </a:solidFill>
          <a:ln w="9525" cap="flat" cmpd="sng">
            <a:solidFill>
              <a:schemeClr val="dk2"/>
            </a:solidFill>
            <a:prstDash val="solid"/>
            <a:round/>
            <a:headEnd type="none" w="sm" len="sm"/>
            <a:tailEnd type="none" w="sm" len="sm"/>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chemeClr val="dk1"/>
              </a:buClr>
              <a:buSzPts val="900"/>
              <a:buFont typeface="Calibri"/>
              <a:buNone/>
            </a:pPr>
            <a:endParaRPr sz="900" b="0" i="0" u="none" strike="noStrike" cap="none">
              <a:solidFill>
                <a:srgbClr val="202120"/>
              </a:solidFill>
              <a:latin typeface="PT Serif"/>
              <a:ea typeface="PT Serif"/>
              <a:cs typeface="PT Serif"/>
              <a:sym typeface="PT Serif"/>
            </a:endParaRPr>
          </a:p>
        </p:txBody>
      </p:sp>
      <p:sp>
        <p:nvSpPr>
          <p:cNvPr id="384" name="Google Shape;384;p7"/>
          <p:cNvSpPr/>
          <p:nvPr/>
        </p:nvSpPr>
        <p:spPr>
          <a:xfrm>
            <a:off x="523016" y="3460246"/>
            <a:ext cx="708724" cy="415498"/>
          </a:xfrm>
          <a:prstGeom prst="rect">
            <a:avLst/>
          </a:prstGeom>
          <a:solidFill>
            <a:schemeClr val="lt1"/>
          </a:solid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1" i="0" u="none" strike="noStrike" cap="none">
                <a:solidFill>
                  <a:schemeClr val="dk2"/>
                </a:solidFill>
                <a:latin typeface="Source Sans Pro Semibold"/>
                <a:ea typeface="Source Sans Pro Semibold"/>
                <a:cs typeface="Source Sans Pro Semibold"/>
                <a:sym typeface="Source Sans Pro SemiBold"/>
              </a:rPr>
              <a:t>User Experience &amp; Design</a:t>
            </a:r>
            <a:endParaRPr sz="900" b="1" i="0" u="none" strike="noStrike" cap="none">
              <a:solidFill>
                <a:schemeClr val="dk2"/>
              </a:solidFill>
              <a:latin typeface="Source Sans Pro Semibold"/>
              <a:ea typeface="Source Sans Pro Semibold"/>
              <a:cs typeface="Source Sans Pro Semibold"/>
              <a:sym typeface="Source Sans Pro SemiBold"/>
            </a:endParaRPr>
          </a:p>
        </p:txBody>
      </p:sp>
      <p:pic>
        <p:nvPicPr>
          <p:cNvPr id="385" name="Google Shape;385;p7"/>
          <p:cNvPicPr preferRelativeResize="0"/>
          <p:nvPr/>
        </p:nvPicPr>
        <p:blipFill rotWithShape="1">
          <a:blip r:embed="rId7">
            <a:alphaModFix/>
          </a:blip>
          <a:srcRect/>
          <a:stretch/>
        </p:blipFill>
        <p:spPr>
          <a:xfrm>
            <a:off x="524399" y="3928136"/>
            <a:ext cx="265176" cy="265176"/>
          </a:xfrm>
          <a:prstGeom prst="rect">
            <a:avLst/>
          </a:prstGeom>
          <a:noFill/>
          <a:ln>
            <a:noFill/>
          </a:ln>
        </p:spPr>
      </p:pic>
      <p:pic>
        <p:nvPicPr>
          <p:cNvPr id="386" name="Google Shape;386;p7"/>
          <p:cNvPicPr preferRelativeResize="0"/>
          <p:nvPr/>
        </p:nvPicPr>
        <p:blipFill rotWithShape="1">
          <a:blip r:embed="rId8">
            <a:alphaModFix/>
          </a:blip>
          <a:srcRect/>
          <a:stretch/>
        </p:blipFill>
        <p:spPr>
          <a:xfrm>
            <a:off x="524399" y="2487990"/>
            <a:ext cx="265176" cy="265176"/>
          </a:xfrm>
          <a:prstGeom prst="rect">
            <a:avLst/>
          </a:prstGeom>
          <a:noFill/>
          <a:ln>
            <a:noFill/>
          </a:ln>
        </p:spPr>
      </p:pic>
      <p:cxnSp>
        <p:nvCxnSpPr>
          <p:cNvPr id="389" name="Google Shape;389;p7"/>
          <p:cNvCxnSpPr/>
          <p:nvPr/>
        </p:nvCxnSpPr>
        <p:spPr>
          <a:xfrm>
            <a:off x="5577451" y="1745476"/>
            <a:ext cx="0" cy="4345725"/>
          </a:xfrm>
          <a:prstGeom prst="straightConnector1">
            <a:avLst/>
          </a:prstGeom>
          <a:noFill/>
          <a:ln w="9525" cap="flat" cmpd="sng">
            <a:solidFill>
              <a:srgbClr val="7F7F7F"/>
            </a:solidFill>
            <a:prstDash val="solid"/>
            <a:round/>
            <a:headEnd type="none" w="sm" len="sm"/>
            <a:tailEnd type="none" w="sm" len="sm"/>
          </a:ln>
        </p:spPr>
      </p:cxnSp>
      <p:cxnSp>
        <p:nvCxnSpPr>
          <p:cNvPr id="390" name="Google Shape;390;p7"/>
          <p:cNvCxnSpPr/>
          <p:nvPr/>
        </p:nvCxnSpPr>
        <p:spPr>
          <a:xfrm>
            <a:off x="385174" y="1732338"/>
            <a:ext cx="0" cy="4345725"/>
          </a:xfrm>
          <a:prstGeom prst="straightConnector1">
            <a:avLst/>
          </a:prstGeom>
          <a:noFill/>
          <a:ln w="9525" cap="flat" cmpd="sng">
            <a:solidFill>
              <a:srgbClr val="C7C7C7"/>
            </a:solidFill>
            <a:prstDash val="dot"/>
            <a:round/>
            <a:headEnd type="none" w="sm" len="sm"/>
            <a:tailEnd type="none" w="sm" len="sm"/>
          </a:ln>
        </p:spPr>
      </p:cxnSp>
      <p:cxnSp>
        <p:nvCxnSpPr>
          <p:cNvPr id="391" name="Google Shape;391;p7"/>
          <p:cNvCxnSpPr/>
          <p:nvPr/>
        </p:nvCxnSpPr>
        <p:spPr>
          <a:xfrm>
            <a:off x="1323782" y="1745476"/>
            <a:ext cx="0" cy="4345725"/>
          </a:xfrm>
          <a:prstGeom prst="straightConnector1">
            <a:avLst/>
          </a:prstGeom>
          <a:noFill/>
          <a:ln w="9525" cap="flat" cmpd="sng">
            <a:solidFill>
              <a:srgbClr val="7F7F7F"/>
            </a:solidFill>
            <a:prstDash val="solid"/>
            <a:round/>
            <a:headEnd type="none" w="sm" len="sm"/>
            <a:tailEnd type="none" w="sm" len="sm"/>
          </a:ln>
        </p:spPr>
      </p:cxnSp>
      <p:cxnSp>
        <p:nvCxnSpPr>
          <p:cNvPr id="392" name="Google Shape;392;p7"/>
          <p:cNvCxnSpPr/>
          <p:nvPr/>
        </p:nvCxnSpPr>
        <p:spPr>
          <a:xfrm>
            <a:off x="2387199" y="1745476"/>
            <a:ext cx="0" cy="4345725"/>
          </a:xfrm>
          <a:prstGeom prst="straightConnector1">
            <a:avLst/>
          </a:prstGeom>
          <a:noFill/>
          <a:ln w="9525" cap="flat" cmpd="sng">
            <a:solidFill>
              <a:srgbClr val="C7C7C7"/>
            </a:solidFill>
            <a:prstDash val="dot"/>
            <a:round/>
            <a:headEnd type="none" w="sm" len="sm"/>
            <a:tailEnd type="none" w="sm" len="sm"/>
          </a:ln>
        </p:spPr>
      </p:cxnSp>
      <p:cxnSp>
        <p:nvCxnSpPr>
          <p:cNvPr id="393" name="Google Shape;393;p7"/>
          <p:cNvCxnSpPr/>
          <p:nvPr/>
        </p:nvCxnSpPr>
        <p:spPr>
          <a:xfrm>
            <a:off x="3450616" y="1745476"/>
            <a:ext cx="0" cy="4345725"/>
          </a:xfrm>
          <a:prstGeom prst="straightConnector1">
            <a:avLst/>
          </a:prstGeom>
          <a:noFill/>
          <a:ln w="9525" cap="flat" cmpd="sng">
            <a:solidFill>
              <a:srgbClr val="7F7F7F"/>
            </a:solidFill>
            <a:prstDash val="solid"/>
            <a:round/>
            <a:headEnd type="none" w="sm" len="sm"/>
            <a:tailEnd type="none" w="sm" len="sm"/>
          </a:ln>
        </p:spPr>
      </p:cxnSp>
      <p:cxnSp>
        <p:nvCxnSpPr>
          <p:cNvPr id="394" name="Google Shape;394;p7"/>
          <p:cNvCxnSpPr/>
          <p:nvPr/>
        </p:nvCxnSpPr>
        <p:spPr>
          <a:xfrm>
            <a:off x="4514033" y="1745476"/>
            <a:ext cx="0" cy="4345725"/>
          </a:xfrm>
          <a:prstGeom prst="straightConnector1">
            <a:avLst/>
          </a:prstGeom>
          <a:noFill/>
          <a:ln w="9525" cap="flat" cmpd="sng">
            <a:solidFill>
              <a:srgbClr val="C7C7C7"/>
            </a:solidFill>
            <a:prstDash val="dot"/>
            <a:round/>
            <a:headEnd type="none" w="sm" len="sm"/>
            <a:tailEnd type="none" w="sm" len="sm"/>
          </a:ln>
        </p:spPr>
      </p:cxnSp>
      <p:cxnSp>
        <p:nvCxnSpPr>
          <p:cNvPr id="395" name="Google Shape;395;p7"/>
          <p:cNvCxnSpPr/>
          <p:nvPr/>
        </p:nvCxnSpPr>
        <p:spPr>
          <a:xfrm>
            <a:off x="6575439" y="1745476"/>
            <a:ext cx="0" cy="4345725"/>
          </a:xfrm>
          <a:prstGeom prst="straightConnector1">
            <a:avLst/>
          </a:prstGeom>
          <a:noFill/>
          <a:ln w="9525" cap="flat" cmpd="sng">
            <a:solidFill>
              <a:srgbClr val="C7C7C7"/>
            </a:solidFill>
            <a:prstDash val="dot"/>
            <a:round/>
            <a:headEnd type="none" w="sm" len="sm"/>
            <a:tailEnd type="none" w="sm" len="sm"/>
          </a:ln>
        </p:spPr>
      </p:cxnSp>
      <p:cxnSp>
        <p:nvCxnSpPr>
          <p:cNvPr id="396" name="Google Shape;396;p7"/>
          <p:cNvCxnSpPr/>
          <p:nvPr/>
        </p:nvCxnSpPr>
        <p:spPr>
          <a:xfrm>
            <a:off x="7538774" y="1757511"/>
            <a:ext cx="0" cy="4345725"/>
          </a:xfrm>
          <a:prstGeom prst="straightConnector1">
            <a:avLst/>
          </a:prstGeom>
          <a:noFill/>
          <a:ln w="9525" cap="flat" cmpd="sng">
            <a:solidFill>
              <a:srgbClr val="7F7F7F"/>
            </a:solidFill>
            <a:prstDash val="solid"/>
            <a:round/>
            <a:headEnd type="none" w="sm" len="sm"/>
            <a:tailEnd type="none" w="sm" len="sm"/>
          </a:ln>
        </p:spPr>
      </p:cxnSp>
      <p:cxnSp>
        <p:nvCxnSpPr>
          <p:cNvPr id="397" name="Google Shape;397;p7"/>
          <p:cNvCxnSpPr>
            <a:cxnSpLocks/>
          </p:cNvCxnSpPr>
          <p:nvPr/>
        </p:nvCxnSpPr>
        <p:spPr>
          <a:xfrm>
            <a:off x="432433" y="3360342"/>
            <a:ext cx="11080577" cy="0"/>
          </a:xfrm>
          <a:prstGeom prst="straightConnector1">
            <a:avLst/>
          </a:prstGeom>
          <a:noFill/>
          <a:ln w="9525" cap="flat" cmpd="sng">
            <a:solidFill>
              <a:srgbClr val="747C74"/>
            </a:solidFill>
            <a:prstDash val="solid"/>
            <a:round/>
            <a:headEnd type="none" w="sm" len="sm"/>
            <a:tailEnd type="none" w="sm" len="sm"/>
          </a:ln>
        </p:spPr>
      </p:cxnSp>
      <p:cxnSp>
        <p:nvCxnSpPr>
          <p:cNvPr id="398" name="Google Shape;398;p7"/>
          <p:cNvCxnSpPr>
            <a:cxnSpLocks/>
          </p:cNvCxnSpPr>
          <p:nvPr/>
        </p:nvCxnSpPr>
        <p:spPr>
          <a:xfrm>
            <a:off x="417606" y="4442627"/>
            <a:ext cx="11080575" cy="0"/>
          </a:xfrm>
          <a:prstGeom prst="straightConnector1">
            <a:avLst/>
          </a:prstGeom>
          <a:noFill/>
          <a:ln w="9525" cap="flat" cmpd="sng">
            <a:solidFill>
              <a:srgbClr val="747C74"/>
            </a:solidFill>
            <a:prstDash val="solid"/>
            <a:round/>
            <a:headEnd type="none" w="sm" len="sm"/>
            <a:tailEnd type="none" w="sm" len="sm"/>
          </a:ln>
        </p:spPr>
      </p:cxnSp>
      <p:sp>
        <p:nvSpPr>
          <p:cNvPr id="399" name="Google Shape;399;p7"/>
          <p:cNvSpPr/>
          <p:nvPr/>
        </p:nvSpPr>
        <p:spPr>
          <a:xfrm>
            <a:off x="2396954" y="3111233"/>
            <a:ext cx="2091406" cy="215268"/>
          </a:xfrm>
          <a:prstGeom prst="rect">
            <a:avLst/>
          </a:prstGeom>
          <a:solidFill>
            <a:schemeClr val="accent1"/>
          </a:solidFill>
          <a:ln w="9525" cap="flat" cmpd="sng">
            <a:solidFill>
              <a:schemeClr val="lt1"/>
            </a:solidFill>
            <a:prstDash val="solid"/>
            <a:round/>
            <a:headEnd type="none" w="sm" len="sm"/>
            <a:tailEnd type="none" w="sm" len="sm"/>
          </a:ln>
        </p:spPr>
        <p:txBody>
          <a:bodyPr spcFirstLastPara="1" wrap="square" lIns="91425" tIns="60925" rIns="60950" bIns="60925" anchor="ctr" anchorCtr="0">
            <a:noAutofit/>
          </a:bodyPr>
          <a:lstStyle/>
          <a:p>
            <a:pPr>
              <a:buClr>
                <a:srgbClr val="FDFFFD"/>
              </a:buClr>
              <a:buSzPts val="900"/>
            </a:pPr>
            <a:r>
              <a:rPr lang="en-US" sz="800" b="0" i="0" u="none" strike="noStrike" cap="none">
                <a:solidFill>
                  <a:srgbClr val="FDFFFD"/>
                </a:solidFill>
                <a:latin typeface="Source Sans Pro"/>
                <a:ea typeface="Source Sans Pro"/>
                <a:cs typeface="Source Sans Pro"/>
                <a:sym typeface="Source Sans Pro"/>
              </a:rPr>
              <a:t>HH: Develop backlog</a:t>
            </a:r>
            <a:r>
              <a:rPr lang="en-US" sz="800">
                <a:solidFill>
                  <a:srgbClr val="FDFFFD"/>
                </a:solidFill>
                <a:latin typeface="Source Sans Pro"/>
                <a:ea typeface="Source Sans Pro"/>
                <a:cs typeface="Source Sans Pro"/>
                <a:sym typeface="Source Sans Pro"/>
              </a:rPr>
              <a:t> + Vision Framework</a:t>
            </a:r>
            <a:endParaRPr sz="800" b="0" i="0" u="none" strike="noStrike" cap="none">
              <a:solidFill>
                <a:srgbClr val="000000"/>
              </a:solidFill>
              <a:latin typeface="Source Sans Pro"/>
              <a:ea typeface="Source Sans Pro"/>
              <a:cs typeface="Source Sans Pro"/>
              <a:sym typeface="Source Sans Pro"/>
            </a:endParaRPr>
          </a:p>
        </p:txBody>
      </p:sp>
      <p:sp>
        <p:nvSpPr>
          <p:cNvPr id="400" name="Google Shape;400;p7"/>
          <p:cNvSpPr/>
          <p:nvPr/>
        </p:nvSpPr>
        <p:spPr>
          <a:xfrm>
            <a:off x="1420996" y="2148674"/>
            <a:ext cx="3153053" cy="204624"/>
          </a:xfrm>
          <a:prstGeom prst="rect">
            <a:avLst/>
          </a:prstGeom>
          <a:solidFill>
            <a:schemeClr val="accent1"/>
          </a:solidFill>
          <a:ln w="9525" cap="flat" cmpd="sng">
            <a:solidFill>
              <a:schemeClr val="lt1"/>
            </a:solidFill>
            <a:prstDash val="solid"/>
            <a:round/>
            <a:headEnd type="none" w="sm" len="sm"/>
            <a:tailEnd type="none" w="sm" len="sm"/>
          </a:ln>
        </p:spPr>
        <p:txBody>
          <a:bodyPr spcFirstLastPara="1" wrap="square" lIns="91425" tIns="60925" rIns="60950" bIns="60925" anchor="ctr" anchorCtr="0">
            <a:noAutofit/>
          </a:bodyPr>
          <a:lstStyle/>
          <a:p>
            <a:pPr marL="0" marR="0" lvl="0" indent="0" algn="l" rtl="0">
              <a:lnSpc>
                <a:spcPct val="100000"/>
              </a:lnSpc>
              <a:spcBef>
                <a:spcPts val="0"/>
              </a:spcBef>
              <a:spcAft>
                <a:spcPts val="0"/>
              </a:spcAft>
              <a:buClr>
                <a:srgbClr val="FDFFFD"/>
              </a:buClr>
              <a:buSzPts val="900"/>
              <a:buFont typeface="PT Serif"/>
              <a:buNone/>
            </a:pPr>
            <a:r>
              <a:rPr lang="en-US" sz="850">
                <a:solidFill>
                  <a:srgbClr val="FDFFFD"/>
                </a:solidFill>
                <a:latin typeface="Source Sans Pro"/>
                <a:ea typeface="Source Sans Pro"/>
                <a:cs typeface="Source Sans Pro"/>
                <a:sym typeface="Source Sans Pro"/>
              </a:rPr>
              <a:t>1095-B: I</a:t>
            </a:r>
            <a:r>
              <a:rPr lang="en-US" sz="850" b="0" i="0" u="none" strike="noStrike" cap="none">
                <a:solidFill>
                  <a:srgbClr val="FDFFFD"/>
                </a:solidFill>
                <a:latin typeface="Source Sans Pro"/>
                <a:ea typeface="Source Sans Pro"/>
                <a:cs typeface="Source Sans Pro"/>
                <a:sym typeface="Source Sans Pro"/>
              </a:rPr>
              <a:t>dentify Change Management or Communications Plan</a:t>
            </a:r>
            <a:endParaRPr sz="850" b="0" i="0" u="none" strike="noStrike" cap="none">
              <a:solidFill>
                <a:srgbClr val="000000"/>
              </a:solidFill>
              <a:latin typeface="Source Sans Pro"/>
              <a:ea typeface="Source Sans Pro"/>
              <a:cs typeface="Source Sans Pro"/>
              <a:sym typeface="Source Sans Pro"/>
            </a:endParaRPr>
          </a:p>
        </p:txBody>
      </p:sp>
      <p:sp>
        <p:nvSpPr>
          <p:cNvPr id="401" name="Google Shape;401;p7"/>
          <p:cNvSpPr/>
          <p:nvPr/>
        </p:nvSpPr>
        <p:spPr>
          <a:xfrm>
            <a:off x="1425665" y="2547951"/>
            <a:ext cx="2125034" cy="170513"/>
          </a:xfrm>
          <a:prstGeom prst="rect">
            <a:avLst/>
          </a:prstGeom>
          <a:solidFill>
            <a:schemeClr val="accent1"/>
          </a:solidFill>
          <a:ln w="9525" cap="flat" cmpd="sng">
            <a:solidFill>
              <a:schemeClr val="lt1"/>
            </a:solidFill>
            <a:prstDash val="solid"/>
            <a:round/>
            <a:headEnd type="none" w="sm" len="sm"/>
            <a:tailEnd type="none" w="sm" len="sm"/>
          </a:ln>
        </p:spPr>
        <p:txBody>
          <a:bodyPr spcFirstLastPara="1" wrap="square" lIns="91425" tIns="60925" rIns="60950" bIns="60925" anchor="ctr" anchorCtr="0">
            <a:noAutofit/>
          </a:bodyPr>
          <a:lstStyle/>
          <a:p>
            <a:pPr>
              <a:buClr>
                <a:srgbClr val="FDFFFD"/>
              </a:buClr>
              <a:buSzPts val="900"/>
            </a:pPr>
            <a:r>
              <a:rPr lang="en-US" sz="850">
                <a:solidFill>
                  <a:srgbClr val="FDFFFD"/>
                </a:solidFill>
                <a:latin typeface="Source Sans Pro"/>
                <a:ea typeface="Source Sans Pro"/>
                <a:cs typeface="Source Sans Pro"/>
                <a:sym typeface="Source Sans Pro"/>
              </a:rPr>
              <a:t>1095-B: Handover </a:t>
            </a:r>
            <a:r>
              <a:rPr lang="en-US" sz="850" b="0" i="0" u="none" strike="noStrike" cap="none">
                <a:solidFill>
                  <a:srgbClr val="FDFFFD"/>
                </a:solidFill>
                <a:latin typeface="Source Sans Pro"/>
                <a:ea typeface="Source Sans Pro"/>
                <a:cs typeface="Source Sans Pro"/>
                <a:sym typeface="Source Sans Pro"/>
              </a:rPr>
              <a:t>plan</a:t>
            </a:r>
            <a:r>
              <a:rPr lang="en-US" sz="850">
                <a:solidFill>
                  <a:srgbClr val="FDFFFD"/>
                </a:solidFill>
                <a:latin typeface="Source Sans Pro"/>
                <a:ea typeface="Source Sans Pro"/>
                <a:cs typeface="Source Sans Pro"/>
                <a:sym typeface="Source Sans Pro"/>
              </a:rPr>
              <a:t> </a:t>
            </a:r>
            <a:r>
              <a:rPr lang="en-US" sz="850" b="0" i="0" u="none" strike="noStrike" cap="none">
                <a:solidFill>
                  <a:srgbClr val="FDFFFD"/>
                </a:solidFill>
                <a:latin typeface="Source Sans Pro"/>
                <a:ea typeface="Source Sans Pro"/>
                <a:cs typeface="Source Sans Pro"/>
                <a:sym typeface="Source Sans Pro"/>
              </a:rPr>
              <a:t> - Prepare for launch</a:t>
            </a:r>
            <a:endParaRPr sz="850" b="0" i="0" u="none" strike="noStrike" cap="none">
              <a:solidFill>
                <a:srgbClr val="000000"/>
              </a:solidFill>
              <a:latin typeface="Source Sans Pro"/>
              <a:ea typeface="Source Sans Pro"/>
              <a:cs typeface="Source Sans Pro"/>
              <a:sym typeface="Source Sans Pro"/>
            </a:endParaRPr>
          </a:p>
        </p:txBody>
      </p:sp>
      <p:sp>
        <p:nvSpPr>
          <p:cNvPr id="409" name="Google Shape;409;p7"/>
          <p:cNvSpPr/>
          <p:nvPr/>
        </p:nvSpPr>
        <p:spPr>
          <a:xfrm>
            <a:off x="7284223" y="3434347"/>
            <a:ext cx="1317969" cy="310677"/>
          </a:xfrm>
          <a:prstGeom prst="rect">
            <a:avLst/>
          </a:prstGeom>
          <a:solidFill>
            <a:srgbClr val="0365B9"/>
          </a:solidFill>
          <a:ln w="9525" cap="flat" cmpd="sng">
            <a:solidFill>
              <a:schemeClr val="lt1"/>
            </a:solidFill>
            <a:prstDash val="solid"/>
            <a:round/>
            <a:headEnd type="none" w="sm" len="sm"/>
            <a:tailEnd type="none" w="sm" len="sm"/>
          </a:ln>
        </p:spPr>
        <p:txBody>
          <a:bodyPr spcFirstLastPara="1" wrap="square" lIns="60950" tIns="60925" rIns="60950" bIns="60925" anchor="ctr" anchorCtr="0">
            <a:noAutofit/>
          </a:bodyPr>
          <a:lstStyle/>
          <a:p>
            <a:pPr marL="0" marR="0" lvl="0" indent="0" algn="l" rtl="0">
              <a:lnSpc>
                <a:spcPct val="100000"/>
              </a:lnSpc>
              <a:spcBef>
                <a:spcPts val="0"/>
              </a:spcBef>
              <a:spcAft>
                <a:spcPts val="0"/>
              </a:spcAft>
              <a:buClr>
                <a:srgbClr val="FDFFFD"/>
              </a:buClr>
              <a:buSzPts val="900"/>
              <a:buFont typeface="PT Serif"/>
              <a:buNone/>
            </a:pPr>
            <a:r>
              <a:rPr lang="en-US" sz="850" b="0" i="0" u="none" strike="noStrike" cap="none">
                <a:solidFill>
                  <a:srgbClr val="FDFFFD"/>
                </a:solidFill>
                <a:latin typeface="Source Sans Pro"/>
                <a:ea typeface="Source Sans Pro"/>
                <a:cs typeface="Source Sans Pro"/>
                <a:sym typeface="Source Sans Pro"/>
              </a:rPr>
              <a:t>Testing prep &amp; recruiting</a:t>
            </a:r>
            <a:endParaRPr sz="850" b="0" i="0" u="none" strike="noStrike" cap="none">
              <a:solidFill>
                <a:srgbClr val="FDFFFD"/>
              </a:solidFill>
              <a:latin typeface="Source Sans Pro"/>
              <a:ea typeface="Source Sans Pro"/>
              <a:cs typeface="Source Sans Pro"/>
              <a:sym typeface="Source Sans Pro"/>
            </a:endParaRPr>
          </a:p>
        </p:txBody>
      </p:sp>
      <p:sp>
        <p:nvSpPr>
          <p:cNvPr id="410" name="Google Shape;410;p7"/>
          <p:cNvSpPr/>
          <p:nvPr/>
        </p:nvSpPr>
        <p:spPr>
          <a:xfrm>
            <a:off x="5612750" y="4132946"/>
            <a:ext cx="1891075" cy="269906"/>
          </a:xfrm>
          <a:prstGeom prst="rect">
            <a:avLst/>
          </a:prstGeom>
          <a:solidFill>
            <a:srgbClr val="0365B9"/>
          </a:solidFill>
          <a:ln w="9525" cap="flat" cmpd="sng">
            <a:solidFill>
              <a:schemeClr val="lt1"/>
            </a:solidFill>
            <a:prstDash val="solid"/>
            <a:round/>
            <a:headEnd type="none" w="sm" len="sm"/>
            <a:tailEnd type="none" w="sm" len="sm"/>
          </a:ln>
        </p:spPr>
        <p:txBody>
          <a:bodyPr spcFirstLastPara="1" wrap="square" lIns="60950" tIns="60925" rIns="60950" bIns="60925" anchor="ctr" anchorCtr="0">
            <a:noAutofit/>
          </a:bodyPr>
          <a:lstStyle/>
          <a:p>
            <a:pPr marL="0" marR="0" lvl="0" indent="0" algn="l" rtl="0">
              <a:lnSpc>
                <a:spcPct val="100000"/>
              </a:lnSpc>
              <a:spcBef>
                <a:spcPts val="0"/>
              </a:spcBef>
              <a:spcAft>
                <a:spcPts val="0"/>
              </a:spcAft>
              <a:buClr>
                <a:srgbClr val="FDFFFD"/>
              </a:buClr>
              <a:buSzPts val="900"/>
              <a:buFont typeface="PT Serif"/>
              <a:buNone/>
            </a:pPr>
            <a:r>
              <a:rPr lang="en-US" sz="850">
                <a:solidFill>
                  <a:srgbClr val="FDFFFD"/>
                </a:solidFill>
                <a:latin typeface="Source Sans Pro"/>
                <a:ea typeface="Source Sans Pro"/>
                <a:cs typeface="Source Sans Pro"/>
                <a:sym typeface="Source Sans Pro"/>
              </a:rPr>
              <a:t>Prioritized plan</a:t>
            </a:r>
            <a:endParaRPr sz="850" b="0" i="0" u="none" strike="noStrike" cap="none">
              <a:solidFill>
                <a:srgbClr val="000000"/>
              </a:solidFill>
              <a:latin typeface="Source Sans Pro"/>
              <a:ea typeface="Source Sans Pro"/>
              <a:cs typeface="Source Sans Pro"/>
              <a:sym typeface="Source Sans Pro"/>
            </a:endParaRPr>
          </a:p>
        </p:txBody>
      </p:sp>
      <p:sp>
        <p:nvSpPr>
          <p:cNvPr id="413" name="Google Shape;413;p7"/>
          <p:cNvSpPr/>
          <p:nvPr/>
        </p:nvSpPr>
        <p:spPr>
          <a:xfrm>
            <a:off x="1385350" y="3401117"/>
            <a:ext cx="2044065" cy="153006"/>
          </a:xfrm>
          <a:prstGeom prst="rect">
            <a:avLst/>
          </a:prstGeom>
          <a:solidFill>
            <a:srgbClr val="0365B9"/>
          </a:solidFill>
          <a:ln w="9525" cap="flat" cmpd="sng">
            <a:solidFill>
              <a:schemeClr val="lt1"/>
            </a:solidFill>
            <a:prstDash val="solid"/>
            <a:round/>
            <a:headEnd type="none" w="sm" len="sm"/>
            <a:tailEnd type="none" w="sm" len="sm"/>
          </a:ln>
        </p:spPr>
        <p:txBody>
          <a:bodyPr spcFirstLastPara="1" wrap="square" lIns="60950" tIns="60925" rIns="60950" bIns="60925" anchor="ctr" anchorCtr="0">
            <a:noAutofit/>
          </a:bodyPr>
          <a:lstStyle/>
          <a:p>
            <a:pPr marL="0" marR="0" lvl="0" indent="0" algn="l" rtl="0">
              <a:lnSpc>
                <a:spcPct val="100000"/>
              </a:lnSpc>
              <a:spcBef>
                <a:spcPts val="0"/>
              </a:spcBef>
              <a:spcAft>
                <a:spcPts val="0"/>
              </a:spcAft>
              <a:buClr>
                <a:srgbClr val="FDFFFD"/>
              </a:buClr>
              <a:buSzPts val="900"/>
              <a:buFont typeface="PT Serif"/>
              <a:buNone/>
            </a:pPr>
            <a:r>
              <a:rPr lang="en-US" sz="850" b="0" i="0" u="none" strike="noStrike" cap="none">
                <a:solidFill>
                  <a:srgbClr val="FDFFFD"/>
                </a:solidFill>
                <a:latin typeface="Source Sans Pro"/>
                <a:ea typeface="Source Sans Pro"/>
                <a:cs typeface="Source Sans Pro"/>
                <a:sym typeface="Source Sans Pro"/>
              </a:rPr>
              <a:t>1095-B: Wayfinding plan</a:t>
            </a:r>
            <a:endParaRPr sz="850" b="0" i="0" u="none" strike="noStrike" cap="none">
              <a:solidFill>
                <a:srgbClr val="FDFFFD"/>
              </a:solidFill>
              <a:latin typeface="Source Sans Pro"/>
              <a:ea typeface="Source Sans Pro"/>
              <a:cs typeface="Source Sans Pro"/>
              <a:sym typeface="Source Sans Pro"/>
            </a:endParaRPr>
          </a:p>
        </p:txBody>
      </p:sp>
      <p:sp>
        <p:nvSpPr>
          <p:cNvPr id="416" name="Google Shape;416;p7"/>
          <p:cNvSpPr txBox="1"/>
          <p:nvPr/>
        </p:nvSpPr>
        <p:spPr>
          <a:xfrm>
            <a:off x="1388326" y="5505117"/>
            <a:ext cx="1165127" cy="415498"/>
          </a:xfrm>
          <a:prstGeom prst="rect">
            <a:avLst/>
          </a:prstGeom>
          <a:noFill/>
          <a:ln>
            <a:noFill/>
          </a:ln>
        </p:spPr>
        <p:txBody>
          <a:bodyPr spcFirstLastPara="1" wrap="square" lIns="0" tIns="0" rIns="0" bIns="0" anchor="t" anchorCtr="0">
            <a:spAutoFit/>
          </a:bodyPr>
          <a:lstStyle/>
          <a:p>
            <a:pPr>
              <a:buClr>
                <a:srgbClr val="202120"/>
              </a:buClr>
              <a:buSzPts val="900"/>
            </a:pPr>
            <a:r>
              <a:rPr lang="en-US" sz="900">
                <a:solidFill>
                  <a:srgbClr val="202120"/>
                </a:solidFill>
                <a:latin typeface="Source Sans Pro SemiBold"/>
                <a:ea typeface="Source Sans Pro SemiBold"/>
                <a:cs typeface="Source Sans Pro SemiBold"/>
                <a:sym typeface="Source Sans Pro SemiBold"/>
              </a:rPr>
              <a:t>1095-B:</a:t>
            </a:r>
            <a:r>
              <a:rPr lang="en-US" sz="900" b="0" i="0" u="none" strike="noStrike" cap="none">
                <a:solidFill>
                  <a:srgbClr val="202120"/>
                </a:solidFill>
                <a:latin typeface="Source Sans Pro SemiBold"/>
                <a:ea typeface="Source Sans Pro SemiBold"/>
                <a:cs typeface="Source Sans Pro SemiBold"/>
                <a:sym typeface="Source Sans Pro SemiBold"/>
              </a:rPr>
              <a:t> Launch Date Dependent on Legal Review</a:t>
            </a:r>
            <a:r>
              <a:rPr lang="en-US" sz="900">
                <a:solidFill>
                  <a:srgbClr val="202120"/>
                </a:solidFill>
                <a:latin typeface="Source Sans Pro SemiBold"/>
                <a:ea typeface="Source Sans Pro SemiBold"/>
                <a:cs typeface="Source Sans Pro SemiBold"/>
                <a:sym typeface="Source Sans Pro SemiBold"/>
              </a:rPr>
              <a:t> Completion</a:t>
            </a:r>
            <a:endParaRPr lang="en-US" sz="900" b="0" i="0" u="none" strike="noStrike" cap="none">
              <a:solidFill>
                <a:srgbClr val="202120"/>
              </a:solidFill>
              <a:latin typeface="Source Sans Pro SemiBold"/>
              <a:ea typeface="Source Sans Pro SemiBold"/>
              <a:cs typeface="Source Sans Pro SemiBold"/>
            </a:endParaRPr>
          </a:p>
        </p:txBody>
      </p:sp>
      <p:cxnSp>
        <p:nvCxnSpPr>
          <p:cNvPr id="420" name="Google Shape;420;p7"/>
          <p:cNvCxnSpPr/>
          <p:nvPr/>
        </p:nvCxnSpPr>
        <p:spPr>
          <a:xfrm>
            <a:off x="1348720" y="1758481"/>
            <a:ext cx="2084815" cy="0"/>
          </a:xfrm>
          <a:prstGeom prst="straightConnector1">
            <a:avLst/>
          </a:prstGeom>
          <a:noFill/>
          <a:ln w="12700" cap="flat" cmpd="sng">
            <a:solidFill>
              <a:schemeClr val="dk1"/>
            </a:solidFill>
            <a:prstDash val="solid"/>
            <a:round/>
            <a:headEnd type="none" w="sm" len="sm"/>
            <a:tailEnd type="none" w="sm" len="sm"/>
          </a:ln>
        </p:spPr>
      </p:cxnSp>
      <p:cxnSp>
        <p:nvCxnSpPr>
          <p:cNvPr id="421" name="Google Shape;421;p7"/>
          <p:cNvCxnSpPr/>
          <p:nvPr/>
        </p:nvCxnSpPr>
        <p:spPr>
          <a:xfrm>
            <a:off x="3471626" y="1758481"/>
            <a:ext cx="2084815" cy="0"/>
          </a:xfrm>
          <a:prstGeom prst="straightConnector1">
            <a:avLst/>
          </a:prstGeom>
          <a:noFill/>
          <a:ln w="12700" cap="flat" cmpd="sng">
            <a:solidFill>
              <a:schemeClr val="dk1"/>
            </a:solidFill>
            <a:prstDash val="solid"/>
            <a:round/>
            <a:headEnd type="none" w="sm" len="sm"/>
            <a:tailEnd type="none" w="sm" len="sm"/>
          </a:ln>
        </p:spPr>
      </p:cxnSp>
      <p:cxnSp>
        <p:nvCxnSpPr>
          <p:cNvPr id="422" name="Google Shape;422;p7"/>
          <p:cNvCxnSpPr/>
          <p:nvPr/>
        </p:nvCxnSpPr>
        <p:spPr>
          <a:xfrm>
            <a:off x="5595468" y="1758481"/>
            <a:ext cx="1925293" cy="0"/>
          </a:xfrm>
          <a:prstGeom prst="straightConnector1">
            <a:avLst/>
          </a:prstGeom>
          <a:noFill/>
          <a:ln w="12700" cap="flat" cmpd="sng">
            <a:solidFill>
              <a:schemeClr val="dk1"/>
            </a:solidFill>
            <a:prstDash val="solid"/>
            <a:round/>
            <a:headEnd type="none" w="sm" len="sm"/>
            <a:tailEnd type="none" w="sm" len="sm"/>
          </a:ln>
        </p:spPr>
      </p:cxnSp>
      <p:pic>
        <p:nvPicPr>
          <p:cNvPr id="424" name="Google Shape;424;p7"/>
          <p:cNvPicPr preferRelativeResize="0"/>
          <p:nvPr/>
        </p:nvPicPr>
        <p:blipFill rotWithShape="1">
          <a:blip r:embed="rId9">
            <a:alphaModFix/>
          </a:blip>
          <a:srcRect/>
          <a:stretch/>
        </p:blipFill>
        <p:spPr>
          <a:xfrm>
            <a:off x="511261" y="4858408"/>
            <a:ext cx="265176" cy="265176"/>
          </a:xfrm>
          <a:prstGeom prst="rect">
            <a:avLst/>
          </a:prstGeom>
          <a:noFill/>
          <a:ln>
            <a:noFill/>
          </a:ln>
        </p:spPr>
      </p:pic>
      <p:cxnSp>
        <p:nvCxnSpPr>
          <p:cNvPr id="425" name="Google Shape;425;p7"/>
          <p:cNvCxnSpPr>
            <a:cxnSpLocks/>
          </p:cNvCxnSpPr>
          <p:nvPr/>
        </p:nvCxnSpPr>
        <p:spPr>
          <a:xfrm>
            <a:off x="432433" y="5219016"/>
            <a:ext cx="11065748" cy="0"/>
          </a:xfrm>
          <a:prstGeom prst="straightConnector1">
            <a:avLst/>
          </a:prstGeom>
          <a:noFill/>
          <a:ln w="9525" cap="flat" cmpd="sng">
            <a:solidFill>
              <a:srgbClr val="747C74"/>
            </a:solidFill>
            <a:prstDash val="solid"/>
            <a:round/>
            <a:headEnd type="none" w="sm" len="sm"/>
            <a:tailEnd type="none" w="sm" len="sm"/>
          </a:ln>
        </p:spPr>
      </p:cxnSp>
      <p:sp>
        <p:nvSpPr>
          <p:cNvPr id="426" name="Google Shape;426;p7"/>
          <p:cNvSpPr/>
          <p:nvPr/>
        </p:nvSpPr>
        <p:spPr>
          <a:xfrm>
            <a:off x="498421" y="5318244"/>
            <a:ext cx="813826" cy="276999"/>
          </a:xfrm>
          <a:prstGeom prst="rect">
            <a:avLst/>
          </a:prstGeom>
          <a:solidFill>
            <a:schemeClr val="lt1"/>
          </a:solid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1" i="0" u="none" strike="noStrike" cap="none">
                <a:solidFill>
                  <a:schemeClr val="dk2"/>
                </a:solidFill>
                <a:latin typeface="Source Sans Pro Semibold"/>
                <a:ea typeface="Source Sans Pro Semibold"/>
                <a:cs typeface="Source Sans Pro Semibold"/>
                <a:sym typeface="Source Sans Pro SemiBold"/>
              </a:rPr>
              <a:t>Collaboration Cycle</a:t>
            </a:r>
            <a:endParaRPr sz="900" b="1" i="0" u="none" strike="noStrike" cap="none">
              <a:solidFill>
                <a:schemeClr val="dk2"/>
              </a:solidFill>
              <a:latin typeface="Source Sans Pro Semibold"/>
              <a:ea typeface="Source Sans Pro Semibold"/>
              <a:cs typeface="Source Sans Pro Semibold"/>
              <a:sym typeface="Source Sans Pro SemiBold"/>
            </a:endParaRPr>
          </a:p>
        </p:txBody>
      </p:sp>
      <p:pic>
        <p:nvPicPr>
          <p:cNvPr id="427" name="Google Shape;427;p7"/>
          <p:cNvPicPr preferRelativeResize="0"/>
          <p:nvPr/>
        </p:nvPicPr>
        <p:blipFill rotWithShape="1">
          <a:blip r:embed="rId10">
            <a:alphaModFix/>
          </a:blip>
          <a:srcRect/>
          <a:stretch/>
        </p:blipFill>
        <p:spPr>
          <a:xfrm>
            <a:off x="511261" y="5675897"/>
            <a:ext cx="265176" cy="265176"/>
          </a:xfrm>
          <a:prstGeom prst="rect">
            <a:avLst/>
          </a:prstGeom>
          <a:noFill/>
          <a:ln>
            <a:noFill/>
          </a:ln>
        </p:spPr>
      </p:pic>
      <p:sp>
        <p:nvSpPr>
          <p:cNvPr id="431" name="Google Shape;431;p7"/>
          <p:cNvSpPr/>
          <p:nvPr/>
        </p:nvSpPr>
        <p:spPr>
          <a:xfrm>
            <a:off x="1364921" y="5251949"/>
            <a:ext cx="219456" cy="223548"/>
          </a:xfrm>
          <a:prstGeom prst="diamond">
            <a:avLst/>
          </a:prstGeom>
          <a:solidFill>
            <a:srgbClr val="7030A0"/>
          </a:solidFill>
          <a:ln w="9525" cap="flat" cmpd="sng">
            <a:solidFill>
              <a:schemeClr val="lt1"/>
            </a:solidFill>
            <a:prstDash val="solid"/>
            <a:round/>
            <a:headEnd type="none" w="sm" len="sm"/>
            <a:tailEnd type="none" w="sm" len="sm"/>
          </a:ln>
        </p:spPr>
        <p:txBody>
          <a:bodyPr spcFirstLastPara="1" wrap="square" lIns="121900" tIns="60925" rIns="121900" bIns="60925" anchor="ctr" anchorCtr="0">
            <a:noAutofit/>
          </a:bodyPr>
          <a:lstStyle/>
          <a:p>
            <a:pPr marL="0" marR="0" lvl="0" indent="0" algn="ctr" rtl="0">
              <a:lnSpc>
                <a:spcPct val="100000"/>
              </a:lnSpc>
              <a:spcBef>
                <a:spcPts val="0"/>
              </a:spcBef>
              <a:spcAft>
                <a:spcPts val="0"/>
              </a:spcAft>
              <a:buClr>
                <a:schemeClr val="dk1"/>
              </a:buClr>
              <a:buSzPts val="900"/>
              <a:buFont typeface="Calibri"/>
              <a:buNone/>
            </a:pPr>
            <a:endParaRPr sz="900" b="0" i="0" u="none" strike="noStrike" cap="none">
              <a:solidFill>
                <a:srgbClr val="202120"/>
              </a:solidFill>
              <a:latin typeface="PT Serif"/>
              <a:ea typeface="PT Serif"/>
              <a:cs typeface="PT Serif"/>
              <a:sym typeface="PT Serif"/>
            </a:endParaRPr>
          </a:p>
        </p:txBody>
      </p:sp>
      <p:sp>
        <p:nvSpPr>
          <p:cNvPr id="432" name="Google Shape;432;p7"/>
          <p:cNvSpPr txBox="1"/>
          <p:nvPr/>
        </p:nvSpPr>
        <p:spPr>
          <a:xfrm>
            <a:off x="4950311" y="5505117"/>
            <a:ext cx="529394" cy="138499"/>
          </a:xfrm>
          <a:prstGeom prst="rect">
            <a:avLst/>
          </a:prstGeom>
          <a:noFill/>
          <a:ln>
            <a:noFill/>
          </a:ln>
        </p:spPr>
        <p:txBody>
          <a:bodyPr spcFirstLastPara="1" wrap="square" lIns="0" tIns="0" rIns="0" bIns="0" anchor="t" anchorCtr="0">
            <a:spAutoFit/>
          </a:bodyPr>
          <a:lstStyle/>
          <a:p>
            <a:pPr marL="0" marR="0" lvl="0" indent="0" algn="ctr" rtl="0">
              <a:lnSpc>
                <a:spcPct val="100000"/>
              </a:lnSpc>
              <a:spcBef>
                <a:spcPts val="0"/>
              </a:spcBef>
              <a:spcAft>
                <a:spcPts val="0"/>
              </a:spcAft>
              <a:buClr>
                <a:schemeClr val="dk1"/>
              </a:buClr>
              <a:buSzPts val="900"/>
              <a:buFont typeface="PT Serif"/>
              <a:buNone/>
            </a:pPr>
            <a:endParaRPr sz="900" b="0" i="0" u="none" strike="noStrike" cap="none">
              <a:solidFill>
                <a:srgbClr val="202120"/>
              </a:solidFill>
              <a:latin typeface="PT Serif"/>
              <a:ea typeface="PT Serif"/>
              <a:cs typeface="PT Serif"/>
              <a:sym typeface="PT Serif"/>
            </a:endParaRPr>
          </a:p>
        </p:txBody>
      </p:sp>
      <p:sp>
        <p:nvSpPr>
          <p:cNvPr id="433" name="Google Shape;433;p7"/>
          <p:cNvSpPr txBox="1"/>
          <p:nvPr/>
        </p:nvSpPr>
        <p:spPr>
          <a:xfrm>
            <a:off x="4950311" y="5505117"/>
            <a:ext cx="529394" cy="138499"/>
          </a:xfrm>
          <a:prstGeom prst="rect">
            <a:avLst/>
          </a:prstGeom>
          <a:noFill/>
          <a:ln>
            <a:noFill/>
          </a:ln>
        </p:spPr>
        <p:txBody>
          <a:bodyPr spcFirstLastPara="1" wrap="square" lIns="0" tIns="0" rIns="0" bIns="0" anchor="t" anchorCtr="0">
            <a:spAutoFit/>
          </a:bodyPr>
          <a:lstStyle/>
          <a:p>
            <a:pPr marL="0" marR="0" lvl="0" indent="0" algn="ctr" rtl="0">
              <a:lnSpc>
                <a:spcPct val="100000"/>
              </a:lnSpc>
              <a:spcBef>
                <a:spcPts val="0"/>
              </a:spcBef>
              <a:spcAft>
                <a:spcPts val="0"/>
              </a:spcAft>
              <a:buClr>
                <a:schemeClr val="dk1"/>
              </a:buClr>
              <a:buSzPts val="900"/>
              <a:buFont typeface="PT Serif"/>
              <a:buNone/>
            </a:pPr>
            <a:endParaRPr sz="900" b="0" i="0" u="none" strike="noStrike" cap="none">
              <a:solidFill>
                <a:srgbClr val="202120"/>
              </a:solidFill>
              <a:latin typeface="PT Serif"/>
              <a:ea typeface="PT Serif"/>
              <a:cs typeface="PT Serif"/>
              <a:sym typeface="PT Serif"/>
            </a:endParaRPr>
          </a:p>
        </p:txBody>
      </p:sp>
      <p:sp>
        <p:nvSpPr>
          <p:cNvPr id="437" name="Google Shape;437;p7"/>
          <p:cNvSpPr/>
          <p:nvPr/>
        </p:nvSpPr>
        <p:spPr>
          <a:xfrm>
            <a:off x="6579451" y="5235200"/>
            <a:ext cx="219456" cy="223548"/>
          </a:xfrm>
          <a:prstGeom prst="diamond">
            <a:avLst/>
          </a:prstGeom>
          <a:solidFill>
            <a:schemeClr val="accent3"/>
          </a:solidFill>
          <a:ln w="9525" cap="flat" cmpd="sng">
            <a:solidFill>
              <a:schemeClr val="lt1"/>
            </a:solidFill>
            <a:prstDash val="solid"/>
            <a:round/>
            <a:headEnd type="none" w="sm" len="sm"/>
            <a:tailEnd type="none" w="sm" len="sm"/>
          </a:ln>
        </p:spPr>
        <p:txBody>
          <a:bodyPr spcFirstLastPara="1" wrap="square" lIns="121900" tIns="60925" rIns="121900" bIns="60925" anchor="ctr" anchorCtr="0">
            <a:noAutofit/>
          </a:bodyPr>
          <a:lstStyle/>
          <a:p>
            <a:pPr marL="0" marR="0" lvl="0" indent="0" algn="ctr" rtl="0">
              <a:lnSpc>
                <a:spcPct val="100000"/>
              </a:lnSpc>
              <a:spcBef>
                <a:spcPts val="0"/>
              </a:spcBef>
              <a:spcAft>
                <a:spcPts val="0"/>
              </a:spcAft>
              <a:buClr>
                <a:schemeClr val="dk1"/>
              </a:buClr>
              <a:buSzPts val="900"/>
              <a:buFont typeface="Calibri"/>
              <a:buNone/>
            </a:pPr>
            <a:endParaRPr sz="900" b="0" i="0" u="none" strike="noStrike" cap="none">
              <a:solidFill>
                <a:srgbClr val="202120"/>
              </a:solidFill>
              <a:latin typeface="PT Serif"/>
              <a:ea typeface="PT Serif"/>
              <a:cs typeface="PT Serif"/>
              <a:sym typeface="PT Serif"/>
            </a:endParaRPr>
          </a:p>
        </p:txBody>
      </p:sp>
      <p:sp>
        <p:nvSpPr>
          <p:cNvPr id="440" name="Google Shape;440;p7"/>
          <p:cNvSpPr txBox="1"/>
          <p:nvPr/>
        </p:nvSpPr>
        <p:spPr>
          <a:xfrm>
            <a:off x="5652828" y="5304953"/>
            <a:ext cx="833806" cy="138499"/>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0" i="0" u="none" strike="noStrike" cap="none">
                <a:solidFill>
                  <a:srgbClr val="202120"/>
                </a:solidFill>
                <a:latin typeface="Source Sans Pro SemiBold"/>
                <a:ea typeface="Source Sans Pro SemiBold"/>
                <a:cs typeface="Source Sans Pro SemiBold"/>
                <a:sym typeface="Source Sans Pro SemiBold"/>
              </a:rPr>
              <a:t>Midpoint Review </a:t>
            </a:r>
            <a:endParaRPr sz="900" b="0" i="0" u="none" strike="noStrike" cap="none">
              <a:solidFill>
                <a:srgbClr val="202120"/>
              </a:solidFill>
              <a:latin typeface="Source Sans Pro SemiBold"/>
              <a:ea typeface="Source Sans Pro SemiBold"/>
              <a:cs typeface="Source Sans Pro SemiBold"/>
              <a:sym typeface="Source Sans Pro SemiBold"/>
            </a:endParaRPr>
          </a:p>
        </p:txBody>
      </p:sp>
      <p:sp>
        <p:nvSpPr>
          <p:cNvPr id="442" name="Google Shape;442;p7"/>
          <p:cNvSpPr txBox="1"/>
          <p:nvPr/>
        </p:nvSpPr>
        <p:spPr>
          <a:xfrm>
            <a:off x="7565588" y="5505116"/>
            <a:ext cx="871131" cy="276999"/>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0" i="0" u="none" strike="noStrike" cap="none">
                <a:solidFill>
                  <a:srgbClr val="202120"/>
                </a:solidFill>
                <a:latin typeface="Source Sans Pro SemiBold"/>
                <a:ea typeface="Source Sans Pro SemiBold"/>
                <a:cs typeface="Source Sans Pro SemiBold"/>
                <a:sym typeface="Source Sans Pro SemiBold"/>
              </a:rPr>
              <a:t>Research Plan Review</a:t>
            </a:r>
            <a:endParaRPr sz="900" b="0" i="0" u="none" strike="noStrike" cap="none">
              <a:solidFill>
                <a:srgbClr val="202120"/>
              </a:solidFill>
              <a:latin typeface="Source Sans Pro SemiBold"/>
              <a:ea typeface="Source Sans Pro SemiBold"/>
              <a:cs typeface="Source Sans Pro SemiBold"/>
              <a:sym typeface="Source Sans Pro SemiBold"/>
            </a:endParaRPr>
          </a:p>
        </p:txBody>
      </p:sp>
      <p:sp>
        <p:nvSpPr>
          <p:cNvPr id="443" name="Google Shape;443;p7"/>
          <p:cNvSpPr/>
          <p:nvPr/>
        </p:nvSpPr>
        <p:spPr>
          <a:xfrm>
            <a:off x="7573870" y="5232929"/>
            <a:ext cx="219456" cy="223548"/>
          </a:xfrm>
          <a:prstGeom prst="diamond">
            <a:avLst/>
          </a:prstGeom>
          <a:solidFill>
            <a:schemeClr val="accent3"/>
          </a:solidFill>
          <a:ln w="9525" cap="flat" cmpd="sng">
            <a:solidFill>
              <a:schemeClr val="lt1"/>
            </a:solidFill>
            <a:prstDash val="solid"/>
            <a:round/>
            <a:headEnd type="none" w="sm" len="sm"/>
            <a:tailEnd type="none" w="sm" len="sm"/>
          </a:ln>
        </p:spPr>
        <p:txBody>
          <a:bodyPr spcFirstLastPara="1" wrap="square" lIns="121900" tIns="60925" rIns="121900" bIns="60925" anchor="ctr" anchorCtr="0">
            <a:noAutofit/>
          </a:bodyPr>
          <a:lstStyle/>
          <a:p>
            <a:pPr marL="0" marR="0" lvl="0" indent="0" algn="ctr" rtl="0">
              <a:lnSpc>
                <a:spcPct val="100000"/>
              </a:lnSpc>
              <a:spcBef>
                <a:spcPts val="0"/>
              </a:spcBef>
              <a:spcAft>
                <a:spcPts val="0"/>
              </a:spcAft>
              <a:buClr>
                <a:schemeClr val="dk1"/>
              </a:buClr>
              <a:buSzPts val="900"/>
              <a:buFont typeface="Calibri"/>
              <a:buNone/>
            </a:pPr>
            <a:endParaRPr sz="900" b="0" i="0" u="none" strike="noStrike" cap="none">
              <a:solidFill>
                <a:srgbClr val="202120"/>
              </a:solidFill>
              <a:latin typeface="PT Serif"/>
              <a:ea typeface="PT Serif"/>
              <a:cs typeface="PT Serif"/>
              <a:sym typeface="PT Serif"/>
            </a:endParaRPr>
          </a:p>
        </p:txBody>
      </p:sp>
      <p:sp>
        <p:nvSpPr>
          <p:cNvPr id="453" name="Google Shape;453;p7"/>
          <p:cNvSpPr txBox="1"/>
          <p:nvPr/>
        </p:nvSpPr>
        <p:spPr>
          <a:xfrm>
            <a:off x="384759" y="6326591"/>
            <a:ext cx="6360593" cy="283154"/>
          </a:xfrm>
          <a:prstGeom prst="rect">
            <a:avLst/>
          </a:prstGeom>
          <a:noFill/>
          <a:ln>
            <a:noFill/>
          </a:ln>
        </p:spPr>
        <p:txBody>
          <a:bodyPr spcFirstLastPara="1" wrap="square" lIns="0" tIns="0" rIns="0" bIns="0" anchor="t" anchorCtr="0">
            <a:spAutoFit/>
          </a:bodyPr>
          <a:lstStyle/>
          <a:p>
            <a:pPr>
              <a:lnSpc>
                <a:spcPct val="115000"/>
              </a:lnSpc>
              <a:buClr>
                <a:srgbClr val="434343"/>
              </a:buClr>
              <a:buSzPts val="1800"/>
            </a:pPr>
            <a:r>
              <a:rPr lang="en-US" sz="800" b="0" i="0" u="none" strike="noStrike" cap="none">
                <a:solidFill>
                  <a:srgbClr val="434343"/>
                </a:solidFill>
                <a:latin typeface="PT Serif"/>
                <a:ea typeface="PT Serif"/>
                <a:cs typeface="PT Serif"/>
                <a:sym typeface="PT Serif"/>
              </a:rPr>
              <a:t>*Does not show post-MVP Validate phase meetings in Collaboration Cycle, such as Full Accessibility Audit and Post-Launch Check In</a:t>
            </a:r>
            <a:r>
              <a:rPr lang="en-US" sz="800">
                <a:solidFill>
                  <a:srgbClr val="434343"/>
                </a:solidFill>
                <a:latin typeface="PT Serif"/>
                <a:ea typeface="PT Serif"/>
                <a:cs typeface="PT Serif"/>
                <a:sym typeface="PT Serif"/>
              </a:rPr>
              <a:t>; Contact Center Review adjusted to 3 weeks before launch as approved by Jason Woodman</a:t>
            </a:r>
            <a:endParaRPr lang="en-US" sz="800" b="0" i="0" u="none" strike="noStrike" cap="none">
              <a:solidFill>
                <a:srgbClr val="434343"/>
              </a:solidFill>
              <a:latin typeface="PT Serif"/>
            </a:endParaRPr>
          </a:p>
        </p:txBody>
      </p:sp>
      <p:grpSp>
        <p:nvGrpSpPr>
          <p:cNvPr id="118" name="Google Shape;717;p22">
            <a:extLst>
              <a:ext uri="{FF2B5EF4-FFF2-40B4-BE49-F238E27FC236}">
                <a16:creationId xmlns:a16="http://schemas.microsoft.com/office/drawing/2014/main" id="{275CF833-F3B3-45B1-9DDC-1A138C1A7119}"/>
              </a:ext>
            </a:extLst>
          </p:cNvPr>
          <p:cNvGrpSpPr/>
          <p:nvPr/>
        </p:nvGrpSpPr>
        <p:grpSpPr>
          <a:xfrm>
            <a:off x="9071817" y="670129"/>
            <a:ext cx="2767082" cy="407682"/>
            <a:chOff x="8441380" y="993571"/>
            <a:chExt cx="2767082" cy="407682"/>
          </a:xfrm>
        </p:grpSpPr>
        <p:sp>
          <p:nvSpPr>
            <p:cNvPr id="122" name="Google Shape;718;p22">
              <a:extLst>
                <a:ext uri="{FF2B5EF4-FFF2-40B4-BE49-F238E27FC236}">
                  <a16:creationId xmlns:a16="http://schemas.microsoft.com/office/drawing/2014/main" id="{09CCFE8E-CA5C-4EA3-ADD4-17C6D9C20CBE}"/>
                </a:ext>
              </a:extLst>
            </p:cNvPr>
            <p:cNvSpPr/>
            <p:nvPr/>
          </p:nvSpPr>
          <p:spPr>
            <a:xfrm>
              <a:off x="10586177" y="999280"/>
              <a:ext cx="195608" cy="194198"/>
            </a:xfrm>
            <a:prstGeom prst="diamond">
              <a:avLst/>
            </a:prstGeom>
            <a:solidFill>
              <a:schemeClr val="accent4"/>
            </a:solidFill>
            <a:ln w="9525" cap="flat" cmpd="sng">
              <a:solidFill>
                <a:schemeClr val="lt1"/>
              </a:solidFill>
              <a:prstDash val="solid"/>
              <a:round/>
              <a:headEnd type="none" w="sm" len="sm"/>
              <a:tailEnd type="none" w="sm" len="sm"/>
            </a:ln>
          </p:spPr>
          <p:txBody>
            <a:bodyPr spcFirstLastPara="1" wrap="square" lIns="121900" tIns="60925" rIns="121900" bIns="60925" anchor="ctr" anchorCtr="0">
              <a:noAutofit/>
            </a:bodyPr>
            <a:lstStyle/>
            <a:p>
              <a:pPr marL="0" marR="0" lvl="0" indent="0" algn="ctr" rtl="0">
                <a:lnSpc>
                  <a:spcPct val="100000"/>
                </a:lnSpc>
                <a:spcBef>
                  <a:spcPts val="0"/>
                </a:spcBef>
                <a:spcAft>
                  <a:spcPts val="0"/>
                </a:spcAft>
                <a:buClr>
                  <a:schemeClr val="dk1"/>
                </a:buClr>
                <a:buSzPts val="700"/>
                <a:buFont typeface="Calibri"/>
                <a:buNone/>
              </a:pPr>
              <a:endParaRPr sz="700" b="0" i="0" u="none" strike="noStrike" cap="none">
                <a:solidFill>
                  <a:schemeClr val="dk2"/>
                </a:solidFill>
                <a:latin typeface="PT Serif"/>
                <a:ea typeface="PT Serif"/>
                <a:cs typeface="PT Serif"/>
                <a:sym typeface="PT Serif"/>
              </a:endParaRPr>
            </a:p>
          </p:txBody>
        </p:sp>
        <p:sp>
          <p:nvSpPr>
            <p:cNvPr id="123" name="Google Shape;719;p22">
              <a:extLst>
                <a:ext uri="{FF2B5EF4-FFF2-40B4-BE49-F238E27FC236}">
                  <a16:creationId xmlns:a16="http://schemas.microsoft.com/office/drawing/2014/main" id="{395357FF-C494-4F5A-BC17-43D9D2B48AF7}"/>
                </a:ext>
              </a:extLst>
            </p:cNvPr>
            <p:cNvSpPr/>
            <p:nvPr/>
          </p:nvSpPr>
          <p:spPr>
            <a:xfrm>
              <a:off x="9448156" y="993571"/>
              <a:ext cx="195608" cy="194198"/>
            </a:xfrm>
            <a:prstGeom prst="diamond">
              <a:avLst/>
            </a:prstGeom>
            <a:solidFill>
              <a:srgbClr val="01213C"/>
            </a:solidFill>
            <a:ln w="9525" cap="flat" cmpd="sng">
              <a:solidFill>
                <a:schemeClr val="lt1"/>
              </a:solidFill>
              <a:prstDash val="solid"/>
              <a:round/>
              <a:headEnd type="none" w="sm" len="sm"/>
              <a:tailEnd type="none" w="sm" len="sm"/>
            </a:ln>
          </p:spPr>
          <p:txBody>
            <a:bodyPr spcFirstLastPara="1" wrap="square" lIns="121900" tIns="60925" rIns="121900" bIns="60925" anchor="ctr" anchorCtr="0">
              <a:noAutofit/>
            </a:bodyPr>
            <a:lstStyle/>
            <a:p>
              <a:pPr marL="0" marR="0" lvl="0" indent="0" algn="ctr" rtl="0">
                <a:lnSpc>
                  <a:spcPct val="100000"/>
                </a:lnSpc>
                <a:spcBef>
                  <a:spcPts val="0"/>
                </a:spcBef>
                <a:spcAft>
                  <a:spcPts val="0"/>
                </a:spcAft>
                <a:buClr>
                  <a:schemeClr val="dk1"/>
                </a:buClr>
                <a:buSzPts val="700"/>
                <a:buFont typeface="Calibri"/>
                <a:buNone/>
              </a:pPr>
              <a:endParaRPr sz="700" b="0" i="0" u="none" strike="noStrike" cap="none">
                <a:solidFill>
                  <a:schemeClr val="dk2"/>
                </a:solidFill>
                <a:latin typeface="PT Serif"/>
                <a:ea typeface="PT Serif"/>
                <a:cs typeface="PT Serif"/>
                <a:sym typeface="PT Serif"/>
              </a:endParaRPr>
            </a:p>
          </p:txBody>
        </p:sp>
        <p:sp>
          <p:nvSpPr>
            <p:cNvPr id="124" name="Google Shape;720;p22">
              <a:extLst>
                <a:ext uri="{FF2B5EF4-FFF2-40B4-BE49-F238E27FC236}">
                  <a16:creationId xmlns:a16="http://schemas.microsoft.com/office/drawing/2014/main" id="{3927D24C-3D9A-49E6-98C6-9726B7661B81}"/>
                </a:ext>
              </a:extLst>
            </p:cNvPr>
            <p:cNvSpPr/>
            <p:nvPr/>
          </p:nvSpPr>
          <p:spPr>
            <a:xfrm>
              <a:off x="8441380" y="1023519"/>
              <a:ext cx="195608" cy="194198"/>
            </a:xfrm>
            <a:prstGeom prst="diamond">
              <a:avLst/>
            </a:prstGeom>
            <a:solidFill>
              <a:schemeClr val="accent3"/>
            </a:solidFill>
            <a:ln w="9525" cap="flat" cmpd="sng">
              <a:solidFill>
                <a:schemeClr val="lt1"/>
              </a:solidFill>
              <a:prstDash val="solid"/>
              <a:round/>
              <a:headEnd type="none" w="sm" len="sm"/>
              <a:tailEnd type="none" w="sm" len="sm"/>
            </a:ln>
          </p:spPr>
          <p:txBody>
            <a:bodyPr spcFirstLastPara="1" wrap="square" lIns="121900" tIns="60925" rIns="121900" bIns="60925" anchor="ctr" anchorCtr="0">
              <a:noAutofit/>
            </a:bodyPr>
            <a:lstStyle/>
            <a:p>
              <a:pPr marL="0" marR="0" lvl="0" indent="0" algn="ctr" rtl="0">
                <a:lnSpc>
                  <a:spcPct val="100000"/>
                </a:lnSpc>
                <a:spcBef>
                  <a:spcPts val="0"/>
                </a:spcBef>
                <a:spcAft>
                  <a:spcPts val="0"/>
                </a:spcAft>
                <a:buClr>
                  <a:schemeClr val="dk1"/>
                </a:buClr>
                <a:buSzPts val="700"/>
                <a:buFont typeface="Calibri"/>
                <a:buNone/>
              </a:pPr>
              <a:endParaRPr sz="700" b="0" i="0" u="none" strike="noStrike" cap="none">
                <a:solidFill>
                  <a:schemeClr val="dk2"/>
                </a:solidFill>
                <a:latin typeface="PT Serif"/>
                <a:ea typeface="PT Serif"/>
                <a:cs typeface="PT Serif"/>
                <a:sym typeface="PT Serif"/>
              </a:endParaRPr>
            </a:p>
          </p:txBody>
        </p:sp>
        <p:sp>
          <p:nvSpPr>
            <p:cNvPr id="125" name="Google Shape;721;p22">
              <a:extLst>
                <a:ext uri="{FF2B5EF4-FFF2-40B4-BE49-F238E27FC236}">
                  <a16:creationId xmlns:a16="http://schemas.microsoft.com/office/drawing/2014/main" id="{3E514B59-F9C8-4C76-973B-1F2C3AB2226B}"/>
                </a:ext>
              </a:extLst>
            </p:cNvPr>
            <p:cNvSpPr txBox="1"/>
            <p:nvPr/>
          </p:nvSpPr>
          <p:spPr>
            <a:xfrm>
              <a:off x="8689540" y="1031145"/>
              <a:ext cx="572133" cy="246221"/>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chemeClr val="dk2"/>
                </a:buClr>
                <a:buSzPts val="700"/>
                <a:buFont typeface="PT Serif"/>
                <a:buNone/>
              </a:pPr>
              <a:r>
                <a:rPr lang="en-US" sz="800" b="0" i="0" u="none" strike="noStrike" cap="none">
                  <a:solidFill>
                    <a:schemeClr val="dk2"/>
                  </a:solidFill>
                  <a:latin typeface="Source Sans Pro"/>
                  <a:ea typeface="Source Sans Pro"/>
                  <a:cs typeface="Source Sans Pro"/>
                  <a:sym typeface="Source Sans Pro"/>
                </a:rPr>
                <a:t>Owned by design team</a:t>
              </a:r>
              <a:endParaRPr sz="800" b="0" i="0" u="none" strike="noStrike" cap="none">
                <a:solidFill>
                  <a:schemeClr val="dk2"/>
                </a:solidFill>
                <a:latin typeface="Source Sans Pro"/>
                <a:ea typeface="Source Sans Pro"/>
                <a:cs typeface="Source Sans Pro"/>
                <a:sym typeface="Source Sans Pro"/>
              </a:endParaRPr>
            </a:p>
          </p:txBody>
        </p:sp>
        <p:sp>
          <p:nvSpPr>
            <p:cNvPr id="126" name="Google Shape;722;p22">
              <a:extLst>
                <a:ext uri="{FF2B5EF4-FFF2-40B4-BE49-F238E27FC236}">
                  <a16:creationId xmlns:a16="http://schemas.microsoft.com/office/drawing/2014/main" id="{0F88BD2B-0FA8-43BF-8E8B-04E1C76E136B}"/>
                </a:ext>
              </a:extLst>
            </p:cNvPr>
            <p:cNvSpPr txBox="1"/>
            <p:nvPr/>
          </p:nvSpPr>
          <p:spPr>
            <a:xfrm>
              <a:off x="10828819" y="1038271"/>
              <a:ext cx="379643" cy="123111"/>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chemeClr val="dk2"/>
                </a:buClr>
                <a:buSzPts val="700"/>
                <a:buFont typeface="PT Serif"/>
                <a:buNone/>
              </a:pPr>
              <a:r>
                <a:rPr lang="en-US" sz="800" b="0" i="0" u="none" strike="noStrike" cap="none">
                  <a:solidFill>
                    <a:schemeClr val="dk2"/>
                  </a:solidFill>
                  <a:latin typeface="Source Sans Pro"/>
                  <a:ea typeface="Source Sans Pro"/>
                  <a:cs typeface="Source Sans Pro"/>
                  <a:sym typeface="Source Sans Pro"/>
                </a:rPr>
                <a:t>Release</a:t>
              </a:r>
              <a:endParaRPr sz="800" b="0" i="0" u="none" strike="noStrike" cap="none">
                <a:solidFill>
                  <a:schemeClr val="dk2"/>
                </a:solidFill>
                <a:latin typeface="Source Sans Pro"/>
                <a:ea typeface="Source Sans Pro"/>
                <a:cs typeface="Source Sans Pro"/>
                <a:sym typeface="Source Sans Pro"/>
              </a:endParaRPr>
            </a:p>
          </p:txBody>
        </p:sp>
        <p:sp>
          <p:nvSpPr>
            <p:cNvPr id="127" name="Google Shape;723;p22">
              <a:extLst>
                <a:ext uri="{FF2B5EF4-FFF2-40B4-BE49-F238E27FC236}">
                  <a16:creationId xmlns:a16="http://schemas.microsoft.com/office/drawing/2014/main" id="{67FB492E-3E2B-42BF-A310-0CE6E5448A0B}"/>
                </a:ext>
              </a:extLst>
            </p:cNvPr>
            <p:cNvSpPr txBox="1"/>
            <p:nvPr/>
          </p:nvSpPr>
          <p:spPr>
            <a:xfrm>
              <a:off x="9711145" y="1031921"/>
              <a:ext cx="811443" cy="369332"/>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chemeClr val="dk2"/>
                </a:buClr>
                <a:buSzPts val="700"/>
                <a:buFont typeface="PT Serif"/>
                <a:buNone/>
              </a:pPr>
              <a:r>
                <a:rPr lang="en-US" sz="800" b="0" i="0" u="none" strike="noStrike" cap="none">
                  <a:solidFill>
                    <a:schemeClr val="dk2"/>
                  </a:solidFill>
                  <a:latin typeface="Source Sans Pro"/>
                  <a:ea typeface="Source Sans Pro"/>
                  <a:cs typeface="Source Sans Pro"/>
                  <a:sym typeface="Source Sans Pro"/>
                </a:rPr>
                <a:t>Owned by product/ engineering team</a:t>
              </a:r>
              <a:endParaRPr sz="800" b="0" i="0" u="none" strike="noStrike" cap="none">
                <a:solidFill>
                  <a:schemeClr val="dk2"/>
                </a:solidFill>
                <a:latin typeface="Source Sans Pro"/>
                <a:ea typeface="Source Sans Pro"/>
                <a:cs typeface="Source Sans Pro"/>
                <a:sym typeface="Source Sans Pro"/>
              </a:endParaRPr>
            </a:p>
          </p:txBody>
        </p:sp>
      </p:grpSp>
      <p:sp>
        <p:nvSpPr>
          <p:cNvPr id="117" name="Google Shape;362;p7">
            <a:extLst>
              <a:ext uri="{FF2B5EF4-FFF2-40B4-BE49-F238E27FC236}">
                <a16:creationId xmlns:a16="http://schemas.microsoft.com/office/drawing/2014/main" id="{E2FD5C6C-CA12-4E89-9D17-227059EEB7D4}"/>
              </a:ext>
            </a:extLst>
          </p:cNvPr>
          <p:cNvSpPr txBox="1"/>
          <p:nvPr/>
        </p:nvSpPr>
        <p:spPr>
          <a:xfrm>
            <a:off x="8638464" y="1820991"/>
            <a:ext cx="656498" cy="276999"/>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1" i="0" u="none" strike="noStrike" cap="none">
                <a:solidFill>
                  <a:srgbClr val="202120"/>
                </a:solidFill>
                <a:latin typeface="Source Sans Pro Semibold"/>
                <a:ea typeface="Source Sans Pro Semibold"/>
                <a:cs typeface="Source Sans Pro Semibold"/>
                <a:sym typeface="Source Sans Pro SemiBold"/>
              </a:rPr>
              <a:t>Week 8: </a:t>
            </a:r>
          </a:p>
          <a:p>
            <a:pPr marL="0" marR="0" lvl="0" indent="0" algn="l" rtl="0">
              <a:lnSpc>
                <a:spcPct val="100000"/>
              </a:lnSpc>
              <a:spcBef>
                <a:spcPts val="0"/>
              </a:spcBef>
              <a:spcAft>
                <a:spcPts val="0"/>
              </a:spcAft>
              <a:buClr>
                <a:srgbClr val="202120"/>
              </a:buClr>
              <a:buSzPts val="900"/>
              <a:buFont typeface="PT Serif"/>
              <a:buNone/>
            </a:pPr>
            <a:r>
              <a:rPr lang="en-US" sz="900" b="1">
                <a:solidFill>
                  <a:srgbClr val="202120"/>
                </a:solidFill>
                <a:latin typeface="Source Sans Pro Semibold"/>
                <a:ea typeface="Source Sans Pro Semibold"/>
                <a:cs typeface="Source Sans Pro Semibold"/>
                <a:sym typeface="Source Sans Pro SemiBold"/>
              </a:rPr>
              <a:t>06/08</a:t>
            </a:r>
            <a:r>
              <a:rPr lang="en-US" sz="900" b="1" i="0" u="none" strike="noStrike" cap="none">
                <a:solidFill>
                  <a:srgbClr val="202120"/>
                </a:solidFill>
                <a:latin typeface="Source Sans Pro Semibold"/>
                <a:ea typeface="Source Sans Pro Semibold"/>
                <a:cs typeface="Source Sans Pro Semibold"/>
                <a:sym typeface="Source Sans Pro SemiBold"/>
              </a:rPr>
              <a:t> – 06/14</a:t>
            </a:r>
            <a:endParaRPr sz="900" b="1" i="0" u="none" strike="noStrike" cap="none">
              <a:solidFill>
                <a:srgbClr val="202120"/>
              </a:solidFill>
              <a:latin typeface="Source Sans Pro Semibold"/>
              <a:ea typeface="Source Sans Pro Semibold"/>
              <a:cs typeface="Source Sans Pro Semibold"/>
              <a:sym typeface="Source Sans Pro SemiBold"/>
            </a:endParaRPr>
          </a:p>
        </p:txBody>
      </p:sp>
      <p:cxnSp>
        <p:nvCxnSpPr>
          <p:cNvPr id="119" name="Google Shape;395;p7">
            <a:extLst>
              <a:ext uri="{FF2B5EF4-FFF2-40B4-BE49-F238E27FC236}">
                <a16:creationId xmlns:a16="http://schemas.microsoft.com/office/drawing/2014/main" id="{BE5967B3-C8EE-4DCD-9A67-1ED6C8099880}"/>
              </a:ext>
            </a:extLst>
          </p:cNvPr>
          <p:cNvCxnSpPr/>
          <p:nvPr/>
        </p:nvCxnSpPr>
        <p:spPr>
          <a:xfrm>
            <a:off x="8558813" y="1742197"/>
            <a:ext cx="0" cy="4345725"/>
          </a:xfrm>
          <a:prstGeom prst="straightConnector1">
            <a:avLst/>
          </a:prstGeom>
          <a:noFill/>
          <a:ln w="9525" cap="flat" cmpd="sng">
            <a:solidFill>
              <a:srgbClr val="C7C7C7"/>
            </a:solidFill>
            <a:prstDash val="dot"/>
            <a:round/>
            <a:headEnd type="none" w="sm" len="sm"/>
            <a:tailEnd type="none" w="sm" len="sm"/>
          </a:ln>
        </p:spPr>
      </p:cxnSp>
      <p:cxnSp>
        <p:nvCxnSpPr>
          <p:cNvPr id="120" name="Google Shape;422;p7">
            <a:extLst>
              <a:ext uri="{FF2B5EF4-FFF2-40B4-BE49-F238E27FC236}">
                <a16:creationId xmlns:a16="http://schemas.microsoft.com/office/drawing/2014/main" id="{55FA9FF7-4455-4B47-9023-FF6BDA918F8C}"/>
              </a:ext>
            </a:extLst>
          </p:cNvPr>
          <p:cNvCxnSpPr/>
          <p:nvPr/>
        </p:nvCxnSpPr>
        <p:spPr>
          <a:xfrm>
            <a:off x="7578842" y="1761770"/>
            <a:ext cx="1925293" cy="0"/>
          </a:xfrm>
          <a:prstGeom prst="straightConnector1">
            <a:avLst/>
          </a:prstGeom>
          <a:noFill/>
          <a:ln w="12700" cap="flat" cmpd="sng">
            <a:solidFill>
              <a:schemeClr val="dk1"/>
            </a:solidFill>
            <a:prstDash val="solid"/>
            <a:round/>
            <a:headEnd type="none" w="sm" len="sm"/>
            <a:tailEnd type="none" w="sm" len="sm"/>
          </a:ln>
        </p:spPr>
      </p:cxnSp>
      <p:cxnSp>
        <p:nvCxnSpPr>
          <p:cNvPr id="121" name="Google Shape;396;p7">
            <a:extLst>
              <a:ext uri="{FF2B5EF4-FFF2-40B4-BE49-F238E27FC236}">
                <a16:creationId xmlns:a16="http://schemas.microsoft.com/office/drawing/2014/main" id="{97E780CD-675F-4964-B3D4-48E0D2AE9F84}"/>
              </a:ext>
            </a:extLst>
          </p:cNvPr>
          <p:cNvCxnSpPr/>
          <p:nvPr/>
        </p:nvCxnSpPr>
        <p:spPr>
          <a:xfrm>
            <a:off x="11488426" y="1781373"/>
            <a:ext cx="0" cy="4345725"/>
          </a:xfrm>
          <a:prstGeom prst="straightConnector1">
            <a:avLst/>
          </a:prstGeom>
          <a:noFill/>
          <a:ln w="9525" cap="flat" cmpd="sng">
            <a:solidFill>
              <a:srgbClr val="7F7F7F"/>
            </a:solidFill>
            <a:prstDash val="solid"/>
            <a:round/>
            <a:headEnd type="none" w="sm" len="sm"/>
            <a:tailEnd type="none" w="sm" len="sm"/>
          </a:ln>
        </p:spPr>
      </p:cxnSp>
      <p:sp>
        <p:nvSpPr>
          <p:cNvPr id="128" name="Google Shape;369;p7">
            <a:extLst>
              <a:ext uri="{FF2B5EF4-FFF2-40B4-BE49-F238E27FC236}">
                <a16:creationId xmlns:a16="http://schemas.microsoft.com/office/drawing/2014/main" id="{C61FD168-ED42-4403-BA38-E257254F57EF}"/>
              </a:ext>
            </a:extLst>
          </p:cNvPr>
          <p:cNvSpPr txBox="1"/>
          <p:nvPr/>
        </p:nvSpPr>
        <p:spPr>
          <a:xfrm>
            <a:off x="9613506" y="1804119"/>
            <a:ext cx="660841" cy="276999"/>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1" i="0" u="none" strike="noStrike" cap="none">
                <a:solidFill>
                  <a:srgbClr val="202120"/>
                </a:solidFill>
                <a:latin typeface="Source Sans Pro Semibold"/>
                <a:ea typeface="Source Sans Pro Semibold"/>
                <a:cs typeface="Source Sans Pro Semibold"/>
                <a:sym typeface="Source Sans Pro SemiBold"/>
              </a:rPr>
              <a:t>Week </a:t>
            </a:r>
            <a:r>
              <a:rPr lang="en-US" sz="900" b="1">
                <a:solidFill>
                  <a:srgbClr val="202120"/>
                </a:solidFill>
                <a:latin typeface="Source Sans Pro Semibold"/>
                <a:ea typeface="Source Sans Pro Semibold"/>
                <a:cs typeface="Source Sans Pro Semibold"/>
                <a:sym typeface="Source Sans Pro SemiBold"/>
              </a:rPr>
              <a:t>9</a:t>
            </a:r>
            <a:r>
              <a:rPr lang="en-US" sz="900" b="1" i="0" u="none" strike="noStrike" cap="none">
                <a:solidFill>
                  <a:srgbClr val="202120"/>
                </a:solidFill>
                <a:latin typeface="Source Sans Pro Semibold"/>
                <a:ea typeface="Source Sans Pro Semibold"/>
                <a:cs typeface="Source Sans Pro Semibold"/>
                <a:sym typeface="Source Sans Pro SemiBold"/>
              </a:rPr>
              <a:t>: 06/15-06/21</a:t>
            </a:r>
            <a:endParaRPr sz="900" b="1" i="0" u="none" strike="noStrike" cap="none">
              <a:solidFill>
                <a:srgbClr val="202120"/>
              </a:solidFill>
              <a:latin typeface="Source Sans Pro Semibold"/>
              <a:ea typeface="Source Sans Pro Semibold"/>
              <a:cs typeface="Source Sans Pro Semibold"/>
              <a:sym typeface="Source Sans Pro SemiBold"/>
            </a:endParaRPr>
          </a:p>
        </p:txBody>
      </p:sp>
      <p:sp>
        <p:nvSpPr>
          <p:cNvPr id="129" name="Google Shape;370;p7">
            <a:extLst>
              <a:ext uri="{FF2B5EF4-FFF2-40B4-BE49-F238E27FC236}">
                <a16:creationId xmlns:a16="http://schemas.microsoft.com/office/drawing/2014/main" id="{679DDD97-7B33-4561-9F37-C9E486FFDBAF}"/>
              </a:ext>
            </a:extLst>
          </p:cNvPr>
          <p:cNvSpPr txBox="1"/>
          <p:nvPr/>
        </p:nvSpPr>
        <p:spPr>
          <a:xfrm>
            <a:off x="9539554" y="1552197"/>
            <a:ext cx="845348" cy="138499"/>
          </a:xfrm>
          <a:prstGeom prst="rect">
            <a:avLst/>
          </a:prstGeom>
          <a:noFill/>
          <a:ln>
            <a:noFill/>
          </a:ln>
        </p:spPr>
        <p:txBody>
          <a:bodyPr spcFirstLastPara="1" wrap="square" lIns="0" tIns="0" rIns="0" bIns="0" anchor="b"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1" i="0" u="none" strike="noStrike" cap="none">
                <a:solidFill>
                  <a:srgbClr val="202120"/>
                </a:solidFill>
                <a:latin typeface="Source Sans Pro Semibold"/>
                <a:ea typeface="Source Sans Pro Semibold"/>
                <a:cs typeface="Source Sans Pro Semibold"/>
                <a:sym typeface="Source Sans Pro SemiBold"/>
              </a:rPr>
              <a:t>SPRINT </a:t>
            </a:r>
            <a:r>
              <a:rPr lang="en-US" sz="900" b="1">
                <a:solidFill>
                  <a:srgbClr val="202120"/>
                </a:solidFill>
                <a:latin typeface="Source Sans Pro Semibold"/>
                <a:ea typeface="Source Sans Pro Semibold"/>
                <a:cs typeface="Source Sans Pro Semibold"/>
                <a:sym typeface="Source Sans Pro SemiBold"/>
              </a:rPr>
              <a:t>5</a:t>
            </a:r>
            <a:endParaRPr/>
          </a:p>
        </p:txBody>
      </p:sp>
      <p:cxnSp>
        <p:nvCxnSpPr>
          <p:cNvPr id="131" name="Google Shape;396;p7">
            <a:extLst>
              <a:ext uri="{FF2B5EF4-FFF2-40B4-BE49-F238E27FC236}">
                <a16:creationId xmlns:a16="http://schemas.microsoft.com/office/drawing/2014/main" id="{CA95AD8E-ED34-4D5B-96B5-8760CBB199C6}"/>
              </a:ext>
            </a:extLst>
          </p:cNvPr>
          <p:cNvCxnSpPr/>
          <p:nvPr/>
        </p:nvCxnSpPr>
        <p:spPr>
          <a:xfrm>
            <a:off x="11488175" y="1755109"/>
            <a:ext cx="0" cy="4345725"/>
          </a:xfrm>
          <a:prstGeom prst="straightConnector1">
            <a:avLst/>
          </a:prstGeom>
          <a:noFill/>
          <a:ln w="9525" cap="flat" cmpd="sng">
            <a:solidFill>
              <a:srgbClr val="7F7F7F"/>
            </a:solidFill>
            <a:prstDash val="solid"/>
            <a:round/>
            <a:headEnd type="none" w="sm" len="sm"/>
            <a:tailEnd type="none" w="sm" len="sm"/>
          </a:ln>
        </p:spPr>
      </p:cxnSp>
      <p:cxnSp>
        <p:nvCxnSpPr>
          <p:cNvPr id="135" name="Google Shape;423;p7">
            <a:extLst>
              <a:ext uri="{FF2B5EF4-FFF2-40B4-BE49-F238E27FC236}">
                <a16:creationId xmlns:a16="http://schemas.microsoft.com/office/drawing/2014/main" id="{07D150B9-41C8-4CFF-ACA8-4BE69CAF1760}"/>
              </a:ext>
            </a:extLst>
          </p:cNvPr>
          <p:cNvCxnSpPr>
            <a:cxnSpLocks/>
          </p:cNvCxnSpPr>
          <p:nvPr/>
        </p:nvCxnSpPr>
        <p:spPr>
          <a:xfrm flipV="1">
            <a:off x="9539554" y="1748592"/>
            <a:ext cx="1935415" cy="970"/>
          </a:xfrm>
          <a:prstGeom prst="straightConnector1">
            <a:avLst/>
          </a:prstGeom>
          <a:noFill/>
          <a:ln w="12700" cap="flat" cmpd="sng">
            <a:solidFill>
              <a:schemeClr val="dk1"/>
            </a:solidFill>
            <a:prstDash val="solid"/>
            <a:round/>
            <a:headEnd type="none" w="sm" len="sm"/>
            <a:tailEnd type="none" w="sm" len="sm"/>
          </a:ln>
        </p:spPr>
      </p:cxnSp>
      <p:sp>
        <p:nvSpPr>
          <p:cNvPr id="137" name="Google Shape;362;p7">
            <a:extLst>
              <a:ext uri="{FF2B5EF4-FFF2-40B4-BE49-F238E27FC236}">
                <a16:creationId xmlns:a16="http://schemas.microsoft.com/office/drawing/2014/main" id="{1301D16D-0233-425B-8533-705B8AA7A3FB}"/>
              </a:ext>
            </a:extLst>
          </p:cNvPr>
          <p:cNvSpPr txBox="1"/>
          <p:nvPr/>
        </p:nvSpPr>
        <p:spPr>
          <a:xfrm>
            <a:off x="10655998" y="1802210"/>
            <a:ext cx="656498" cy="276999"/>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1" i="0" u="none" strike="noStrike" cap="none">
                <a:solidFill>
                  <a:srgbClr val="202120"/>
                </a:solidFill>
                <a:latin typeface="Source Sans Pro Semibold"/>
                <a:ea typeface="Source Sans Pro Semibold"/>
                <a:cs typeface="Source Sans Pro Semibold"/>
                <a:sym typeface="Source Sans Pro SemiBold"/>
              </a:rPr>
              <a:t>Week 10: 06/22-06/28</a:t>
            </a:r>
            <a:endParaRPr sz="900" b="1" i="0" u="none" strike="noStrike" cap="none">
              <a:solidFill>
                <a:srgbClr val="202120"/>
              </a:solidFill>
              <a:latin typeface="Source Sans Pro Semibold"/>
              <a:ea typeface="Source Sans Pro Semibold"/>
              <a:cs typeface="Source Sans Pro Semibold"/>
              <a:sym typeface="Source Sans Pro SemiBold"/>
            </a:endParaRPr>
          </a:p>
        </p:txBody>
      </p:sp>
      <p:cxnSp>
        <p:nvCxnSpPr>
          <p:cNvPr id="138" name="Google Shape;395;p7">
            <a:extLst>
              <a:ext uri="{FF2B5EF4-FFF2-40B4-BE49-F238E27FC236}">
                <a16:creationId xmlns:a16="http://schemas.microsoft.com/office/drawing/2014/main" id="{72CD5195-4FCE-4FC8-B037-A7E561D0D2AA}"/>
              </a:ext>
            </a:extLst>
          </p:cNvPr>
          <p:cNvCxnSpPr/>
          <p:nvPr/>
        </p:nvCxnSpPr>
        <p:spPr>
          <a:xfrm>
            <a:off x="10538391" y="1723391"/>
            <a:ext cx="0" cy="4345725"/>
          </a:xfrm>
          <a:prstGeom prst="straightConnector1">
            <a:avLst/>
          </a:prstGeom>
          <a:noFill/>
          <a:ln w="9525" cap="flat" cmpd="sng">
            <a:solidFill>
              <a:srgbClr val="C7C7C7"/>
            </a:solidFill>
            <a:prstDash val="dot"/>
            <a:round/>
            <a:headEnd type="none" w="sm" len="sm"/>
            <a:tailEnd type="none" w="sm" len="sm"/>
          </a:ln>
        </p:spPr>
      </p:cxnSp>
      <p:sp>
        <p:nvSpPr>
          <p:cNvPr id="94" name="Google Shape;695;p20">
            <a:extLst>
              <a:ext uri="{FF2B5EF4-FFF2-40B4-BE49-F238E27FC236}">
                <a16:creationId xmlns:a16="http://schemas.microsoft.com/office/drawing/2014/main" id="{E31314A6-B11D-4476-9803-2FB49A1BD625}"/>
              </a:ext>
            </a:extLst>
          </p:cNvPr>
          <p:cNvSpPr txBox="1"/>
          <p:nvPr/>
        </p:nvSpPr>
        <p:spPr>
          <a:xfrm>
            <a:off x="10140593" y="6408650"/>
            <a:ext cx="1500232" cy="276959"/>
          </a:xfrm>
          <a:prstGeom prst="rect">
            <a:avLst/>
          </a:prstGeom>
          <a:noFill/>
          <a:ln>
            <a:noFill/>
          </a:ln>
        </p:spPr>
        <p:txBody>
          <a:bodyPr spcFirstLastPara="1" wrap="square" lIns="91425" tIns="45700" rIns="91425" bIns="45700"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r">
              <a:buClr>
                <a:srgbClr val="747C74"/>
              </a:buClr>
              <a:buSzPts val="1200"/>
            </a:pPr>
            <a:r>
              <a:rPr lang="en-US" sz="1200">
                <a:solidFill>
                  <a:srgbClr val="747C74"/>
                </a:solidFill>
                <a:latin typeface="Source Sans Pro"/>
                <a:ea typeface="Source Sans Pro"/>
                <a:cs typeface="Source Sans Pro"/>
                <a:sym typeface="Source Sans Pro"/>
              </a:rPr>
              <a:t>Preview of Sprint 7</a:t>
            </a:r>
            <a:endParaRPr sz="1800">
              <a:solidFill>
                <a:schemeClr val="dk1"/>
              </a:solidFill>
              <a:latin typeface="Calibri"/>
              <a:ea typeface="Calibri"/>
              <a:cs typeface="Calibri"/>
              <a:sym typeface="Calibri"/>
            </a:endParaRPr>
          </a:p>
        </p:txBody>
      </p:sp>
      <p:grpSp>
        <p:nvGrpSpPr>
          <p:cNvPr id="3" name="Google Shape;448;p7">
            <a:extLst>
              <a:ext uri="{FF2B5EF4-FFF2-40B4-BE49-F238E27FC236}">
                <a16:creationId xmlns:a16="http://schemas.microsoft.com/office/drawing/2014/main" id="{04B4B9EF-39BF-81F3-070D-703E1C6BC8C8}"/>
              </a:ext>
            </a:extLst>
          </p:cNvPr>
          <p:cNvGrpSpPr/>
          <p:nvPr/>
        </p:nvGrpSpPr>
        <p:grpSpPr>
          <a:xfrm>
            <a:off x="704826" y="1077415"/>
            <a:ext cx="1301794" cy="5057210"/>
            <a:chOff x="7088474" y="1392482"/>
            <a:chExt cx="1365250" cy="5258585"/>
          </a:xfrm>
        </p:grpSpPr>
        <p:cxnSp>
          <p:nvCxnSpPr>
            <p:cNvPr id="96" name="Google Shape;449;p7">
              <a:extLst>
                <a:ext uri="{FF2B5EF4-FFF2-40B4-BE49-F238E27FC236}">
                  <a16:creationId xmlns:a16="http://schemas.microsoft.com/office/drawing/2014/main" id="{448CA91B-8DA9-1C1C-AA1D-6DFE020531CC}"/>
                </a:ext>
              </a:extLst>
            </p:cNvPr>
            <p:cNvCxnSpPr/>
            <p:nvPr/>
          </p:nvCxnSpPr>
          <p:spPr>
            <a:xfrm>
              <a:off x="7743145" y="1775857"/>
              <a:ext cx="2173" cy="4875210"/>
            </a:xfrm>
            <a:prstGeom prst="straightConnector1">
              <a:avLst/>
            </a:prstGeom>
            <a:noFill/>
            <a:ln w="12700" cap="flat" cmpd="sng">
              <a:solidFill>
                <a:srgbClr val="A1AEBF"/>
              </a:solidFill>
              <a:prstDash val="solid"/>
              <a:round/>
              <a:headEnd type="none" w="sm" len="sm"/>
              <a:tailEnd type="none" w="sm" len="sm"/>
            </a:ln>
          </p:spPr>
        </p:cxnSp>
        <p:grpSp>
          <p:nvGrpSpPr>
            <p:cNvPr id="97" name="Google Shape;450;p7">
              <a:extLst>
                <a:ext uri="{FF2B5EF4-FFF2-40B4-BE49-F238E27FC236}">
                  <a16:creationId xmlns:a16="http://schemas.microsoft.com/office/drawing/2014/main" id="{D9C2C79E-3DA2-A547-A6C1-A2A48BA151D4}"/>
                </a:ext>
              </a:extLst>
            </p:cNvPr>
            <p:cNvGrpSpPr/>
            <p:nvPr/>
          </p:nvGrpSpPr>
          <p:grpSpPr>
            <a:xfrm>
              <a:off x="7088474" y="1392482"/>
              <a:ext cx="1365250" cy="404102"/>
              <a:chOff x="7209124" y="1424232"/>
              <a:chExt cx="1365250" cy="404102"/>
            </a:xfrm>
          </p:grpSpPr>
          <p:sp>
            <p:nvSpPr>
              <p:cNvPr id="98" name="Google Shape;451;p7">
                <a:extLst>
                  <a:ext uri="{FF2B5EF4-FFF2-40B4-BE49-F238E27FC236}">
                    <a16:creationId xmlns:a16="http://schemas.microsoft.com/office/drawing/2014/main" id="{3A23AAE2-4269-C3E7-E699-BA0249A4E5CE}"/>
                  </a:ext>
                </a:extLst>
              </p:cNvPr>
              <p:cNvSpPr/>
              <p:nvPr/>
            </p:nvSpPr>
            <p:spPr>
              <a:xfrm>
                <a:off x="7209124" y="1424232"/>
                <a:ext cx="1365250" cy="344167"/>
              </a:xfrm>
              <a:prstGeom prst="roundRect">
                <a:avLst>
                  <a:gd name="adj" fmla="val 16667"/>
                </a:avLst>
              </a:prstGeom>
              <a:solidFill>
                <a:srgbClr val="D3E9FF"/>
              </a:solidFill>
              <a:ln>
                <a:noFill/>
              </a:ln>
            </p:spPr>
            <p:txBody>
              <a:bodyPr spcFirstLastPara="1" wrap="square" lIns="91425" tIns="73150" rIns="91425" bIns="45700" anchor="ctr" anchorCtr="0">
                <a:noAutofit/>
              </a:bodyPr>
              <a:lstStyle/>
              <a:p>
                <a:pPr marL="0" marR="0" lvl="0" indent="0" algn="ctr" rtl="0">
                  <a:lnSpc>
                    <a:spcPct val="100000"/>
                  </a:lnSpc>
                  <a:spcBef>
                    <a:spcPts val="0"/>
                  </a:spcBef>
                  <a:spcAft>
                    <a:spcPts val="0"/>
                  </a:spcAft>
                  <a:buClr>
                    <a:schemeClr val="accent1"/>
                  </a:buClr>
                  <a:buSzPts val="1200"/>
                  <a:buFont typeface="Source Sans Pro SemiBold"/>
                  <a:buNone/>
                </a:pPr>
                <a:r>
                  <a:rPr lang="en-US" sz="1200" b="1" i="0" u="none" strike="noStrike" cap="none">
                    <a:solidFill>
                      <a:schemeClr val="accent1"/>
                    </a:solidFill>
                    <a:latin typeface="Source Sans Pro Semibold"/>
                    <a:ea typeface="Source Sans Pro Semibold"/>
                    <a:cs typeface="Source Sans Pro Semibold"/>
                    <a:sym typeface="Source Sans Pro SemiBold"/>
                  </a:rPr>
                  <a:t>WE ARE HERE</a:t>
                </a:r>
                <a:endParaRPr sz="1200" b="1" i="0" u="none" strike="noStrike" cap="none">
                  <a:solidFill>
                    <a:schemeClr val="accent1"/>
                  </a:solidFill>
                  <a:latin typeface="Source Sans Pro Semibold"/>
                  <a:ea typeface="Source Sans Pro Semibold"/>
                  <a:cs typeface="Source Sans Pro Semibold"/>
                  <a:sym typeface="Source Sans Pro SemiBold"/>
                </a:endParaRPr>
              </a:p>
            </p:txBody>
          </p:sp>
          <p:sp>
            <p:nvSpPr>
              <p:cNvPr id="99" name="Google Shape;452;p7">
                <a:extLst>
                  <a:ext uri="{FF2B5EF4-FFF2-40B4-BE49-F238E27FC236}">
                    <a16:creationId xmlns:a16="http://schemas.microsoft.com/office/drawing/2014/main" id="{E30D416F-7947-2763-0E54-B1F9E0F67A72}"/>
                  </a:ext>
                </a:extLst>
              </p:cNvPr>
              <p:cNvSpPr/>
              <p:nvPr/>
            </p:nvSpPr>
            <p:spPr>
              <a:xfrm rot="10800000">
                <a:off x="7773027" y="1745784"/>
                <a:ext cx="171449" cy="82550"/>
              </a:xfrm>
              <a:prstGeom prst="triangle">
                <a:avLst>
                  <a:gd name="adj" fmla="val 50000"/>
                </a:avLst>
              </a:prstGeom>
              <a:solidFill>
                <a:srgbClr val="D3E9FF"/>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400"/>
                  <a:buFont typeface="Calibri"/>
                  <a:buNone/>
                </a:pPr>
                <a:endParaRPr sz="1400" b="0" i="0" u="none" strike="noStrike" cap="none">
                  <a:solidFill>
                    <a:schemeClr val="lt1"/>
                  </a:solidFill>
                  <a:latin typeface="Arial"/>
                  <a:ea typeface="Arial"/>
                  <a:cs typeface="Arial"/>
                  <a:sym typeface="Arial"/>
                </a:endParaRPr>
              </a:p>
            </p:txBody>
          </p:sp>
        </p:grpSp>
      </p:grpSp>
      <p:sp>
        <p:nvSpPr>
          <p:cNvPr id="103" name="Google Shape;401;p7">
            <a:extLst>
              <a:ext uri="{FF2B5EF4-FFF2-40B4-BE49-F238E27FC236}">
                <a16:creationId xmlns:a16="http://schemas.microsoft.com/office/drawing/2014/main" id="{BBD84C33-E4EA-5234-5A58-46F795902624}"/>
              </a:ext>
            </a:extLst>
          </p:cNvPr>
          <p:cNvSpPr/>
          <p:nvPr/>
        </p:nvSpPr>
        <p:spPr>
          <a:xfrm>
            <a:off x="1418433" y="2356224"/>
            <a:ext cx="1959634" cy="176424"/>
          </a:xfrm>
          <a:prstGeom prst="rect">
            <a:avLst/>
          </a:prstGeom>
          <a:solidFill>
            <a:schemeClr val="accent1"/>
          </a:solidFill>
          <a:ln w="9525" cap="flat" cmpd="sng">
            <a:solidFill>
              <a:schemeClr val="lt1"/>
            </a:solidFill>
            <a:prstDash val="solid"/>
            <a:round/>
            <a:headEnd type="none" w="sm" len="sm"/>
            <a:tailEnd type="none" w="sm" len="sm"/>
          </a:ln>
        </p:spPr>
        <p:txBody>
          <a:bodyPr spcFirstLastPara="1" wrap="square" lIns="91425" tIns="60925" rIns="60950" bIns="60925" anchor="ctr" anchorCtr="0">
            <a:noAutofit/>
          </a:bodyPr>
          <a:lstStyle/>
          <a:p>
            <a:pPr>
              <a:buClr>
                <a:srgbClr val="FDFFFD"/>
              </a:buClr>
              <a:buSzPts val="900"/>
            </a:pPr>
            <a:r>
              <a:rPr lang="en-US" sz="850">
                <a:solidFill>
                  <a:srgbClr val="FDFFFD"/>
                </a:solidFill>
                <a:latin typeface="Source Sans Pro"/>
                <a:ea typeface="Source Sans Pro"/>
                <a:cs typeface="Source Sans Pro"/>
                <a:sym typeface="Source Sans Pro"/>
              </a:rPr>
              <a:t>1095-B: Legal Review</a:t>
            </a:r>
            <a:endParaRPr sz="850" b="0" i="0" u="none" strike="noStrike" cap="none">
              <a:solidFill>
                <a:srgbClr val="000000"/>
              </a:solidFill>
              <a:latin typeface="Source Sans Pro"/>
              <a:ea typeface="Source Sans Pro"/>
              <a:cs typeface="Source Sans Pro"/>
              <a:sym typeface="Source Sans Pro"/>
            </a:endParaRPr>
          </a:p>
        </p:txBody>
      </p:sp>
      <p:sp>
        <p:nvSpPr>
          <p:cNvPr id="107" name="Google Shape;413;p7">
            <a:extLst>
              <a:ext uri="{FF2B5EF4-FFF2-40B4-BE49-F238E27FC236}">
                <a16:creationId xmlns:a16="http://schemas.microsoft.com/office/drawing/2014/main" id="{0A60379C-4FFF-CD73-6CB8-5995C06FE3FB}"/>
              </a:ext>
            </a:extLst>
          </p:cNvPr>
          <p:cNvSpPr/>
          <p:nvPr/>
        </p:nvSpPr>
        <p:spPr>
          <a:xfrm>
            <a:off x="3492713" y="4120708"/>
            <a:ext cx="2044670" cy="286191"/>
          </a:xfrm>
          <a:prstGeom prst="rect">
            <a:avLst/>
          </a:prstGeom>
          <a:solidFill>
            <a:srgbClr val="0365B9"/>
          </a:solidFill>
          <a:ln w="9525" cap="flat" cmpd="sng">
            <a:solidFill>
              <a:schemeClr val="lt1"/>
            </a:solidFill>
            <a:prstDash val="solid"/>
            <a:round/>
            <a:headEnd type="none" w="sm" len="sm"/>
            <a:tailEnd type="none" w="sm" len="sm"/>
          </a:ln>
        </p:spPr>
        <p:txBody>
          <a:bodyPr spcFirstLastPara="1" wrap="square" lIns="60950" tIns="60925" rIns="60950" bIns="60925" anchor="ctr" anchorCtr="0">
            <a:noAutofit/>
          </a:bodyPr>
          <a:lstStyle/>
          <a:p>
            <a:r>
              <a:rPr lang="en-US" sz="850">
                <a:solidFill>
                  <a:srgbClr val="FDFFFD"/>
                </a:solidFill>
                <a:latin typeface="Source Sans Pro"/>
                <a:ea typeface="Source Sans Pro"/>
                <a:sym typeface="Source Sans Pro"/>
              </a:rPr>
              <a:t>HH: Current State Journey Map</a:t>
            </a:r>
            <a:endParaRPr lang="en-US" sz="850">
              <a:solidFill>
                <a:srgbClr val="FDFFFD"/>
              </a:solidFill>
              <a:latin typeface="Source Sans Pro"/>
              <a:ea typeface="Source Sans Pro"/>
            </a:endParaRPr>
          </a:p>
        </p:txBody>
      </p:sp>
      <p:sp>
        <p:nvSpPr>
          <p:cNvPr id="108" name="Google Shape;401;p7">
            <a:extLst>
              <a:ext uri="{FF2B5EF4-FFF2-40B4-BE49-F238E27FC236}">
                <a16:creationId xmlns:a16="http://schemas.microsoft.com/office/drawing/2014/main" id="{AF5F9446-B049-9C9E-BC73-D65B274FF91F}"/>
              </a:ext>
            </a:extLst>
          </p:cNvPr>
          <p:cNvSpPr/>
          <p:nvPr/>
        </p:nvSpPr>
        <p:spPr>
          <a:xfrm>
            <a:off x="5603171" y="3088589"/>
            <a:ext cx="966745" cy="223604"/>
          </a:xfrm>
          <a:prstGeom prst="rect">
            <a:avLst/>
          </a:prstGeom>
          <a:solidFill>
            <a:schemeClr val="accent1"/>
          </a:solidFill>
          <a:ln w="9525" cap="flat" cmpd="sng">
            <a:solidFill>
              <a:schemeClr val="lt1"/>
            </a:solidFill>
            <a:prstDash val="solid"/>
            <a:round/>
            <a:headEnd type="none" w="sm" len="sm"/>
            <a:tailEnd type="none" w="sm" len="sm"/>
          </a:ln>
        </p:spPr>
        <p:txBody>
          <a:bodyPr spcFirstLastPara="1" wrap="square" lIns="91425" tIns="60925" rIns="60950" bIns="60925" anchor="ctr" anchorCtr="0">
            <a:noAutofit/>
          </a:bodyPr>
          <a:lstStyle/>
          <a:p>
            <a:pPr>
              <a:buClr>
                <a:srgbClr val="FDFFFD"/>
              </a:buClr>
              <a:buSzPts val="900"/>
            </a:pPr>
            <a:r>
              <a:rPr lang="en-US" sz="850" b="0" i="0" u="none" strike="noStrike" cap="none">
                <a:solidFill>
                  <a:srgbClr val="FDFFFD"/>
                </a:solidFill>
                <a:latin typeface="Source Sans Pro"/>
                <a:ea typeface="Source Sans Pro"/>
                <a:cs typeface="Source Sans Pro"/>
                <a:sym typeface="Source Sans Pro"/>
              </a:rPr>
              <a:t>HH: Roadmap</a:t>
            </a:r>
            <a:endParaRPr lang="en-US" sz="850" b="0" i="0" u="none" strike="noStrike" cap="none">
              <a:solidFill>
                <a:srgbClr val="FDFFFD"/>
              </a:solidFill>
              <a:latin typeface="Source Sans Pro"/>
              <a:ea typeface="Source Sans Pro"/>
              <a:cs typeface="Source Sans Pro"/>
            </a:endParaRPr>
          </a:p>
        </p:txBody>
      </p:sp>
      <p:sp>
        <p:nvSpPr>
          <p:cNvPr id="109" name="Google Shape;413;p7">
            <a:extLst>
              <a:ext uri="{FF2B5EF4-FFF2-40B4-BE49-F238E27FC236}">
                <a16:creationId xmlns:a16="http://schemas.microsoft.com/office/drawing/2014/main" id="{6E292932-316D-6000-7BD6-52E1C382C2BC}"/>
              </a:ext>
            </a:extLst>
          </p:cNvPr>
          <p:cNvSpPr/>
          <p:nvPr/>
        </p:nvSpPr>
        <p:spPr>
          <a:xfrm>
            <a:off x="3493370" y="3804974"/>
            <a:ext cx="1982645" cy="286191"/>
          </a:xfrm>
          <a:prstGeom prst="rect">
            <a:avLst/>
          </a:prstGeom>
          <a:solidFill>
            <a:srgbClr val="0365B9"/>
          </a:solidFill>
          <a:ln w="9525" cap="flat" cmpd="sng">
            <a:solidFill>
              <a:schemeClr val="lt1"/>
            </a:solidFill>
            <a:prstDash val="solid"/>
            <a:round/>
            <a:headEnd type="none" w="sm" len="sm"/>
            <a:tailEnd type="none" w="sm" len="sm"/>
          </a:ln>
        </p:spPr>
        <p:txBody>
          <a:bodyPr spcFirstLastPara="1" wrap="square" lIns="60950" tIns="60925" rIns="60950" bIns="60925" anchor="ctr" anchorCtr="0">
            <a:noAutofit/>
          </a:bodyPr>
          <a:lstStyle/>
          <a:p>
            <a:r>
              <a:rPr lang="en-US" sz="850">
                <a:solidFill>
                  <a:srgbClr val="FDFFFD"/>
                </a:solidFill>
                <a:latin typeface="Source Sans Pro"/>
                <a:ea typeface="Source Sans Pro"/>
                <a:sym typeface="Source Sans Pro"/>
              </a:rPr>
              <a:t>HH: Discovery</a:t>
            </a:r>
            <a:endParaRPr lang="en-US"/>
          </a:p>
        </p:txBody>
      </p:sp>
      <p:sp>
        <p:nvSpPr>
          <p:cNvPr id="111" name="Google Shape;401;p7">
            <a:extLst>
              <a:ext uri="{FF2B5EF4-FFF2-40B4-BE49-F238E27FC236}">
                <a16:creationId xmlns:a16="http://schemas.microsoft.com/office/drawing/2014/main" id="{9D2DDA46-8745-4572-B8C9-CF87AF968C8D}"/>
              </a:ext>
            </a:extLst>
          </p:cNvPr>
          <p:cNvSpPr/>
          <p:nvPr/>
        </p:nvSpPr>
        <p:spPr>
          <a:xfrm>
            <a:off x="1425665" y="2736290"/>
            <a:ext cx="1959634" cy="176424"/>
          </a:xfrm>
          <a:prstGeom prst="rect">
            <a:avLst/>
          </a:prstGeom>
          <a:solidFill>
            <a:schemeClr val="accent1"/>
          </a:solidFill>
          <a:ln w="9525" cap="flat" cmpd="sng">
            <a:solidFill>
              <a:schemeClr val="lt1"/>
            </a:solidFill>
            <a:prstDash val="solid"/>
            <a:round/>
            <a:headEnd type="none" w="sm" len="sm"/>
            <a:tailEnd type="none" w="sm" len="sm"/>
          </a:ln>
        </p:spPr>
        <p:txBody>
          <a:bodyPr spcFirstLastPara="1" wrap="square" lIns="91425" tIns="60925" rIns="60950" bIns="60925" anchor="ctr" anchorCtr="0">
            <a:noAutofit/>
          </a:bodyPr>
          <a:lstStyle/>
          <a:p>
            <a:pPr>
              <a:buClr>
                <a:srgbClr val="FDFFFD"/>
              </a:buClr>
              <a:buSzPts val="900"/>
            </a:pPr>
            <a:r>
              <a:rPr lang="en-US" sz="850">
                <a:solidFill>
                  <a:srgbClr val="FDFFFD"/>
                </a:solidFill>
                <a:latin typeface="Source Sans Pro"/>
                <a:ea typeface="Source Sans Pro"/>
                <a:cs typeface="Source Sans Pro"/>
                <a:sym typeface="Source Sans Pro"/>
              </a:rPr>
              <a:t>1095-B: Opt-in follow up</a:t>
            </a:r>
            <a:endParaRPr sz="850" b="0" i="0" u="none" strike="noStrike" cap="none">
              <a:solidFill>
                <a:srgbClr val="000000"/>
              </a:solidFill>
              <a:latin typeface="Source Sans Pro"/>
              <a:ea typeface="Source Sans Pro"/>
              <a:cs typeface="Source Sans Pro"/>
              <a:sym typeface="Source Sans Pro"/>
            </a:endParaRPr>
          </a:p>
        </p:txBody>
      </p:sp>
      <p:cxnSp>
        <p:nvCxnSpPr>
          <p:cNvPr id="112" name="Google Shape;396;p7">
            <a:extLst>
              <a:ext uri="{FF2B5EF4-FFF2-40B4-BE49-F238E27FC236}">
                <a16:creationId xmlns:a16="http://schemas.microsoft.com/office/drawing/2014/main" id="{F2B3F21D-5CBA-4B07-8EE6-FADEDE04A399}"/>
              </a:ext>
            </a:extLst>
          </p:cNvPr>
          <p:cNvCxnSpPr/>
          <p:nvPr/>
        </p:nvCxnSpPr>
        <p:spPr>
          <a:xfrm>
            <a:off x="9525177" y="1770654"/>
            <a:ext cx="0" cy="4345725"/>
          </a:xfrm>
          <a:prstGeom prst="straightConnector1">
            <a:avLst/>
          </a:prstGeom>
          <a:noFill/>
          <a:ln w="9525" cap="flat" cmpd="sng">
            <a:solidFill>
              <a:srgbClr val="7F7F7F"/>
            </a:solidFill>
            <a:prstDash val="solid"/>
            <a:round/>
            <a:headEnd type="none" w="sm" len="sm"/>
            <a:tailEnd type="none" w="sm" len="sm"/>
          </a:ln>
        </p:spPr>
      </p:cxnSp>
      <p:sp>
        <p:nvSpPr>
          <p:cNvPr id="113" name="Google Shape;401;p7">
            <a:extLst>
              <a:ext uri="{FF2B5EF4-FFF2-40B4-BE49-F238E27FC236}">
                <a16:creationId xmlns:a16="http://schemas.microsoft.com/office/drawing/2014/main" id="{CC2DB4A4-D1A4-4ECC-A335-5C5A972151B6}"/>
              </a:ext>
            </a:extLst>
          </p:cNvPr>
          <p:cNvSpPr/>
          <p:nvPr/>
        </p:nvSpPr>
        <p:spPr>
          <a:xfrm>
            <a:off x="1416594" y="2913429"/>
            <a:ext cx="1959634" cy="176424"/>
          </a:xfrm>
          <a:prstGeom prst="rect">
            <a:avLst/>
          </a:prstGeom>
          <a:solidFill>
            <a:schemeClr val="accent1"/>
          </a:solidFill>
          <a:ln w="9525" cap="flat" cmpd="sng">
            <a:solidFill>
              <a:schemeClr val="lt1"/>
            </a:solidFill>
            <a:prstDash val="solid"/>
            <a:round/>
            <a:headEnd type="none" w="sm" len="sm"/>
            <a:tailEnd type="none" w="sm" len="sm"/>
          </a:ln>
        </p:spPr>
        <p:txBody>
          <a:bodyPr spcFirstLastPara="1" wrap="square" lIns="91425" tIns="60925" rIns="60950" bIns="60925" anchor="ctr" anchorCtr="0">
            <a:noAutofit/>
          </a:bodyPr>
          <a:lstStyle/>
          <a:p>
            <a:pPr>
              <a:buClr>
                <a:srgbClr val="FDFFFD"/>
              </a:buClr>
              <a:buSzPts val="900"/>
            </a:pPr>
            <a:r>
              <a:rPr lang="en-US" sz="850">
                <a:solidFill>
                  <a:srgbClr val="FDFFFD"/>
                </a:solidFill>
                <a:latin typeface="Source Sans Pro"/>
                <a:ea typeface="Source Sans Pro"/>
                <a:cs typeface="Source Sans Pro"/>
                <a:sym typeface="Source Sans Pro"/>
              </a:rPr>
              <a:t>1095-B: Spanish translation docs</a:t>
            </a:r>
            <a:endParaRPr sz="850" b="0" i="0" u="none" strike="noStrike" cap="none">
              <a:solidFill>
                <a:srgbClr val="000000"/>
              </a:solidFill>
              <a:latin typeface="Source Sans Pro"/>
              <a:ea typeface="Source Sans Pro"/>
              <a:cs typeface="Source Sans Pro"/>
              <a:sym typeface="Source Sans Pro"/>
            </a:endParaRPr>
          </a:p>
        </p:txBody>
      </p:sp>
      <p:sp>
        <p:nvSpPr>
          <p:cNvPr id="114" name="Google Shape;399;p7">
            <a:extLst>
              <a:ext uri="{FF2B5EF4-FFF2-40B4-BE49-F238E27FC236}">
                <a16:creationId xmlns:a16="http://schemas.microsoft.com/office/drawing/2014/main" id="{9BAFEB20-7FDA-4A6F-923F-4576E8A156F8}"/>
              </a:ext>
            </a:extLst>
          </p:cNvPr>
          <p:cNvSpPr/>
          <p:nvPr/>
        </p:nvSpPr>
        <p:spPr>
          <a:xfrm>
            <a:off x="1707912" y="3108433"/>
            <a:ext cx="658086" cy="220867"/>
          </a:xfrm>
          <a:prstGeom prst="rect">
            <a:avLst/>
          </a:prstGeom>
          <a:solidFill>
            <a:schemeClr val="accent1"/>
          </a:solidFill>
          <a:ln w="9525" cap="flat" cmpd="sng">
            <a:solidFill>
              <a:schemeClr val="lt1"/>
            </a:solidFill>
            <a:prstDash val="solid"/>
            <a:round/>
            <a:headEnd type="none" w="sm" len="sm"/>
            <a:tailEnd type="none" w="sm" len="sm"/>
          </a:ln>
        </p:spPr>
        <p:txBody>
          <a:bodyPr spcFirstLastPara="1" wrap="square" lIns="91425" tIns="60925" rIns="60950" bIns="60925" anchor="ctr" anchorCtr="0">
            <a:noAutofit/>
          </a:bodyPr>
          <a:lstStyle/>
          <a:p>
            <a:pPr marL="0" marR="0" lvl="0" indent="0" algn="l" rtl="0">
              <a:lnSpc>
                <a:spcPct val="100000"/>
              </a:lnSpc>
              <a:spcBef>
                <a:spcPts val="0"/>
              </a:spcBef>
              <a:spcAft>
                <a:spcPts val="0"/>
              </a:spcAft>
              <a:buClr>
                <a:srgbClr val="FDFFFD"/>
              </a:buClr>
              <a:buSzPts val="900"/>
              <a:buFont typeface="PT Serif"/>
              <a:buNone/>
            </a:pPr>
            <a:r>
              <a:rPr lang="en-US" sz="800" b="0" i="0" u="none" strike="noStrike" cap="none">
                <a:solidFill>
                  <a:srgbClr val="FDFFFD"/>
                </a:solidFill>
                <a:latin typeface="Source Sans Pro"/>
                <a:ea typeface="Source Sans Pro"/>
                <a:cs typeface="Source Sans Pro"/>
                <a:sym typeface="Source Sans Pro"/>
              </a:rPr>
              <a:t>HH: Charter</a:t>
            </a:r>
            <a:endParaRPr sz="800" b="0" i="0" u="none" strike="noStrike" cap="none">
              <a:solidFill>
                <a:srgbClr val="000000"/>
              </a:solidFill>
              <a:latin typeface="Source Sans Pro"/>
              <a:ea typeface="Source Sans Pro"/>
              <a:cs typeface="Source Sans Pro"/>
              <a:sym typeface="Source Sans Pro"/>
            </a:endParaRPr>
          </a:p>
        </p:txBody>
      </p:sp>
      <p:sp>
        <p:nvSpPr>
          <p:cNvPr id="115" name="Google Shape;443;p7">
            <a:extLst>
              <a:ext uri="{FF2B5EF4-FFF2-40B4-BE49-F238E27FC236}">
                <a16:creationId xmlns:a16="http://schemas.microsoft.com/office/drawing/2014/main" id="{D6688165-3D4C-416E-BF20-428388E759C8}"/>
              </a:ext>
            </a:extLst>
          </p:cNvPr>
          <p:cNvSpPr/>
          <p:nvPr/>
        </p:nvSpPr>
        <p:spPr>
          <a:xfrm>
            <a:off x="9572027" y="5246333"/>
            <a:ext cx="219456" cy="223548"/>
          </a:xfrm>
          <a:prstGeom prst="diamond">
            <a:avLst/>
          </a:prstGeom>
          <a:solidFill>
            <a:schemeClr val="accent3"/>
          </a:solidFill>
          <a:ln w="9525" cap="flat" cmpd="sng">
            <a:solidFill>
              <a:schemeClr val="lt1"/>
            </a:solidFill>
            <a:prstDash val="solid"/>
            <a:round/>
            <a:headEnd type="none" w="sm" len="sm"/>
            <a:tailEnd type="none" w="sm" len="sm"/>
          </a:ln>
        </p:spPr>
        <p:txBody>
          <a:bodyPr spcFirstLastPara="1" wrap="square" lIns="121900" tIns="60925" rIns="121900" bIns="60925" anchor="ctr" anchorCtr="0">
            <a:noAutofit/>
          </a:bodyPr>
          <a:lstStyle/>
          <a:p>
            <a:pPr marL="0" marR="0" lvl="0" indent="0" algn="ctr" rtl="0">
              <a:lnSpc>
                <a:spcPct val="100000"/>
              </a:lnSpc>
              <a:spcBef>
                <a:spcPts val="0"/>
              </a:spcBef>
              <a:spcAft>
                <a:spcPts val="0"/>
              </a:spcAft>
              <a:buClr>
                <a:schemeClr val="dk1"/>
              </a:buClr>
              <a:buSzPts val="900"/>
              <a:buFont typeface="Calibri"/>
              <a:buNone/>
            </a:pPr>
            <a:endParaRPr sz="900" b="0" i="0" u="none" strike="noStrike" cap="none">
              <a:solidFill>
                <a:srgbClr val="202120"/>
              </a:solidFill>
              <a:latin typeface="PT Serif"/>
              <a:ea typeface="PT Serif"/>
              <a:cs typeface="PT Serif"/>
              <a:sym typeface="PT Serif"/>
            </a:endParaRPr>
          </a:p>
        </p:txBody>
      </p:sp>
      <p:sp>
        <p:nvSpPr>
          <p:cNvPr id="116" name="Google Shape;442;p7">
            <a:extLst>
              <a:ext uri="{FF2B5EF4-FFF2-40B4-BE49-F238E27FC236}">
                <a16:creationId xmlns:a16="http://schemas.microsoft.com/office/drawing/2014/main" id="{3342AB89-77DB-478C-BB6B-4C8F826EE789}"/>
              </a:ext>
            </a:extLst>
          </p:cNvPr>
          <p:cNvSpPr txBox="1"/>
          <p:nvPr/>
        </p:nvSpPr>
        <p:spPr>
          <a:xfrm>
            <a:off x="9571454" y="5501547"/>
            <a:ext cx="871131" cy="276999"/>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0" i="0" u="none" strike="noStrike" cap="none">
                <a:solidFill>
                  <a:srgbClr val="202120"/>
                </a:solidFill>
                <a:latin typeface="Source Sans Pro SemiBold"/>
                <a:ea typeface="Source Sans Pro SemiBold"/>
                <a:cs typeface="Source Sans Pro SemiBold"/>
                <a:sym typeface="Source Sans Pro SemiBold"/>
              </a:rPr>
              <a:t>Research Plan Review</a:t>
            </a:r>
            <a:endParaRPr sz="900" b="0" i="0" u="none" strike="noStrike" cap="none">
              <a:solidFill>
                <a:srgbClr val="202120"/>
              </a:solidFill>
              <a:latin typeface="Source Sans Pro SemiBold"/>
              <a:ea typeface="Source Sans Pro SemiBold"/>
              <a:cs typeface="Source Sans Pro SemiBold"/>
              <a:sym typeface="Source Sans Pro SemiBold"/>
            </a:endParaRPr>
          </a:p>
        </p:txBody>
      </p:sp>
      <p:sp>
        <p:nvSpPr>
          <p:cNvPr id="130" name="Google Shape;413;p7">
            <a:extLst>
              <a:ext uri="{FF2B5EF4-FFF2-40B4-BE49-F238E27FC236}">
                <a16:creationId xmlns:a16="http://schemas.microsoft.com/office/drawing/2014/main" id="{3A408431-59C3-4E26-8D2D-F4E5148E9631}"/>
              </a:ext>
            </a:extLst>
          </p:cNvPr>
          <p:cNvSpPr/>
          <p:nvPr/>
        </p:nvSpPr>
        <p:spPr>
          <a:xfrm>
            <a:off x="5616380" y="4472663"/>
            <a:ext cx="1882328" cy="286191"/>
          </a:xfrm>
          <a:prstGeom prst="rect">
            <a:avLst/>
          </a:prstGeom>
          <a:solidFill>
            <a:schemeClr val="accent6">
              <a:lumMod val="90000"/>
            </a:schemeClr>
          </a:solidFill>
          <a:ln w="9525" cap="flat" cmpd="sng">
            <a:solidFill>
              <a:schemeClr val="lt1"/>
            </a:solidFill>
            <a:prstDash val="solid"/>
            <a:round/>
            <a:headEnd type="none" w="sm" len="sm"/>
            <a:tailEnd type="none" w="sm" len="sm"/>
          </a:ln>
        </p:spPr>
        <p:txBody>
          <a:bodyPr spcFirstLastPara="1" wrap="square" lIns="60950" tIns="60925" rIns="60950" bIns="60925" anchor="ctr" anchorCtr="0">
            <a:noAutofit/>
          </a:bodyPr>
          <a:lstStyle/>
          <a:p>
            <a:r>
              <a:rPr lang="en-US" sz="850">
                <a:solidFill>
                  <a:schemeClr val="accent1"/>
                </a:solidFill>
                <a:latin typeface="Source Sans Pro"/>
                <a:ea typeface="Source Sans Pro"/>
                <a:sym typeface="Source Sans Pro"/>
              </a:rPr>
              <a:t>HH: Stakeholder Interviews</a:t>
            </a:r>
            <a:endParaRPr lang="en-US">
              <a:solidFill>
                <a:schemeClr val="accent1"/>
              </a:solidFill>
            </a:endParaRPr>
          </a:p>
        </p:txBody>
      </p:sp>
      <p:sp>
        <p:nvSpPr>
          <p:cNvPr id="132" name="Google Shape;413;p7">
            <a:extLst>
              <a:ext uri="{FF2B5EF4-FFF2-40B4-BE49-F238E27FC236}">
                <a16:creationId xmlns:a16="http://schemas.microsoft.com/office/drawing/2014/main" id="{36F62208-7AC6-41E2-B48B-68A3196D5EC3}"/>
              </a:ext>
            </a:extLst>
          </p:cNvPr>
          <p:cNvSpPr/>
          <p:nvPr/>
        </p:nvSpPr>
        <p:spPr>
          <a:xfrm>
            <a:off x="5603827" y="3813140"/>
            <a:ext cx="1903481" cy="286191"/>
          </a:xfrm>
          <a:prstGeom prst="rect">
            <a:avLst/>
          </a:prstGeom>
          <a:solidFill>
            <a:srgbClr val="0365B9"/>
          </a:solidFill>
          <a:ln w="9525" cap="flat" cmpd="sng">
            <a:solidFill>
              <a:schemeClr val="lt1"/>
            </a:solidFill>
            <a:prstDash val="solid"/>
            <a:round/>
            <a:headEnd type="none" w="sm" len="sm"/>
            <a:tailEnd type="none" w="sm" len="sm"/>
          </a:ln>
        </p:spPr>
        <p:txBody>
          <a:bodyPr spcFirstLastPara="1" wrap="square" lIns="60950" tIns="60925" rIns="60950" bIns="60925" anchor="ctr" anchorCtr="0">
            <a:noAutofit/>
          </a:bodyPr>
          <a:lstStyle/>
          <a:p>
            <a:r>
              <a:rPr lang="en-US" sz="850">
                <a:solidFill>
                  <a:srgbClr val="FDFFFD"/>
                </a:solidFill>
                <a:latin typeface="Source Sans Pro"/>
                <a:ea typeface="Source Sans Pro"/>
                <a:sym typeface="Source Sans Pro"/>
              </a:rPr>
              <a:t>HH: Stakeholder Interviews</a:t>
            </a:r>
            <a:endParaRPr lang="en-US"/>
          </a:p>
        </p:txBody>
      </p:sp>
    </p:spTree>
    <p:extLst>
      <p:ext uri="{BB962C8B-B14F-4D97-AF65-F5344CB8AC3E}">
        <p14:creationId xmlns:p14="http://schemas.microsoft.com/office/powerpoint/2010/main" val="10898417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Shape 850"/>
        <p:cNvGrpSpPr/>
        <p:nvPr/>
      </p:nvGrpSpPr>
      <p:grpSpPr>
        <a:xfrm>
          <a:off x="0" y="0"/>
          <a:ext cx="0" cy="0"/>
          <a:chOff x="0" y="0"/>
          <a:chExt cx="0" cy="0"/>
        </a:xfrm>
      </p:grpSpPr>
      <p:sp>
        <p:nvSpPr>
          <p:cNvPr id="851" name="Google Shape;851;p24"/>
          <p:cNvSpPr txBox="1">
            <a:spLocks noGrp="1"/>
          </p:cNvSpPr>
          <p:nvPr>
            <p:ph type="ctrTitle"/>
          </p:nvPr>
        </p:nvSpPr>
        <p:spPr>
          <a:xfrm>
            <a:off x="328730" y="2667102"/>
            <a:ext cx="7261656" cy="1632577"/>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dk2"/>
              </a:buClr>
              <a:buSzPts val="6600"/>
              <a:buFont typeface="PT Serif"/>
              <a:buNone/>
            </a:pPr>
            <a:r>
              <a:rPr lang="en-US"/>
              <a:t>Appendix</a:t>
            </a:r>
            <a:endParaRPr/>
          </a:p>
        </p:txBody>
      </p:sp>
      <p:sp>
        <p:nvSpPr>
          <p:cNvPr id="852" name="Google Shape;852;p24"/>
          <p:cNvSpPr txBox="1">
            <a:spLocks noGrp="1"/>
          </p:cNvSpPr>
          <p:nvPr>
            <p:ph type="body" idx="1"/>
          </p:nvPr>
        </p:nvSpPr>
        <p:spPr>
          <a:xfrm>
            <a:off x="328730" y="2252703"/>
            <a:ext cx="4246607" cy="366651"/>
          </a:xfrm>
          <a:prstGeom prst="rect">
            <a:avLst/>
          </a:prstGeom>
          <a:noFill/>
          <a:ln>
            <a:noFill/>
          </a:ln>
        </p:spPr>
        <p:txBody>
          <a:bodyPr spcFirstLastPara="1" wrap="square" lIns="91425" tIns="45700" rIns="91425" bIns="45700" anchor="t" anchorCtr="0">
            <a:normAutofit/>
          </a:bodyPr>
          <a:lstStyle/>
          <a:p>
            <a:pPr marL="0" lvl="0" indent="0" algn="l" rtl="0">
              <a:lnSpc>
                <a:spcPct val="90000"/>
              </a:lnSpc>
              <a:spcBef>
                <a:spcPts val="0"/>
              </a:spcBef>
              <a:spcAft>
                <a:spcPts val="0"/>
              </a:spcAft>
              <a:buClr>
                <a:schemeClr val="dk2"/>
              </a:buClr>
              <a:buSzPts val="1600"/>
              <a:buNone/>
            </a:pPr>
            <a:r>
              <a:rPr lang="en-US"/>
              <a:t>SPRINT 6 DEMO</a:t>
            </a:r>
            <a:endParaRPr/>
          </a:p>
        </p:txBody>
      </p:sp>
      <p:sp>
        <p:nvSpPr>
          <p:cNvPr id="853" name="Google Shape;853;p24"/>
          <p:cNvSpPr txBox="1">
            <a:spLocks noGrp="1"/>
          </p:cNvSpPr>
          <p:nvPr>
            <p:ph type="sldNum" idx="12"/>
          </p:nvPr>
        </p:nvSpPr>
        <p:spPr>
          <a:xfrm>
            <a:off x="11453198" y="6370864"/>
            <a:ext cx="406052" cy="365125"/>
          </a:xfrm>
          <a:prstGeom prst="rect">
            <a:avLst/>
          </a:prstGeom>
          <a:noFill/>
          <a:ln>
            <a:noFill/>
          </a:ln>
        </p:spPr>
        <p:txBody>
          <a:bodyPr spcFirstLastPara="1" wrap="square" lIns="91425" tIns="45700" rIns="91425" bIns="45700" anchor="ctr" anchorCtr="0">
            <a:noAutofit/>
          </a:bodyPr>
          <a:lstStyle/>
          <a:p>
            <a:pPr marL="0" lvl="0" indent="0" algn="r" rtl="0">
              <a:spcBef>
                <a:spcPts val="0"/>
              </a:spcBef>
              <a:spcAft>
                <a:spcPts val="0"/>
              </a:spcAft>
              <a:buNone/>
            </a:pPr>
            <a:fld id="{00000000-1234-1234-1234-123412341234}" type="slidenum">
              <a:rPr lang="en-US"/>
              <a:t>26</a:t>
            </a:fld>
            <a:endParaRPr/>
          </a:p>
        </p:txBody>
      </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Shape 857"/>
        <p:cNvGrpSpPr/>
        <p:nvPr/>
      </p:nvGrpSpPr>
      <p:grpSpPr>
        <a:xfrm>
          <a:off x="0" y="0"/>
          <a:ext cx="0" cy="0"/>
          <a:chOff x="0" y="0"/>
          <a:chExt cx="0" cy="0"/>
        </a:xfrm>
      </p:grpSpPr>
      <p:graphicFrame>
        <p:nvGraphicFramePr>
          <p:cNvPr id="858" name="Google Shape;858;p25"/>
          <p:cNvGraphicFramePr/>
          <p:nvPr>
            <p:extLst>
              <p:ext uri="{D42A27DB-BD31-4B8C-83A1-F6EECF244321}">
                <p14:modId xmlns:p14="http://schemas.microsoft.com/office/powerpoint/2010/main" val="2399184411"/>
              </p:ext>
            </p:extLst>
          </p:nvPr>
        </p:nvGraphicFramePr>
        <p:xfrm>
          <a:off x="6981707" y="1398809"/>
          <a:ext cx="4742782" cy="4429750"/>
        </p:xfrm>
        <a:graphic>
          <a:graphicData uri="http://schemas.openxmlformats.org/drawingml/2006/table">
            <a:tbl>
              <a:tblPr firstRow="1" bandRow="1">
                <a:noFill/>
                <a:tableStyleId>{AC820A2F-F511-4E25-9DDC-E36724F9A483}</a:tableStyleId>
              </a:tblPr>
              <a:tblGrid>
                <a:gridCol w="99713">
                  <a:extLst>
                    <a:ext uri="{9D8B030D-6E8A-4147-A177-3AD203B41FA5}">
                      <a16:colId xmlns:a16="http://schemas.microsoft.com/office/drawing/2014/main" val="20000"/>
                    </a:ext>
                  </a:extLst>
                </a:gridCol>
                <a:gridCol w="4643069">
                  <a:extLst>
                    <a:ext uri="{9D8B030D-6E8A-4147-A177-3AD203B41FA5}">
                      <a16:colId xmlns:a16="http://schemas.microsoft.com/office/drawing/2014/main" val="20001"/>
                    </a:ext>
                  </a:extLst>
                </a:gridCol>
              </a:tblGrid>
              <a:tr h="3592879">
                <a:tc>
                  <a:txBody>
                    <a:bodyPr/>
                    <a:lstStyle/>
                    <a:p>
                      <a:pPr marL="0" marR="0" lvl="0" indent="0" algn="l" rtl="0">
                        <a:spcBef>
                          <a:spcPts val="0"/>
                        </a:spcBef>
                        <a:spcAft>
                          <a:spcPts val="0"/>
                        </a:spcAft>
                        <a:buNone/>
                      </a:pPr>
                      <a:endParaRPr sz="1800"/>
                    </a:p>
                  </a:txBody>
                  <a:tcPr marL="0" marR="0" marT="45725" marB="45725">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lgn="ctr">
                      <a:solidFill>
                        <a:srgbClr val="000000">
                          <a:alpha val="0"/>
                        </a:srgbClr>
                      </a:solidFill>
                      <a:prstDash val="solid"/>
                      <a:round/>
                      <a:headEnd type="none" w="sm" len="sm"/>
                      <a:tailEnd type="none" w="sm" len="sm"/>
                    </a:lnB>
                    <a:solidFill>
                      <a:schemeClr val="accent2"/>
                    </a:solidFill>
                  </a:tcPr>
                </a:tc>
                <a:tc>
                  <a:txBody>
                    <a:bodyPr/>
                    <a:lstStyle/>
                    <a:p>
                      <a:pPr marL="0" marR="0" lvl="0" indent="0" algn="l" rtl="0">
                        <a:spcBef>
                          <a:spcPts val="0"/>
                        </a:spcBef>
                        <a:spcAft>
                          <a:spcPts val="0"/>
                        </a:spcAft>
                        <a:buNone/>
                      </a:pPr>
                      <a:r>
                        <a:rPr lang="en-US" sz="1600" b="0">
                          <a:solidFill>
                            <a:schemeClr val="dk1"/>
                          </a:solidFill>
                          <a:latin typeface="PT Serif"/>
                          <a:ea typeface="PT Serif"/>
                          <a:cs typeface="PT Serif"/>
                          <a:sym typeface="PT Serif"/>
                        </a:rPr>
                        <a:t>Velocity details</a:t>
                      </a:r>
                      <a:endParaRPr/>
                    </a:p>
                    <a:p>
                      <a:pPr marL="171450" marR="0" lvl="0" indent="-171450" algn="l" rtl="0">
                        <a:spcBef>
                          <a:spcPts val="1000"/>
                        </a:spcBef>
                        <a:spcAft>
                          <a:spcPts val="0"/>
                        </a:spcAft>
                        <a:buClr>
                          <a:schemeClr val="accent2"/>
                        </a:buClr>
                        <a:buSzPts val="960"/>
                        <a:buFont typeface="Noto Sans Symbols"/>
                        <a:buChar char="▪"/>
                      </a:pPr>
                      <a:r>
                        <a:rPr lang="en-US" sz="1200" b="0">
                          <a:solidFill>
                            <a:schemeClr val="dk2"/>
                          </a:solidFill>
                          <a:latin typeface="Source Sans Pro"/>
                          <a:ea typeface="Source Sans Pro"/>
                          <a:cs typeface="Source Sans Pro"/>
                          <a:sym typeface="Source Sans Pro"/>
                        </a:rPr>
                        <a:t>Velocity estimated in story points, using Fibonacci</a:t>
                      </a:r>
                      <a:endParaRPr/>
                    </a:p>
                    <a:p>
                      <a:pPr marL="171450" marR="0" lvl="0" indent="-171450" algn="l">
                        <a:spcBef>
                          <a:spcPts val="1000"/>
                        </a:spcBef>
                        <a:spcAft>
                          <a:spcPts val="0"/>
                        </a:spcAft>
                        <a:buClr>
                          <a:srgbClr val="0071BF"/>
                        </a:buClr>
                        <a:buSzPts val="960"/>
                        <a:buFont typeface="Noto Sans Symbols"/>
                        <a:buChar char="▪"/>
                      </a:pPr>
                      <a:r>
                        <a:rPr lang="en-US" sz="1200" b="0">
                          <a:solidFill>
                            <a:schemeClr val="dk2"/>
                          </a:solidFill>
                          <a:latin typeface="Source Sans Pro"/>
                          <a:ea typeface="Source Sans Pro"/>
                        </a:rPr>
                        <a:t>Velocity in Sprint 6 accounted for 11 team members</a:t>
                      </a:r>
                      <a:endParaRPr lang="en-US" sz="1200" b="0">
                        <a:solidFill>
                          <a:schemeClr val="dk2"/>
                        </a:solidFill>
                        <a:latin typeface="Source Sans Pro"/>
                        <a:ea typeface="Source Sans Pro"/>
                        <a:cs typeface="Source Sans Pro"/>
                      </a:endParaRPr>
                    </a:p>
                    <a:p>
                      <a:pPr marL="171450" marR="0" lvl="3" indent="-171450" algn="l">
                        <a:spcBef>
                          <a:spcPts val="600"/>
                        </a:spcBef>
                        <a:spcAft>
                          <a:spcPts val="0"/>
                        </a:spcAft>
                        <a:buClr>
                          <a:srgbClr val="0071BF"/>
                        </a:buClr>
                        <a:buSzPts val="960"/>
                        <a:buFont typeface="Noto Sans Symbols"/>
                        <a:buChar char="▪"/>
                      </a:pPr>
                      <a:r>
                        <a:rPr lang="en-US" sz="1200" b="0">
                          <a:solidFill>
                            <a:schemeClr val="dk2"/>
                          </a:solidFill>
                          <a:latin typeface="Source Sans Pro"/>
                          <a:ea typeface="Source Sans Pro"/>
                          <a:cs typeface="Source Sans Pro"/>
                        </a:rPr>
                        <a:t>84 total story points were completed;  Team committed to 81 </a:t>
                      </a:r>
                      <a:r>
                        <a:rPr lang="en-US" sz="1200" b="0">
                          <a:solidFill>
                            <a:schemeClr val="dk2"/>
                          </a:solidFill>
                          <a:latin typeface="Source Sans Pro"/>
                          <a:ea typeface="Source Sans Pro"/>
                          <a:cs typeface="Source Sans Pro"/>
                          <a:sym typeface="Source Sans Pro"/>
                        </a:rPr>
                        <a:t>story points</a:t>
                      </a:r>
                      <a:r>
                        <a:rPr lang="en-US" sz="1200" b="0">
                          <a:solidFill>
                            <a:schemeClr val="dk2"/>
                          </a:solidFill>
                          <a:latin typeface="Source Sans Pro"/>
                          <a:ea typeface="Source Sans Pro"/>
                          <a:cs typeface="Source Sans Pro"/>
                        </a:rPr>
                        <a:t> </a:t>
                      </a:r>
                      <a:r>
                        <a:rPr lang="en-US" sz="1200" b="0">
                          <a:solidFill>
                            <a:schemeClr val="dk2"/>
                          </a:solidFill>
                          <a:latin typeface="Source Sans Pro"/>
                          <a:ea typeface="Source Sans Pro"/>
                          <a:cs typeface="Source Sans Pro"/>
                          <a:sym typeface="Source Sans Pro"/>
                        </a:rPr>
                        <a:t> at beginning of the sprint, 11 were blocked, 3 removed, and 17 additional story points added</a:t>
                      </a:r>
                      <a:r>
                        <a:rPr lang="en-US" sz="1200" b="0">
                          <a:solidFill>
                            <a:schemeClr val="dk2"/>
                          </a:solidFill>
                          <a:latin typeface="Source Sans Pro"/>
                          <a:ea typeface="Source Sans Pro"/>
                          <a:cs typeface="Source Sans Pro"/>
                        </a:rPr>
                        <a:t>. </a:t>
                      </a:r>
                      <a:endParaRPr lang="en-US" sz="1200" b="0" i="0" u="none" strike="noStrike" cap="none">
                        <a:solidFill>
                          <a:schemeClr val="dk2"/>
                        </a:solidFill>
                        <a:latin typeface="Source Sans Pro"/>
                        <a:ea typeface="Source Sans Pro"/>
                        <a:cs typeface="Calibri"/>
                        <a:sym typeface="Arial"/>
                      </a:endParaRPr>
                    </a:p>
                    <a:p>
                      <a:pPr marL="344170" marR="0" lvl="0" indent="-166370" algn="l" rtl="0">
                        <a:spcBef>
                          <a:spcPts val="600"/>
                        </a:spcBef>
                        <a:spcAft>
                          <a:spcPts val="0"/>
                        </a:spcAft>
                        <a:buClr>
                          <a:srgbClr val="0071BF"/>
                        </a:buClr>
                        <a:buSzPts val="960"/>
                        <a:buFont typeface="Noto Sans Symbols"/>
                        <a:buChar char="▪"/>
                      </a:pPr>
                      <a:r>
                        <a:rPr lang="en-US" sz="1200" b="0" i="0" u="none" strike="noStrike" cap="none">
                          <a:solidFill>
                            <a:schemeClr val="dk2"/>
                          </a:solidFill>
                          <a:latin typeface="Source Sans Pro"/>
                          <a:ea typeface="Source Sans Pro"/>
                          <a:cs typeface="Calibri"/>
                          <a:sym typeface="Arial"/>
                        </a:rPr>
                        <a:t>11 story point blocked due to a)inability to test accessibility in staging environment, must complete during dark launch b) outstanding assistance request ticket with VA 508 office; adding to next sprint unless further blocked by legal review </a:t>
                      </a:r>
                    </a:p>
                    <a:p>
                      <a:pPr marL="344170" marR="0" lvl="0" indent="-166370" algn="l" rtl="0">
                        <a:spcBef>
                          <a:spcPts val="600"/>
                        </a:spcBef>
                        <a:spcAft>
                          <a:spcPts val="0"/>
                        </a:spcAft>
                        <a:buClr>
                          <a:srgbClr val="0071BF"/>
                        </a:buClr>
                        <a:buSzPts val="960"/>
                        <a:buFont typeface="Noto Sans Symbols"/>
                        <a:buChar char="▪"/>
                      </a:pPr>
                      <a:r>
                        <a:rPr lang="en-US" sz="1200" b="0" i="0" u="none" strike="noStrike" cap="none">
                          <a:solidFill>
                            <a:schemeClr val="dk2"/>
                          </a:solidFill>
                          <a:latin typeface="Source Sans Pro"/>
                          <a:ea typeface="Source Sans Pro"/>
                          <a:cs typeface="Calibri"/>
                          <a:sym typeface="Arial"/>
                        </a:rPr>
                        <a:t>3 story points were removed due to inability to conduct discovery with care navigators. </a:t>
                      </a:r>
                    </a:p>
                    <a:p>
                      <a:pPr marL="344170" marR="0" lvl="0" indent="-166370" algn="l" rtl="0">
                        <a:spcBef>
                          <a:spcPts val="600"/>
                        </a:spcBef>
                        <a:spcAft>
                          <a:spcPts val="0"/>
                        </a:spcAft>
                        <a:buClr>
                          <a:srgbClr val="0071BF"/>
                        </a:buClr>
                        <a:buSzPts val="960"/>
                        <a:buFont typeface="Noto Sans Symbols"/>
                        <a:buChar char="▪"/>
                      </a:pPr>
                      <a:r>
                        <a:rPr lang="en-US" sz="1200" b="0">
                          <a:solidFill>
                            <a:schemeClr val="dk2"/>
                          </a:solidFill>
                          <a:latin typeface="Source Sans Pro"/>
                          <a:ea typeface="Source Sans Pro"/>
                        </a:rPr>
                        <a:t>17 story points were added due to onboarding 3 new team members (15) and midcycle addition of combining tech discovery with design discovery on journey map (2).</a:t>
                      </a:r>
                    </a:p>
                    <a:p>
                      <a:pPr marL="344170" marR="0" lvl="0" indent="-166370" algn="l" rtl="0">
                        <a:spcBef>
                          <a:spcPts val="600"/>
                        </a:spcBef>
                        <a:spcAft>
                          <a:spcPts val="0"/>
                        </a:spcAft>
                        <a:buClr>
                          <a:srgbClr val="0071BF"/>
                        </a:buClr>
                        <a:buSzPts val="960"/>
                        <a:buFont typeface="Noto Sans Symbols"/>
                        <a:buChar char="▪"/>
                      </a:pPr>
                      <a:r>
                        <a:rPr lang="en-US" sz="1200" b="0">
                          <a:solidFill>
                            <a:schemeClr val="dk2"/>
                          </a:solidFill>
                          <a:latin typeface="Source Sans Pro"/>
                          <a:ea typeface="Source Sans Pro"/>
                        </a:rPr>
                        <a:t>All collaboration cycle events and follow up on tickets submitted in prior sprint were not assigned story points</a:t>
                      </a:r>
                    </a:p>
                    <a:p>
                      <a:pPr marL="177800" marR="0" lvl="0" indent="0" algn="l" rtl="0">
                        <a:spcBef>
                          <a:spcPts val="600"/>
                        </a:spcBef>
                        <a:spcAft>
                          <a:spcPts val="0"/>
                        </a:spcAft>
                        <a:buClr>
                          <a:srgbClr val="0071BF"/>
                        </a:buClr>
                        <a:buSzPts val="960"/>
                        <a:buFont typeface="Noto Sans Symbols"/>
                        <a:buNone/>
                      </a:pPr>
                      <a:endParaRPr lang="en-US" sz="1200" b="0">
                        <a:solidFill>
                          <a:schemeClr val="dk2"/>
                        </a:solidFill>
                        <a:latin typeface="Source Sans Pro"/>
                        <a:ea typeface="Source Sans Pro"/>
                      </a:endParaRPr>
                    </a:p>
                  </a:txBody>
                  <a:tcPr marL="182875" marR="182875" marT="182875" marB="182875">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lgn="ctr">
                      <a:solidFill>
                        <a:srgbClr val="000000">
                          <a:alpha val="0"/>
                        </a:srgbClr>
                      </a:solidFill>
                      <a:prstDash val="solid"/>
                      <a:round/>
                      <a:headEnd type="none" w="sm" len="sm"/>
                      <a:tailEnd type="none" w="sm" len="sm"/>
                    </a:lnB>
                    <a:solidFill>
                      <a:srgbClr val="E8E8E8"/>
                    </a:solidFill>
                  </a:tcPr>
                </a:tc>
                <a:extLst>
                  <a:ext uri="{0D108BD9-81ED-4DB2-BD59-A6C34878D82A}">
                    <a16:rowId xmlns:a16="http://schemas.microsoft.com/office/drawing/2014/main" val="10000"/>
                  </a:ext>
                </a:extLst>
              </a:tr>
            </a:tbl>
          </a:graphicData>
        </a:graphic>
      </p:graphicFrame>
      <p:sp>
        <p:nvSpPr>
          <p:cNvPr id="859" name="Google Shape;859;p25"/>
          <p:cNvSpPr txBox="1"/>
          <p:nvPr/>
        </p:nvSpPr>
        <p:spPr>
          <a:xfrm>
            <a:off x="11521463" y="6410593"/>
            <a:ext cx="406052" cy="365125"/>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fld id="{00000000-1234-1234-1234-123412341234}" type="slidenum">
              <a:rPr lang="en-US" sz="1200">
                <a:solidFill>
                  <a:srgbClr val="8F8F8F"/>
                </a:solidFill>
                <a:latin typeface="Source Sans Pro"/>
                <a:ea typeface="Source Sans Pro"/>
                <a:cs typeface="Source Sans Pro"/>
                <a:sym typeface="Source Sans Pro"/>
              </a:rPr>
              <a:t>27</a:t>
            </a:fld>
            <a:endParaRPr sz="1200">
              <a:solidFill>
                <a:srgbClr val="8F8F8F"/>
              </a:solidFill>
              <a:latin typeface="Source Sans Pro"/>
              <a:ea typeface="Source Sans Pro"/>
              <a:cs typeface="Source Sans Pro"/>
              <a:sym typeface="Source Sans Pro"/>
            </a:endParaRPr>
          </a:p>
        </p:txBody>
      </p:sp>
      <p:sp>
        <p:nvSpPr>
          <p:cNvPr id="860" name="Google Shape;860;p25"/>
          <p:cNvSpPr txBox="1"/>
          <p:nvPr/>
        </p:nvSpPr>
        <p:spPr>
          <a:xfrm>
            <a:off x="8917360" y="6408650"/>
            <a:ext cx="2723465" cy="276999"/>
          </a:xfrm>
          <a:prstGeom prst="rect">
            <a:avLst/>
          </a:prstGeom>
          <a:noFill/>
          <a:ln>
            <a:noFill/>
          </a:ln>
        </p:spPr>
        <p:txBody>
          <a:bodyPr spcFirstLastPara="1" wrap="square" lIns="91425" tIns="45700" rIns="91425" bIns="45700" anchor="t" anchorCtr="0">
            <a:spAutoFit/>
          </a:bodyPr>
          <a:lstStyle/>
          <a:p>
            <a:pPr marL="0" marR="0" lvl="0" indent="0" algn="r" rtl="0">
              <a:spcBef>
                <a:spcPts val="0"/>
              </a:spcBef>
              <a:spcAft>
                <a:spcPts val="0"/>
              </a:spcAft>
              <a:buClr>
                <a:srgbClr val="747C74"/>
              </a:buClr>
              <a:buSzPts val="1200"/>
              <a:buFont typeface="Source Sans Pro"/>
              <a:buNone/>
            </a:pPr>
            <a:r>
              <a:rPr lang="en-US" sz="1200">
                <a:solidFill>
                  <a:srgbClr val="747C74"/>
                </a:solidFill>
                <a:latin typeface="Source Sans Pro"/>
                <a:ea typeface="Source Sans Pro"/>
                <a:cs typeface="Source Sans Pro"/>
                <a:sym typeface="Source Sans Pro"/>
              </a:rPr>
              <a:t>Appendix</a:t>
            </a:r>
            <a:endParaRPr sz="1800">
              <a:solidFill>
                <a:schemeClr val="dk1"/>
              </a:solidFill>
              <a:latin typeface="Calibri"/>
              <a:ea typeface="Calibri"/>
              <a:cs typeface="Calibri"/>
              <a:sym typeface="Calibri"/>
            </a:endParaRPr>
          </a:p>
        </p:txBody>
      </p:sp>
      <p:sp>
        <p:nvSpPr>
          <p:cNvPr id="861" name="Google Shape;861;p25"/>
          <p:cNvSpPr txBox="1"/>
          <p:nvPr/>
        </p:nvSpPr>
        <p:spPr>
          <a:xfrm>
            <a:off x="419100" y="6408650"/>
            <a:ext cx="2723465" cy="276999"/>
          </a:xfrm>
          <a:prstGeom prst="rect">
            <a:avLst/>
          </a:prstGeom>
          <a:noFill/>
          <a:ln>
            <a:noFill/>
          </a:ln>
        </p:spPr>
        <p:txBody>
          <a:bodyPr spcFirstLastPara="1" wrap="square" lIns="0" tIns="45700" rIns="91425" bIns="45700" anchor="t" anchorCtr="0">
            <a:spAutoFit/>
          </a:bodyPr>
          <a:lstStyle/>
          <a:p>
            <a:pPr marL="0" marR="0" lvl="0" indent="0" algn="l" rtl="0">
              <a:spcBef>
                <a:spcPts val="0"/>
              </a:spcBef>
              <a:spcAft>
                <a:spcPts val="0"/>
              </a:spcAft>
              <a:buNone/>
            </a:pPr>
            <a:r>
              <a:rPr lang="en-US" sz="1200">
                <a:solidFill>
                  <a:srgbClr val="747C74"/>
                </a:solidFill>
                <a:latin typeface="Source Sans Pro"/>
                <a:ea typeface="Source Sans Pro"/>
                <a:cs typeface="Source Sans Pro"/>
                <a:sym typeface="Source Sans Pro"/>
              </a:rPr>
              <a:t>04-19 Sprint 6 Demo</a:t>
            </a:r>
            <a:endParaRPr sz="1200">
              <a:solidFill>
                <a:srgbClr val="747C74"/>
              </a:solidFill>
              <a:latin typeface="Calibri"/>
              <a:ea typeface="Calibri"/>
              <a:cs typeface="Calibri"/>
              <a:sym typeface="Calibri"/>
            </a:endParaRPr>
          </a:p>
        </p:txBody>
      </p:sp>
      <p:sp>
        <p:nvSpPr>
          <p:cNvPr id="865" name="Google Shape;865;p25"/>
          <p:cNvSpPr txBox="1"/>
          <p:nvPr/>
        </p:nvSpPr>
        <p:spPr>
          <a:xfrm>
            <a:off x="312812" y="373491"/>
            <a:ext cx="11353800" cy="746983"/>
          </a:xfrm>
          <a:prstGeom prst="rect">
            <a:avLst/>
          </a:prstGeom>
          <a:noFill/>
          <a:ln>
            <a:noFill/>
          </a:ln>
        </p:spPr>
        <p:txBody>
          <a:bodyPr spcFirstLastPara="1" wrap="square" lIns="91425" tIns="45700" rIns="91425" bIns="45700" anchor="t" anchorCtr="0">
            <a:normAutofit/>
          </a:bodyPr>
          <a:lstStyle/>
          <a:p>
            <a:pPr marL="0" marR="0" lvl="0" indent="0" algn="l" rtl="0">
              <a:lnSpc>
                <a:spcPct val="90000"/>
              </a:lnSpc>
              <a:spcBef>
                <a:spcPts val="0"/>
              </a:spcBef>
              <a:spcAft>
                <a:spcPts val="0"/>
              </a:spcAft>
              <a:buClr>
                <a:schemeClr val="dk1"/>
              </a:buClr>
              <a:buSzPts val="3600"/>
              <a:buFont typeface="PT Serif"/>
              <a:buNone/>
            </a:pPr>
            <a:r>
              <a:rPr lang="en-US" sz="3600">
                <a:solidFill>
                  <a:schemeClr val="dk1"/>
                </a:solidFill>
                <a:latin typeface="PT Serif"/>
                <a:ea typeface="PT Serif"/>
                <a:cs typeface="PT Serif"/>
                <a:sym typeface="PT Serif"/>
              </a:rPr>
              <a:t>1095-B Team velocity</a:t>
            </a:r>
            <a:endParaRPr/>
          </a:p>
        </p:txBody>
      </p:sp>
      <p:pic>
        <p:nvPicPr>
          <p:cNvPr id="4" name="Picture 3">
            <a:extLst>
              <a:ext uri="{FF2B5EF4-FFF2-40B4-BE49-F238E27FC236}">
                <a16:creationId xmlns:a16="http://schemas.microsoft.com/office/drawing/2014/main" id="{9E0B477C-8E8C-403C-8034-D9B807FC6707}"/>
              </a:ext>
            </a:extLst>
          </p:cNvPr>
          <p:cNvPicPr>
            <a:picLocks noChangeAspect="1"/>
          </p:cNvPicPr>
          <p:nvPr/>
        </p:nvPicPr>
        <p:blipFill rotWithShape="1">
          <a:blip r:embed="rId3"/>
          <a:srcRect t="1862"/>
          <a:stretch/>
        </p:blipFill>
        <p:spPr>
          <a:xfrm>
            <a:off x="258722" y="2711990"/>
            <a:ext cx="6122108" cy="3171166"/>
          </a:xfrm>
          <a:prstGeom prst="rect">
            <a:avLst/>
          </a:prstGeom>
        </p:spPr>
      </p:pic>
      <p:sp>
        <p:nvSpPr>
          <p:cNvPr id="863" name="Google Shape;863;p25"/>
          <p:cNvSpPr/>
          <p:nvPr/>
        </p:nvSpPr>
        <p:spPr>
          <a:xfrm>
            <a:off x="5186004" y="3287422"/>
            <a:ext cx="965228" cy="2358257"/>
          </a:xfrm>
          <a:prstGeom prst="rect">
            <a:avLst/>
          </a:prstGeom>
          <a:noFill/>
          <a:ln w="12700" cap="flat" cmpd="sng">
            <a:solidFill>
              <a:schemeClr val="accent2"/>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Calibri"/>
              <a:buNone/>
            </a:pPr>
            <a:endParaRPr sz="1800" b="0" i="0" u="none" strike="noStrike" cap="none">
              <a:solidFill>
                <a:schemeClr val="dk1"/>
              </a:solidFill>
              <a:latin typeface="PT Serif"/>
              <a:ea typeface="PT Serif"/>
              <a:cs typeface="PT Serif"/>
              <a:sym typeface="PT Serif"/>
            </a:endParaRPr>
          </a:p>
        </p:txBody>
      </p:sp>
      <p:cxnSp>
        <p:nvCxnSpPr>
          <p:cNvPr id="864" name="Google Shape;864;p25"/>
          <p:cNvCxnSpPr>
            <a:cxnSpLocks/>
          </p:cNvCxnSpPr>
          <p:nvPr/>
        </p:nvCxnSpPr>
        <p:spPr>
          <a:xfrm flipV="1">
            <a:off x="6151232" y="1409330"/>
            <a:ext cx="837043" cy="1871524"/>
          </a:xfrm>
          <a:prstGeom prst="straightConnector1">
            <a:avLst/>
          </a:prstGeom>
          <a:noFill/>
          <a:ln w="9525" cap="flat" cmpd="sng">
            <a:solidFill>
              <a:schemeClr val="accent2"/>
            </a:solidFill>
            <a:prstDash val="solid"/>
            <a:miter lim="800000"/>
            <a:headEnd type="none" w="sm" len="sm"/>
            <a:tailEnd type="none" w="sm" len="sm"/>
          </a:ln>
        </p:spPr>
      </p:cxnSp>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Shape 925"/>
        <p:cNvGrpSpPr/>
        <p:nvPr/>
      </p:nvGrpSpPr>
      <p:grpSpPr>
        <a:xfrm>
          <a:off x="0" y="0"/>
          <a:ext cx="0" cy="0"/>
          <a:chOff x="0" y="0"/>
          <a:chExt cx="0" cy="0"/>
        </a:xfrm>
      </p:grpSpPr>
      <p:sp>
        <p:nvSpPr>
          <p:cNvPr id="926" name="Google Shape;926;p28"/>
          <p:cNvSpPr txBox="1">
            <a:spLocks noGrp="1"/>
          </p:cNvSpPr>
          <p:nvPr>
            <p:ph type="title"/>
          </p:nvPr>
        </p:nvSpPr>
        <p:spPr>
          <a:xfrm>
            <a:off x="319486" y="373490"/>
            <a:ext cx="11353800" cy="746983"/>
          </a:xfrm>
          <a:prstGeom prst="rect">
            <a:avLst/>
          </a:prstGeom>
          <a:noFill/>
          <a:ln>
            <a:noFill/>
          </a:ln>
        </p:spPr>
        <p:txBody>
          <a:bodyPr spcFirstLastPara="1" wrap="square" lIns="91425" tIns="45700" rIns="91425" bIns="45700" anchor="t" anchorCtr="0">
            <a:normAutofit/>
          </a:bodyPr>
          <a:lstStyle/>
          <a:p>
            <a:pPr marL="0" lvl="0" indent="0" algn="l" rtl="0">
              <a:lnSpc>
                <a:spcPct val="90000"/>
              </a:lnSpc>
              <a:spcBef>
                <a:spcPts val="0"/>
              </a:spcBef>
              <a:spcAft>
                <a:spcPts val="0"/>
              </a:spcAft>
              <a:buClr>
                <a:schemeClr val="dk1"/>
              </a:buClr>
              <a:buSzPts val="3600"/>
              <a:buFont typeface="PT Serif"/>
              <a:buNone/>
            </a:pPr>
            <a:r>
              <a:rPr lang="en-US"/>
              <a:t>Project risks and mitigation strategies</a:t>
            </a:r>
            <a:endParaRPr/>
          </a:p>
        </p:txBody>
      </p:sp>
      <p:graphicFrame>
        <p:nvGraphicFramePr>
          <p:cNvPr id="930" name="Google Shape;930;p28"/>
          <p:cNvGraphicFramePr/>
          <p:nvPr>
            <p:extLst>
              <p:ext uri="{D42A27DB-BD31-4B8C-83A1-F6EECF244321}">
                <p14:modId xmlns:p14="http://schemas.microsoft.com/office/powerpoint/2010/main" val="4274974948"/>
              </p:ext>
            </p:extLst>
          </p:nvPr>
        </p:nvGraphicFramePr>
        <p:xfrm>
          <a:off x="405935" y="1240033"/>
          <a:ext cx="11353800" cy="5928280"/>
        </p:xfrm>
        <a:graphic>
          <a:graphicData uri="http://schemas.openxmlformats.org/drawingml/2006/table">
            <a:tbl>
              <a:tblPr>
                <a:noFill/>
                <a:tableStyleId>{1F4BC13E-62C9-4DB2-9D77-78E559E1D0AC}</a:tableStyleId>
              </a:tblPr>
              <a:tblGrid>
                <a:gridCol w="3425512">
                  <a:extLst>
                    <a:ext uri="{9D8B030D-6E8A-4147-A177-3AD203B41FA5}">
                      <a16:colId xmlns:a16="http://schemas.microsoft.com/office/drawing/2014/main" val="20000"/>
                    </a:ext>
                  </a:extLst>
                </a:gridCol>
                <a:gridCol w="3805880">
                  <a:extLst>
                    <a:ext uri="{9D8B030D-6E8A-4147-A177-3AD203B41FA5}">
                      <a16:colId xmlns:a16="http://schemas.microsoft.com/office/drawing/2014/main" val="20001"/>
                    </a:ext>
                  </a:extLst>
                </a:gridCol>
                <a:gridCol w="629925">
                  <a:extLst>
                    <a:ext uri="{9D8B030D-6E8A-4147-A177-3AD203B41FA5}">
                      <a16:colId xmlns:a16="http://schemas.microsoft.com/office/drawing/2014/main" val="20002"/>
                    </a:ext>
                  </a:extLst>
                </a:gridCol>
                <a:gridCol w="601726">
                  <a:extLst>
                    <a:ext uri="{9D8B030D-6E8A-4147-A177-3AD203B41FA5}">
                      <a16:colId xmlns:a16="http://schemas.microsoft.com/office/drawing/2014/main" val="20003"/>
                    </a:ext>
                  </a:extLst>
                </a:gridCol>
                <a:gridCol w="560702">
                  <a:extLst>
                    <a:ext uri="{9D8B030D-6E8A-4147-A177-3AD203B41FA5}">
                      <a16:colId xmlns:a16="http://schemas.microsoft.com/office/drawing/2014/main" val="20004"/>
                    </a:ext>
                  </a:extLst>
                </a:gridCol>
                <a:gridCol w="2330055">
                  <a:extLst>
                    <a:ext uri="{9D8B030D-6E8A-4147-A177-3AD203B41FA5}">
                      <a16:colId xmlns:a16="http://schemas.microsoft.com/office/drawing/2014/main" val="20005"/>
                    </a:ext>
                  </a:extLst>
                </a:gridCol>
              </a:tblGrid>
              <a:tr h="202775">
                <a:tc rowSpan="2">
                  <a:txBody>
                    <a:bodyPr/>
                    <a:lstStyle/>
                    <a:p>
                      <a:pPr marL="0" marR="0" lvl="0" indent="0" algn="l" rtl="0">
                        <a:lnSpc>
                          <a:spcPct val="115000"/>
                        </a:lnSpc>
                        <a:spcBef>
                          <a:spcPts val="0"/>
                        </a:spcBef>
                        <a:spcAft>
                          <a:spcPts val="0"/>
                        </a:spcAft>
                        <a:buClr>
                          <a:srgbClr val="000000"/>
                        </a:buClr>
                        <a:buSzPts val="800"/>
                        <a:buFont typeface="Arial"/>
                        <a:buNone/>
                      </a:pPr>
                      <a:r>
                        <a:rPr lang="en-US" sz="1000" b="1" i="0" u="none" strike="noStrike" cap="none">
                          <a:solidFill>
                            <a:schemeClr val="accent1"/>
                          </a:solidFill>
                          <a:latin typeface="Source Sans Pro Semibold"/>
                          <a:ea typeface="Source Sans Pro Semibold"/>
                          <a:cs typeface="Source Sans Pro Semibold"/>
                          <a:sym typeface="Source Sans Pro SemiBold"/>
                        </a:rPr>
                        <a:t>RISK AND IMPACT</a:t>
                      </a:r>
                      <a:endParaRPr/>
                    </a:p>
                  </a:txBody>
                  <a:tcPr marL="24375" marR="91450" marT="24375" marB="24375" anchor="ctr">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9E9E9E">
                          <a:alpha val="0"/>
                        </a:srgbClr>
                      </a:solidFill>
                      <a:prstDash val="solid"/>
                      <a:round/>
                      <a:headEnd type="none" w="sm" len="sm"/>
                      <a:tailEnd type="none" w="sm" len="sm"/>
                    </a:lnT>
                    <a:lnB w="9525" cap="flat" cmpd="sng">
                      <a:solidFill>
                        <a:srgbClr val="4B5C90">
                          <a:alpha val="0"/>
                        </a:srgbClr>
                      </a:solidFill>
                      <a:prstDash val="solid"/>
                      <a:round/>
                      <a:headEnd type="none" w="sm" len="sm"/>
                      <a:tailEnd type="none" w="sm" len="sm"/>
                    </a:lnB>
                  </a:tcPr>
                </a:tc>
                <a:tc rowSpan="2">
                  <a:txBody>
                    <a:bodyPr/>
                    <a:lstStyle/>
                    <a:p>
                      <a:pPr marL="0" marR="0" lvl="0" indent="0" algn="l" rtl="0">
                        <a:lnSpc>
                          <a:spcPct val="115000"/>
                        </a:lnSpc>
                        <a:spcBef>
                          <a:spcPts val="0"/>
                        </a:spcBef>
                        <a:spcAft>
                          <a:spcPts val="0"/>
                        </a:spcAft>
                        <a:buClr>
                          <a:srgbClr val="000000"/>
                        </a:buClr>
                        <a:buSzPts val="800"/>
                        <a:buFont typeface="Arial"/>
                        <a:buNone/>
                      </a:pPr>
                      <a:r>
                        <a:rPr lang="en-US" sz="1000" b="1" i="0" u="none" strike="noStrike" cap="none">
                          <a:solidFill>
                            <a:schemeClr val="accent1"/>
                          </a:solidFill>
                          <a:latin typeface="Source Sans Pro Semibold"/>
                          <a:ea typeface="Source Sans Pro Semibold"/>
                          <a:cs typeface="Source Sans Pro Semibold"/>
                          <a:sym typeface="Source Sans Pro SemiBold"/>
                        </a:rPr>
                        <a:t>MITIGATION STRATEGY</a:t>
                      </a:r>
                      <a:endParaRPr/>
                    </a:p>
                  </a:txBody>
                  <a:tcPr marL="24375" marR="24375" marT="24375" marB="24375" anchor="ctr">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9E9E9E">
                          <a:alpha val="0"/>
                        </a:srgbClr>
                      </a:solidFill>
                      <a:prstDash val="solid"/>
                      <a:round/>
                      <a:headEnd type="none" w="sm" len="sm"/>
                      <a:tailEnd type="none" w="sm" len="sm"/>
                    </a:lnT>
                    <a:lnB w="9525" cap="flat" cmpd="sng">
                      <a:solidFill>
                        <a:srgbClr val="4B5C90">
                          <a:alpha val="0"/>
                        </a:srgbClr>
                      </a:solidFill>
                      <a:prstDash val="solid"/>
                      <a:round/>
                      <a:headEnd type="none" w="sm" len="sm"/>
                      <a:tailEnd type="none" w="sm" len="sm"/>
                    </a:lnB>
                  </a:tcPr>
                </a:tc>
                <a:tc gridSpan="2">
                  <a:txBody>
                    <a:bodyPr/>
                    <a:lstStyle/>
                    <a:p>
                      <a:pPr marL="0" marR="0" lvl="0" indent="0" algn="ctr" rtl="0">
                        <a:lnSpc>
                          <a:spcPct val="100000"/>
                        </a:lnSpc>
                        <a:spcBef>
                          <a:spcPts val="0"/>
                        </a:spcBef>
                        <a:spcAft>
                          <a:spcPts val="0"/>
                        </a:spcAft>
                        <a:buClr>
                          <a:srgbClr val="000000"/>
                        </a:buClr>
                        <a:buSzPts val="800"/>
                        <a:buFont typeface="Arial"/>
                        <a:buNone/>
                      </a:pPr>
                      <a:r>
                        <a:rPr lang="en-US" sz="1000" b="1" i="0" u="none" strike="noStrike" cap="none">
                          <a:solidFill>
                            <a:schemeClr val="accent1"/>
                          </a:solidFill>
                          <a:latin typeface="Source Sans Pro Semibold"/>
                          <a:ea typeface="Source Sans Pro Semibold"/>
                          <a:cs typeface="Source Sans Pro Semibold"/>
                          <a:sym typeface="Source Sans Pro SemiBold"/>
                        </a:rPr>
                        <a:t>DATE</a:t>
                      </a:r>
                      <a:endParaRPr/>
                    </a:p>
                  </a:txBody>
                  <a:tcPr marL="24375" marR="24375" marT="24375" marB="24375">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9E9E9E">
                          <a:alpha val="0"/>
                        </a:srgbClr>
                      </a:solidFill>
                      <a:prstDash val="solid"/>
                      <a:round/>
                      <a:headEnd type="none" w="sm" len="sm"/>
                      <a:tailEnd type="none" w="sm" len="sm"/>
                    </a:lnT>
                    <a:lnB w="9525" cap="flat" cmpd="sng">
                      <a:solidFill>
                        <a:srgbClr val="4B5C90">
                          <a:alpha val="0"/>
                        </a:srgbClr>
                      </a:solidFill>
                      <a:prstDash val="solid"/>
                      <a:round/>
                      <a:headEnd type="none" w="sm" len="sm"/>
                      <a:tailEnd type="none" w="sm" len="sm"/>
                    </a:lnB>
                  </a:tcPr>
                </a:tc>
                <a:tc hMerge="1">
                  <a:txBody>
                    <a:bodyPr/>
                    <a:lstStyle/>
                    <a:p>
                      <a:endParaRPr lang="en-US"/>
                    </a:p>
                  </a:txBody>
                  <a:tcPr/>
                </a:tc>
                <a:tc rowSpan="2">
                  <a:txBody>
                    <a:bodyPr/>
                    <a:lstStyle/>
                    <a:p>
                      <a:pPr marL="0" marR="0" lvl="0" indent="0" algn="ctr" rtl="0">
                        <a:lnSpc>
                          <a:spcPct val="100000"/>
                        </a:lnSpc>
                        <a:spcBef>
                          <a:spcPts val="0"/>
                        </a:spcBef>
                        <a:spcAft>
                          <a:spcPts val="0"/>
                        </a:spcAft>
                        <a:buClr>
                          <a:srgbClr val="000000"/>
                        </a:buClr>
                        <a:buSzPts val="800"/>
                        <a:buFont typeface="Arial"/>
                        <a:buNone/>
                      </a:pPr>
                      <a:r>
                        <a:rPr lang="en-US" sz="1000" b="1" i="0" u="none" strike="noStrike" cap="none">
                          <a:solidFill>
                            <a:schemeClr val="accent1"/>
                          </a:solidFill>
                          <a:latin typeface="Source Sans Pro Semibold"/>
                          <a:ea typeface="Source Sans Pro Semibold"/>
                          <a:cs typeface="Source Sans Pro Semibold"/>
                          <a:sym typeface="Source Sans Pro SemiBold"/>
                        </a:rPr>
                        <a:t>STATUS</a:t>
                      </a:r>
                      <a:endParaRPr/>
                    </a:p>
                  </a:txBody>
                  <a:tcPr marL="24375" marR="24375" marT="24375" marB="24375" anchor="ctr">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9E9E9E">
                          <a:alpha val="0"/>
                        </a:srgbClr>
                      </a:solidFill>
                      <a:prstDash val="solid"/>
                      <a:round/>
                      <a:headEnd type="none" w="sm" len="sm"/>
                      <a:tailEnd type="none" w="sm" len="sm"/>
                    </a:lnT>
                    <a:lnB w="19050" cap="flat" cmpd="sng">
                      <a:solidFill>
                        <a:srgbClr val="FFFFFF"/>
                      </a:solidFill>
                      <a:prstDash val="solid"/>
                      <a:round/>
                      <a:headEnd type="none" w="sm" len="sm"/>
                      <a:tailEnd type="none" w="sm" len="sm"/>
                    </a:lnB>
                  </a:tcPr>
                </a:tc>
                <a:tc rowSpan="2">
                  <a:txBody>
                    <a:bodyPr/>
                    <a:lstStyle/>
                    <a:p>
                      <a:pPr marL="0" marR="0" lvl="0" indent="0" algn="l" rtl="0">
                        <a:lnSpc>
                          <a:spcPct val="100000"/>
                        </a:lnSpc>
                        <a:spcBef>
                          <a:spcPts val="0"/>
                        </a:spcBef>
                        <a:spcAft>
                          <a:spcPts val="0"/>
                        </a:spcAft>
                        <a:buClr>
                          <a:srgbClr val="000000"/>
                        </a:buClr>
                        <a:buSzPts val="800"/>
                        <a:buFont typeface="Arial"/>
                        <a:buNone/>
                      </a:pPr>
                      <a:r>
                        <a:rPr lang="en-US" sz="1000" b="1" i="0" u="none" strike="noStrike" cap="none">
                          <a:solidFill>
                            <a:schemeClr val="accent1"/>
                          </a:solidFill>
                          <a:latin typeface="Source Sans Pro Semibold"/>
                          <a:ea typeface="Source Sans Pro Semibold"/>
                          <a:cs typeface="Source Sans Pro Semibold"/>
                          <a:sym typeface="Source Sans Pro SemiBold"/>
                        </a:rPr>
                        <a:t>NOTES</a:t>
                      </a:r>
                      <a:endParaRPr/>
                    </a:p>
                  </a:txBody>
                  <a:tcPr marL="91450" marR="24375" marT="24375" marB="24375" anchor="ctr">
                    <a:lnL w="9525" cap="flat" cmpd="sng">
                      <a:solidFill>
                        <a:srgbClr val="FFFFFF"/>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rgbClr val="9E9E9E">
                          <a:alpha val="0"/>
                        </a:srgbClr>
                      </a:solidFill>
                      <a:prstDash val="solid"/>
                      <a:round/>
                      <a:headEnd type="none" w="sm" len="sm"/>
                      <a:tailEnd type="none" w="sm" len="sm"/>
                    </a:lnT>
                    <a:lnB w="9525" cap="flat" cmpd="sng">
                      <a:solidFill>
                        <a:srgbClr val="4B5C90">
                          <a:alpha val="0"/>
                        </a:srgbClr>
                      </a:solidFill>
                      <a:prstDash val="solid"/>
                      <a:round/>
                      <a:headEnd type="none" w="sm" len="sm"/>
                      <a:tailEnd type="none" w="sm" len="sm"/>
                    </a:lnB>
                  </a:tcPr>
                </a:tc>
                <a:extLst>
                  <a:ext uri="{0D108BD9-81ED-4DB2-BD59-A6C34878D82A}">
                    <a16:rowId xmlns:a16="http://schemas.microsoft.com/office/drawing/2014/main" val="10000"/>
                  </a:ext>
                </a:extLst>
              </a:tr>
              <a:tr h="198750">
                <a:tc vMerge="1">
                  <a:txBody>
                    <a:bodyPr/>
                    <a:lstStyle/>
                    <a:p>
                      <a:endParaRPr lang="en-US"/>
                    </a:p>
                  </a:txBody>
                  <a:tcPr/>
                </a:tc>
                <a:tc vMerge="1">
                  <a:txBody>
                    <a:bodyPr/>
                    <a:lstStyle/>
                    <a:p>
                      <a:endParaRPr lang="en-US"/>
                    </a:p>
                  </a:txBody>
                  <a:tcPr/>
                </a:tc>
                <a:tc>
                  <a:txBody>
                    <a:bodyPr/>
                    <a:lstStyle/>
                    <a:p>
                      <a:pPr marL="0" marR="0" lvl="0" indent="0" algn="ctr" rtl="0">
                        <a:lnSpc>
                          <a:spcPct val="100000"/>
                        </a:lnSpc>
                        <a:spcBef>
                          <a:spcPts val="0"/>
                        </a:spcBef>
                        <a:spcAft>
                          <a:spcPts val="0"/>
                        </a:spcAft>
                        <a:buClr>
                          <a:srgbClr val="000000"/>
                        </a:buClr>
                        <a:buSzPts val="900"/>
                        <a:buFont typeface="Arial"/>
                        <a:buNone/>
                      </a:pPr>
                      <a:r>
                        <a:rPr lang="en-US" sz="1000" b="1" i="0" u="none" strike="noStrike" cap="none">
                          <a:solidFill>
                            <a:schemeClr val="accent1"/>
                          </a:solidFill>
                          <a:latin typeface="Source Sans Pro Semibold"/>
                          <a:ea typeface="Source Sans Pro Semibold"/>
                          <a:cs typeface="Source Sans Pro Semibold"/>
                          <a:sym typeface="Source Sans Pro SemiBold"/>
                        </a:rPr>
                        <a:t>ENTERED</a:t>
                      </a:r>
                      <a:endParaRPr/>
                    </a:p>
                  </a:txBody>
                  <a:tcPr marL="24375" marR="24375" marT="24375" marB="24375">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4B5C90">
                          <a:alpha val="0"/>
                        </a:srgbClr>
                      </a:solidFill>
                      <a:prstDash val="solid"/>
                      <a:round/>
                      <a:headEnd type="none" w="sm" len="sm"/>
                      <a:tailEnd type="none" w="sm" len="sm"/>
                    </a:lnT>
                    <a:lnB w="9525" cap="flat" cmpd="sng">
                      <a:solidFill>
                        <a:srgbClr val="4B5C90">
                          <a:alpha val="0"/>
                        </a:srgbClr>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rgbClr val="000000"/>
                        </a:buClr>
                        <a:buSzPts val="900"/>
                        <a:buFont typeface="Arial"/>
                        <a:buNone/>
                      </a:pPr>
                      <a:r>
                        <a:rPr lang="en-US" sz="1000" b="1" i="0" u="none" strike="noStrike" cap="none">
                          <a:solidFill>
                            <a:schemeClr val="accent1"/>
                          </a:solidFill>
                          <a:latin typeface="Source Sans Pro Semibold"/>
                          <a:ea typeface="Source Sans Pro Semibold"/>
                          <a:cs typeface="Source Sans Pro Semibold"/>
                          <a:sym typeface="Source Sans Pro SemiBold"/>
                        </a:rPr>
                        <a:t>CLOSED</a:t>
                      </a:r>
                      <a:endParaRPr/>
                    </a:p>
                  </a:txBody>
                  <a:tcPr marL="24375" marR="24375" marT="24375" marB="24375">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4B5C90">
                          <a:alpha val="0"/>
                        </a:srgbClr>
                      </a:solidFill>
                      <a:prstDash val="solid"/>
                      <a:round/>
                      <a:headEnd type="none" w="sm" len="sm"/>
                      <a:tailEnd type="none" w="sm" len="sm"/>
                    </a:lnT>
                    <a:lnB w="9525" cap="flat" cmpd="sng">
                      <a:solidFill>
                        <a:srgbClr val="4B5C90">
                          <a:alpha val="0"/>
                        </a:srgbClr>
                      </a:solidFill>
                      <a:prstDash val="solid"/>
                      <a:round/>
                      <a:headEnd type="none" w="sm" len="sm"/>
                      <a:tailEnd type="none" w="sm" len="sm"/>
                    </a:lnB>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10001"/>
                  </a:ext>
                </a:extLst>
              </a:tr>
              <a:tr h="395975">
                <a:tc>
                  <a:txBody>
                    <a:bodyPr/>
                    <a:lstStyle/>
                    <a:p>
                      <a:pPr marL="0" marR="0" lvl="0" indent="0" algn="l" rtl="0">
                        <a:lnSpc>
                          <a:spcPct val="100000"/>
                        </a:lnSpc>
                        <a:spcBef>
                          <a:spcPts val="0"/>
                        </a:spcBef>
                        <a:spcAft>
                          <a:spcPts val="0"/>
                        </a:spcAft>
                        <a:buClr>
                          <a:srgbClr val="000000"/>
                        </a:buClr>
                        <a:buSzPts val="800"/>
                        <a:buFont typeface="Arial"/>
                        <a:buNone/>
                      </a:pPr>
                      <a:r>
                        <a:rPr lang="en-US" sz="1050" u="none" strike="noStrike" cap="none">
                          <a:solidFill>
                            <a:schemeClr val="dk2"/>
                          </a:solidFill>
                          <a:latin typeface="Source Sans Pro"/>
                          <a:ea typeface="Source Sans Pro"/>
                          <a:cs typeface="Source Sans Pro"/>
                          <a:sym typeface="Source Sans Pro"/>
                        </a:rPr>
                        <a:t>IRS stakeholder is outside of VA ecosystem.  Building without guidance or legal review regarding compliance with IRS regulation could result in risk.</a:t>
                      </a:r>
                      <a:endParaRPr sz="1050" u="none" strike="noStrike" cap="none">
                        <a:solidFill>
                          <a:schemeClr val="dk2"/>
                        </a:solidFill>
                        <a:latin typeface="Source Sans Pro"/>
                        <a:ea typeface="Source Sans Pro"/>
                        <a:cs typeface="Source Sans Pro"/>
                        <a:sym typeface="Source Sans Pro"/>
                      </a:endParaRPr>
                    </a:p>
                  </a:txBody>
                  <a:tcPr marL="24375" marR="182875" marT="91450" marB="91450">
                    <a:lnL w="9525" cap="flat" cmpd="sng">
                      <a:solidFill>
                        <a:srgbClr val="4B5C90">
                          <a:alpha val="0"/>
                        </a:srgbClr>
                      </a:solidFill>
                      <a:prstDash val="solid"/>
                      <a:round/>
                      <a:headEnd type="none" w="sm" len="sm"/>
                      <a:tailEnd type="none" w="sm" len="sm"/>
                    </a:lnL>
                    <a:lnR w="9525" cap="flat" cmpd="sng" algn="ctr">
                      <a:solidFill>
                        <a:srgbClr val="4B5C90">
                          <a:alpha val="0"/>
                        </a:srgbClr>
                      </a:solidFill>
                      <a:prstDash val="solid"/>
                      <a:round/>
                      <a:headEnd type="none" w="sm" len="sm"/>
                      <a:tailEnd type="none" w="sm" len="sm"/>
                    </a:lnR>
                    <a:lnT w="9525" cap="flat" cmpd="sng" algn="ctr">
                      <a:solidFill>
                        <a:srgbClr val="4B5C90">
                          <a:alpha val="0"/>
                        </a:srgbClr>
                      </a:solidFill>
                      <a:prstDash val="solid"/>
                      <a:round/>
                      <a:headEnd type="none" w="sm" len="sm"/>
                      <a:tailEnd type="none" w="sm" len="sm"/>
                    </a:lnT>
                    <a:lnB w="3175" cap="flat" cmpd="sng" algn="ctr">
                      <a:solidFill>
                        <a:schemeClr val="tx1"/>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rgbClr val="000000"/>
                        </a:buClr>
                        <a:buSzPts val="800"/>
                        <a:buFont typeface="Arial"/>
                        <a:buNone/>
                      </a:pPr>
                      <a:r>
                        <a:rPr lang="en-US" sz="1050" u="none" strike="noStrike" cap="none">
                          <a:solidFill>
                            <a:schemeClr val="dk2"/>
                          </a:solidFill>
                          <a:latin typeface="Source Sans Pro"/>
                          <a:ea typeface="Source Sans Pro"/>
                          <a:cs typeface="Source Sans Pro"/>
                          <a:sym typeface="Source Sans Pro"/>
                        </a:rPr>
                        <a:t> Conduct research on available information surrounding current IRS 1095-B tax form regulations.  Seek legal review through VA resources as directed by VA-PO and Business Owner</a:t>
                      </a:r>
                    </a:p>
                  </a:txBody>
                  <a:tcPr marL="24375" marR="182875" marT="91450" marB="91450" anchor="ctr">
                    <a:lnL w="9525" cap="flat" cmpd="sng" algn="ctr">
                      <a:solidFill>
                        <a:srgbClr val="4B5C90">
                          <a:alpha val="0"/>
                        </a:srgbClr>
                      </a:solidFill>
                      <a:prstDash val="solid"/>
                      <a:round/>
                      <a:headEnd type="none" w="sm" len="sm"/>
                      <a:tailEnd type="none" w="sm" len="sm"/>
                    </a:lnL>
                    <a:lnR w="9525" cap="flat" cmpd="sng" algn="ctr">
                      <a:solidFill>
                        <a:srgbClr val="4B5C90">
                          <a:alpha val="0"/>
                        </a:srgbClr>
                      </a:solidFill>
                      <a:prstDash val="solid"/>
                      <a:round/>
                      <a:headEnd type="none" w="sm" len="sm"/>
                      <a:tailEnd type="none" w="sm" len="sm"/>
                    </a:lnR>
                    <a:lnT w="9525" cap="flat" cmpd="sng" algn="ctr">
                      <a:solidFill>
                        <a:srgbClr val="4B5C90">
                          <a:alpha val="0"/>
                        </a:srgbClr>
                      </a:solidFill>
                      <a:prstDash val="solid"/>
                      <a:round/>
                      <a:headEnd type="none" w="sm" len="sm"/>
                      <a:tailEnd type="none" w="sm" len="sm"/>
                    </a:lnT>
                    <a:lnB w="3175" cap="flat" cmpd="sng" algn="ctr">
                      <a:solidFill>
                        <a:schemeClr val="tx1"/>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rgbClr val="000000"/>
                        </a:buClr>
                        <a:buSzPts val="800"/>
                        <a:buFont typeface="Arial"/>
                        <a:buNone/>
                      </a:pPr>
                      <a:r>
                        <a:rPr lang="en-US" sz="1100" u="none" strike="noStrike" cap="none">
                          <a:solidFill>
                            <a:schemeClr val="dk2"/>
                          </a:solidFill>
                          <a:latin typeface="Source Sans Pro"/>
                          <a:ea typeface="Source Sans Pro"/>
                          <a:cs typeface="Source Sans Pro"/>
                          <a:sym typeface="Source Sans Pro"/>
                        </a:rPr>
                        <a:t>1/20/22</a:t>
                      </a:r>
                      <a:endParaRPr sz="1100" u="none" strike="noStrike" cap="none">
                        <a:solidFill>
                          <a:srgbClr val="303A46"/>
                        </a:solidFill>
                        <a:latin typeface="Source Sans Pro"/>
                        <a:ea typeface="Source Sans Pro"/>
                        <a:cs typeface="Source Sans Pro"/>
                        <a:sym typeface="Source Sans Pro"/>
                      </a:endParaRPr>
                    </a:p>
                  </a:txBody>
                  <a:tcPr marL="24375" marR="24375" marT="91450" marB="91450" anchor="ctr">
                    <a:lnL w="9525" cap="flat" cmpd="sng" algn="ctr">
                      <a:solidFill>
                        <a:srgbClr val="4B5C90">
                          <a:alpha val="0"/>
                        </a:srgbClr>
                      </a:solidFill>
                      <a:prstDash val="solid"/>
                      <a:round/>
                      <a:headEnd type="none" w="sm" len="sm"/>
                      <a:tailEnd type="none" w="sm" len="sm"/>
                    </a:lnL>
                    <a:lnR w="9525" cap="flat" cmpd="sng" algn="ctr">
                      <a:solidFill>
                        <a:srgbClr val="4B5C90">
                          <a:alpha val="0"/>
                        </a:srgbClr>
                      </a:solidFill>
                      <a:prstDash val="solid"/>
                      <a:round/>
                      <a:headEnd type="none" w="sm" len="sm"/>
                      <a:tailEnd type="none" w="sm" len="sm"/>
                    </a:lnR>
                    <a:lnT w="9525" cap="flat" cmpd="sng" algn="ctr">
                      <a:solidFill>
                        <a:srgbClr val="4B5C90">
                          <a:alpha val="0"/>
                        </a:srgbClr>
                      </a:solidFill>
                      <a:prstDash val="solid"/>
                      <a:round/>
                      <a:headEnd type="none" w="sm" len="sm"/>
                      <a:tailEnd type="none" w="sm" len="sm"/>
                    </a:lnT>
                    <a:lnB w="3175" cap="flat" cmpd="sng" algn="ctr">
                      <a:solidFill>
                        <a:schemeClr val="tx1"/>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rgbClr val="000000"/>
                        </a:buClr>
                        <a:buSzPts val="800"/>
                        <a:buFont typeface="Arial"/>
                        <a:buNone/>
                      </a:pPr>
                      <a:r>
                        <a:rPr lang="en-US" sz="1100" u="none" strike="noStrike" cap="none">
                          <a:solidFill>
                            <a:schemeClr val="dk2"/>
                          </a:solidFill>
                          <a:latin typeface="Source Sans Pro"/>
                          <a:ea typeface="Source Sans Pro"/>
                          <a:cs typeface="Source Sans Pro"/>
                          <a:sym typeface="Source Sans Pro"/>
                        </a:rPr>
                        <a:t>2/11/22</a:t>
                      </a:r>
                    </a:p>
                  </a:txBody>
                  <a:tcPr marL="24375" marR="24375" marT="91450" marB="91450" anchor="ctr">
                    <a:lnL w="9525" cap="flat" cmpd="sng" algn="ctr">
                      <a:solidFill>
                        <a:srgbClr val="4B5C90">
                          <a:alpha val="0"/>
                        </a:srgbClr>
                      </a:solidFill>
                      <a:prstDash val="solid"/>
                      <a:round/>
                      <a:headEnd type="none" w="sm" len="sm"/>
                      <a:tailEnd type="none" w="sm" len="sm"/>
                    </a:lnL>
                    <a:lnR w="19050" cap="flat" cmpd="sng" algn="ctr">
                      <a:solidFill>
                        <a:srgbClr val="FFFFFF"/>
                      </a:solidFill>
                      <a:prstDash val="solid"/>
                      <a:round/>
                      <a:headEnd type="none" w="sm" len="sm"/>
                      <a:tailEnd type="none" w="sm" len="sm"/>
                    </a:lnR>
                    <a:lnT w="9525" cap="flat" cmpd="sng" algn="ctr">
                      <a:solidFill>
                        <a:srgbClr val="4B5C90">
                          <a:alpha val="0"/>
                        </a:srgbClr>
                      </a:solidFill>
                      <a:prstDash val="solid"/>
                      <a:round/>
                      <a:headEnd type="none" w="sm" len="sm"/>
                      <a:tailEnd type="none" w="sm" len="sm"/>
                    </a:lnT>
                    <a:lnB w="3175" cap="flat" cmpd="sng" algn="ctr">
                      <a:solidFill>
                        <a:schemeClr val="tx1"/>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rgbClr val="000000"/>
                        </a:buClr>
                        <a:buSzPts val="1050"/>
                        <a:buFont typeface="Arial"/>
                        <a:buNone/>
                      </a:pPr>
                      <a:endParaRPr sz="1050" u="none" strike="noStrike" cap="none">
                        <a:solidFill>
                          <a:schemeClr val="dk2"/>
                        </a:solidFill>
                        <a:latin typeface="Source Sans Pro"/>
                        <a:ea typeface="Source Sans Pro"/>
                        <a:cs typeface="Source Sans Pro"/>
                        <a:sym typeface="Source Sans Pro"/>
                      </a:endParaRPr>
                    </a:p>
                  </a:txBody>
                  <a:tcPr marL="24375" marR="24375" marT="91450" marB="91450" anchor="ctr">
                    <a:lnL w="19050" cap="flat" cmpd="sng" algn="ctr">
                      <a:solidFill>
                        <a:srgbClr val="FFFFFF"/>
                      </a:solidFill>
                      <a:prstDash val="solid"/>
                      <a:round/>
                      <a:headEnd type="none" w="sm" len="sm"/>
                      <a:tailEnd type="none" w="sm" len="sm"/>
                    </a:lnL>
                    <a:lnR w="19050" cap="flat" cmpd="sng" algn="ctr">
                      <a:solidFill>
                        <a:srgbClr val="FFFFFF"/>
                      </a:solidFill>
                      <a:prstDash val="solid"/>
                      <a:round/>
                      <a:headEnd type="none" w="sm" len="sm"/>
                      <a:tailEnd type="none" w="sm" len="sm"/>
                    </a:lnR>
                    <a:lnT w="19050" cap="flat" cmpd="sng" algn="ctr">
                      <a:solidFill>
                        <a:srgbClr val="FFFFFF"/>
                      </a:solidFill>
                      <a:prstDash val="solid"/>
                      <a:round/>
                      <a:headEnd type="none" w="sm" len="sm"/>
                      <a:tailEnd type="none" w="sm" len="sm"/>
                    </a:lnT>
                    <a:lnB w="3175" cap="flat" cmpd="sng" algn="ctr">
                      <a:solidFill>
                        <a:schemeClr val="tx1"/>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rgbClr val="000000"/>
                        </a:buClr>
                        <a:buSzPts val="1100"/>
                        <a:buFont typeface="Arial"/>
                        <a:buNone/>
                      </a:pPr>
                      <a:r>
                        <a:rPr lang="en-US" sz="1050" u="none" strike="noStrike" cap="none">
                          <a:solidFill>
                            <a:schemeClr val="dk2"/>
                          </a:solidFill>
                          <a:latin typeface="Source Sans Pro"/>
                          <a:ea typeface="Source Sans Pro"/>
                          <a:cs typeface="Source Sans Pro"/>
                          <a:sym typeface="Source Sans Pro"/>
                        </a:rPr>
                        <a:t>VA Business Owner clarified that IRS review is not needed</a:t>
                      </a:r>
                    </a:p>
                  </a:txBody>
                  <a:tcPr marL="91450" marR="24375" marT="91450" marB="91450" anchor="ctr">
                    <a:lnL w="19050" cap="flat" cmpd="sng" algn="ctr">
                      <a:solidFill>
                        <a:srgbClr val="FFFFFF"/>
                      </a:solidFill>
                      <a:prstDash val="solid"/>
                      <a:round/>
                      <a:headEnd type="none" w="sm" len="sm"/>
                      <a:tailEnd type="none" w="sm" len="sm"/>
                    </a:lnL>
                    <a:lnR w="9525" cap="flat" cmpd="sng">
                      <a:solidFill>
                        <a:srgbClr val="4B5C90">
                          <a:alpha val="0"/>
                        </a:srgbClr>
                      </a:solidFill>
                      <a:prstDash val="solid"/>
                      <a:round/>
                      <a:headEnd type="none" w="sm" len="sm"/>
                      <a:tailEnd type="none" w="sm" len="sm"/>
                    </a:lnR>
                    <a:lnT w="9525" cap="flat" cmpd="sng" algn="ctr">
                      <a:solidFill>
                        <a:srgbClr val="4B5C90">
                          <a:alpha val="0"/>
                        </a:srgbClr>
                      </a:solidFill>
                      <a:prstDash val="solid"/>
                      <a:round/>
                      <a:headEnd type="none" w="sm" len="sm"/>
                      <a:tailEnd type="none" w="sm" len="sm"/>
                    </a:lnT>
                    <a:lnB w="3175" cap="flat" cmpd="sng" algn="ctr">
                      <a:solidFill>
                        <a:schemeClr val="tx1"/>
                      </a:solidFill>
                      <a:prstDash val="solid"/>
                      <a:round/>
                      <a:headEnd type="none" w="sm" len="sm"/>
                      <a:tailEnd type="none" w="sm" len="sm"/>
                    </a:lnB>
                  </a:tcPr>
                </a:tc>
                <a:extLst>
                  <a:ext uri="{0D108BD9-81ED-4DB2-BD59-A6C34878D82A}">
                    <a16:rowId xmlns:a16="http://schemas.microsoft.com/office/drawing/2014/main" val="10005"/>
                  </a:ext>
                </a:extLst>
              </a:tr>
              <a:tr h="395975">
                <a:tc>
                  <a:txBody>
                    <a:bodyPr/>
                    <a:lstStyle/>
                    <a:p>
                      <a:pPr marL="0" lvl="0" indent="0" algn="l">
                        <a:lnSpc>
                          <a:spcPct val="100000"/>
                        </a:lnSpc>
                        <a:spcBef>
                          <a:spcPts val="0"/>
                        </a:spcBef>
                        <a:spcAft>
                          <a:spcPts val="0"/>
                        </a:spcAft>
                        <a:buNone/>
                      </a:pPr>
                      <a:r>
                        <a:rPr lang="en-US" sz="1050" u="none" strike="noStrike" cap="none">
                          <a:solidFill>
                            <a:schemeClr val="dk2"/>
                          </a:solidFill>
                          <a:latin typeface="Source Sans Pro"/>
                          <a:ea typeface="Source Sans Pro"/>
                          <a:cs typeface="Source Sans Pro"/>
                        </a:rPr>
                        <a:t>Team had previously confirmed with Business Owner that legal review was not needed. Business Owner clarified that legal review would be needed as of March 2nd</a:t>
                      </a:r>
                      <a:endParaRPr sz="1050" u="none" strike="noStrike" cap="none">
                        <a:solidFill>
                          <a:schemeClr val="dk2"/>
                        </a:solidFill>
                        <a:latin typeface="Source Sans Pro"/>
                        <a:ea typeface="Source Sans Pro"/>
                        <a:cs typeface="Source Sans Pro"/>
                        <a:sym typeface="Source Sans Pro"/>
                      </a:endParaRPr>
                    </a:p>
                  </a:txBody>
                  <a:tcPr marL="24375" marR="182875" marT="91450" marB="91450">
                    <a:lnL w="9524">
                      <a:solidFill>
                        <a:srgbClr val="4B5C90">
                          <a:alpha val="0"/>
                        </a:srgbClr>
                      </a:solidFill>
                    </a:lnL>
                    <a:lnR w="9524">
                      <a:solidFill>
                        <a:srgbClr val="4B5C90">
                          <a:alpha val="0"/>
                        </a:srgbClr>
                      </a:solidFill>
                    </a:lnR>
                    <a:lnT w="3175" cap="flat" cmpd="sng" algn="ctr">
                      <a:solidFill>
                        <a:schemeClr val="tx1"/>
                      </a:solidFill>
                      <a:prstDash val="solid"/>
                      <a:round/>
                      <a:headEnd type="none" w="sm" len="sm"/>
                      <a:tailEnd type="none" w="sm" len="sm"/>
                    </a:lnT>
                    <a:lnB w="3175">
                      <a:solidFill>
                        <a:schemeClr val="tx1"/>
                      </a:solidFill>
                    </a:lnB>
                  </a:tcPr>
                </a:tc>
                <a:tc>
                  <a:txBody>
                    <a:bodyPr/>
                    <a:lstStyle/>
                    <a:p>
                      <a:pPr marL="0" lvl="0" indent="0" algn="l">
                        <a:lnSpc>
                          <a:spcPct val="100000"/>
                        </a:lnSpc>
                        <a:spcBef>
                          <a:spcPts val="0"/>
                        </a:spcBef>
                        <a:spcAft>
                          <a:spcPts val="0"/>
                        </a:spcAft>
                        <a:buNone/>
                      </a:pPr>
                      <a:r>
                        <a:rPr lang="en-US" sz="1050" u="none" strike="noStrike" cap="none">
                          <a:solidFill>
                            <a:schemeClr val="dk2"/>
                          </a:solidFill>
                          <a:latin typeface="Source Sans Pro"/>
                          <a:ea typeface="Source Sans Pro"/>
                          <a:cs typeface="Source Sans Pro"/>
                        </a:rPr>
                        <a:t>Business Owner is seeking a POC with the Office of General Counsel to understand what is needed and potential launch impact</a:t>
                      </a:r>
                      <a:endParaRPr sz="1050" u="none" strike="noStrike" cap="none">
                        <a:solidFill>
                          <a:schemeClr val="dk2"/>
                        </a:solidFill>
                        <a:latin typeface="Source Sans Pro"/>
                        <a:ea typeface="Source Sans Pro"/>
                        <a:cs typeface="Source Sans Pro"/>
                        <a:sym typeface="Source Sans Pro"/>
                      </a:endParaRPr>
                    </a:p>
                  </a:txBody>
                  <a:tcPr marL="24375" marR="182875" marT="91450" marB="91450">
                    <a:lnL w="9524">
                      <a:solidFill>
                        <a:srgbClr val="4B5C90">
                          <a:alpha val="0"/>
                        </a:srgbClr>
                      </a:solidFill>
                    </a:lnL>
                    <a:lnR w="9524">
                      <a:solidFill>
                        <a:srgbClr val="4B5C90">
                          <a:alpha val="0"/>
                        </a:srgbClr>
                      </a:solidFill>
                    </a:lnR>
                    <a:lnT w="3175" cap="flat" cmpd="sng" algn="ctr">
                      <a:solidFill>
                        <a:schemeClr val="tx1"/>
                      </a:solidFill>
                      <a:prstDash val="solid"/>
                      <a:round/>
                      <a:headEnd type="none" w="sm" len="sm"/>
                      <a:tailEnd type="none" w="sm" len="sm"/>
                    </a:lnT>
                    <a:lnB w="3175">
                      <a:solidFill>
                        <a:schemeClr val="tx1"/>
                      </a:solidFill>
                    </a:lnB>
                  </a:tcPr>
                </a:tc>
                <a:tc>
                  <a:txBody>
                    <a:bodyPr/>
                    <a:lstStyle/>
                    <a:p>
                      <a:pPr marL="0" lvl="0" indent="0" algn="ctr">
                        <a:lnSpc>
                          <a:spcPct val="100000"/>
                        </a:lnSpc>
                        <a:spcBef>
                          <a:spcPts val="0"/>
                        </a:spcBef>
                        <a:spcAft>
                          <a:spcPts val="0"/>
                        </a:spcAft>
                        <a:buNone/>
                      </a:pPr>
                      <a:r>
                        <a:rPr lang="en-US" sz="1100" u="none" strike="noStrike" cap="none">
                          <a:solidFill>
                            <a:schemeClr val="dk2"/>
                          </a:solidFill>
                          <a:latin typeface="Source Sans Pro"/>
                          <a:ea typeface="Source Sans Pro"/>
                          <a:cs typeface="Source Sans Pro"/>
                        </a:rPr>
                        <a:t>3/2/22</a:t>
                      </a:r>
                      <a:endParaRPr sz="1100" u="none" strike="noStrike" cap="none">
                        <a:solidFill>
                          <a:schemeClr val="dk2"/>
                        </a:solidFill>
                        <a:latin typeface="Source Sans Pro"/>
                        <a:ea typeface="Source Sans Pro"/>
                        <a:cs typeface="Source Sans Pro"/>
                        <a:sym typeface="Source Sans Pro"/>
                      </a:endParaRPr>
                    </a:p>
                  </a:txBody>
                  <a:tcPr marL="24375" marR="24375" marT="91450" marB="91450">
                    <a:lnL w="9524">
                      <a:solidFill>
                        <a:srgbClr val="4B5C90">
                          <a:alpha val="0"/>
                        </a:srgbClr>
                      </a:solidFill>
                    </a:lnL>
                    <a:lnR w="9524">
                      <a:solidFill>
                        <a:srgbClr val="4B5C90">
                          <a:alpha val="0"/>
                        </a:srgbClr>
                      </a:solidFill>
                    </a:lnR>
                    <a:lnT w="3175" cap="flat" cmpd="sng" algn="ctr">
                      <a:solidFill>
                        <a:schemeClr val="tx1"/>
                      </a:solidFill>
                      <a:prstDash val="solid"/>
                      <a:round/>
                      <a:headEnd type="none" w="sm" len="sm"/>
                      <a:tailEnd type="none" w="sm" len="sm"/>
                    </a:lnT>
                    <a:lnB w="3175">
                      <a:solidFill>
                        <a:schemeClr val="tx1"/>
                      </a:solidFill>
                    </a:lnB>
                  </a:tcPr>
                </a:tc>
                <a:tc>
                  <a:txBody>
                    <a:bodyPr/>
                    <a:lstStyle/>
                    <a:p>
                      <a:pPr marL="0" lvl="0" indent="0" algn="ctr">
                        <a:lnSpc>
                          <a:spcPct val="100000"/>
                        </a:lnSpc>
                        <a:spcBef>
                          <a:spcPts val="0"/>
                        </a:spcBef>
                        <a:spcAft>
                          <a:spcPts val="0"/>
                        </a:spcAft>
                        <a:buNone/>
                      </a:pPr>
                      <a:endParaRPr sz="1100" u="none" strike="noStrike" cap="none">
                        <a:solidFill>
                          <a:schemeClr val="dk2"/>
                        </a:solidFill>
                        <a:latin typeface="Source Sans Pro"/>
                        <a:ea typeface="Source Sans Pro"/>
                        <a:cs typeface="Source Sans Pro"/>
                        <a:sym typeface="Source Sans Pro"/>
                      </a:endParaRPr>
                    </a:p>
                  </a:txBody>
                  <a:tcPr marL="24375" marR="24375" marT="91450" marB="91450">
                    <a:lnL w="9524">
                      <a:solidFill>
                        <a:srgbClr val="4B5C90">
                          <a:alpha val="0"/>
                        </a:srgbClr>
                      </a:solidFill>
                    </a:lnL>
                    <a:lnR w="19050">
                      <a:solidFill>
                        <a:srgbClr val="FFFFFF"/>
                      </a:solidFill>
                    </a:lnR>
                    <a:lnT w="3175" cap="flat" cmpd="sng" algn="ctr">
                      <a:solidFill>
                        <a:schemeClr val="tx1"/>
                      </a:solidFill>
                      <a:prstDash val="solid"/>
                      <a:round/>
                      <a:headEnd type="none" w="sm" len="sm"/>
                      <a:tailEnd type="none" w="sm" len="sm"/>
                    </a:lnT>
                    <a:lnB w="3175">
                      <a:solidFill>
                        <a:schemeClr val="tx1"/>
                      </a:solidFill>
                    </a:lnB>
                  </a:tcPr>
                </a:tc>
                <a:tc>
                  <a:txBody>
                    <a:bodyPr/>
                    <a:lstStyle/>
                    <a:p>
                      <a:pPr marL="0" lvl="0" indent="0" algn="l">
                        <a:lnSpc>
                          <a:spcPct val="100000"/>
                        </a:lnSpc>
                        <a:spcBef>
                          <a:spcPts val="0"/>
                        </a:spcBef>
                        <a:spcAft>
                          <a:spcPts val="0"/>
                        </a:spcAft>
                        <a:buNone/>
                      </a:pPr>
                      <a:endParaRPr sz="1050" u="none" strike="noStrike" cap="none">
                        <a:solidFill>
                          <a:schemeClr val="dk2"/>
                        </a:solidFill>
                        <a:latin typeface="Source Sans Pro"/>
                        <a:ea typeface="Source Sans Pro"/>
                        <a:cs typeface="Source Sans Pro"/>
                        <a:sym typeface="Source Sans Pro"/>
                      </a:endParaRPr>
                    </a:p>
                  </a:txBody>
                  <a:tcPr marL="24375" marR="24375" marT="91450" marB="91450">
                    <a:lnL w="19050">
                      <a:solidFill>
                        <a:srgbClr val="FFFFFF"/>
                      </a:solidFill>
                    </a:lnL>
                    <a:lnR w="19050">
                      <a:solidFill>
                        <a:srgbClr val="FFFFFF"/>
                      </a:solidFill>
                    </a:lnR>
                    <a:lnT w="3175" cap="flat" cmpd="sng" algn="ctr">
                      <a:solidFill>
                        <a:schemeClr val="tx1"/>
                      </a:solidFill>
                      <a:prstDash val="solid"/>
                      <a:round/>
                      <a:headEnd type="none" w="sm" len="sm"/>
                      <a:tailEnd type="none" w="sm" len="sm"/>
                    </a:lnT>
                    <a:lnB w="3175">
                      <a:solidFill>
                        <a:schemeClr val="tx1"/>
                      </a:solidFill>
                    </a:lnB>
                  </a:tcPr>
                </a:tc>
                <a:tc>
                  <a:txBody>
                    <a:bodyPr/>
                    <a:lstStyle/>
                    <a:p>
                      <a:pPr marL="0" lvl="0" indent="0" algn="l">
                        <a:lnSpc>
                          <a:spcPct val="100000"/>
                        </a:lnSpc>
                        <a:spcBef>
                          <a:spcPts val="0"/>
                        </a:spcBef>
                        <a:spcAft>
                          <a:spcPts val="0"/>
                        </a:spcAft>
                        <a:buNone/>
                      </a:pPr>
                      <a:r>
                        <a:rPr lang="en-US" sz="1100" u="none" strike="noStrike" cap="none">
                          <a:solidFill>
                            <a:schemeClr val="dk2"/>
                          </a:solidFill>
                          <a:latin typeface="Source Sans Pro"/>
                          <a:ea typeface="Source Sans Pro"/>
                          <a:cs typeface="Source Sans Pro"/>
                        </a:rPr>
                        <a:t>Launch blocker</a:t>
                      </a:r>
                      <a:endParaRPr sz="1100" u="none" strike="noStrike" cap="none">
                        <a:solidFill>
                          <a:schemeClr val="dk2"/>
                        </a:solidFill>
                        <a:latin typeface="Source Sans Pro"/>
                        <a:ea typeface="Source Sans Pro"/>
                        <a:cs typeface="Source Sans Pro"/>
                        <a:sym typeface="Source Sans Pro"/>
                      </a:endParaRPr>
                    </a:p>
                  </a:txBody>
                  <a:tcPr marL="91450" marR="24375" marT="91450" marB="91450">
                    <a:lnL w="19050">
                      <a:solidFill>
                        <a:srgbClr val="FFFFFF"/>
                      </a:solidFill>
                    </a:lnL>
                    <a:lnR w="9524">
                      <a:solidFill>
                        <a:srgbClr val="4B5C90">
                          <a:alpha val="0"/>
                        </a:srgbClr>
                      </a:solidFill>
                    </a:lnR>
                    <a:lnT w="3175" cap="flat" cmpd="sng" algn="ctr">
                      <a:solidFill>
                        <a:schemeClr val="tx1"/>
                      </a:solidFill>
                      <a:prstDash val="solid"/>
                      <a:round/>
                      <a:headEnd type="none" w="sm" len="sm"/>
                      <a:tailEnd type="none" w="sm" len="sm"/>
                    </a:lnT>
                    <a:lnB w="3175">
                      <a:solidFill>
                        <a:schemeClr val="tx1"/>
                      </a:solidFill>
                    </a:lnB>
                  </a:tcPr>
                </a:tc>
                <a:extLst>
                  <a:ext uri="{0D108BD9-81ED-4DB2-BD59-A6C34878D82A}">
                    <a16:rowId xmlns:a16="http://schemas.microsoft.com/office/drawing/2014/main" val="2653591679"/>
                  </a:ext>
                </a:extLst>
              </a:tr>
              <a:tr h="395975">
                <a:tc>
                  <a:txBody>
                    <a:bodyPr/>
                    <a:lstStyle/>
                    <a:p>
                      <a:pPr marL="0" lvl="0" indent="0" algn="l">
                        <a:lnSpc>
                          <a:spcPct val="100000"/>
                        </a:lnSpc>
                        <a:spcBef>
                          <a:spcPts val="0"/>
                        </a:spcBef>
                        <a:spcAft>
                          <a:spcPts val="0"/>
                        </a:spcAft>
                        <a:buNone/>
                      </a:pPr>
                      <a:r>
                        <a:rPr lang="en-US" sz="1050" u="none" strike="noStrike" cap="none">
                          <a:solidFill>
                            <a:schemeClr val="dk2"/>
                          </a:solidFill>
                          <a:latin typeface="Source Sans Pro"/>
                          <a:ea typeface="Source Sans Pro"/>
                          <a:cs typeface="Source Sans Pro"/>
                        </a:rPr>
                        <a:t>Data requires storage in a S3 bucket that the enrollment system can have access to in production; process to create the staging and production bucket does not have a clear timeline. Without the S3 bucket in prod with enrollment system access, product cannot be built in prod</a:t>
                      </a:r>
                      <a:endParaRPr sz="1050" u="none" strike="noStrike" cap="none">
                        <a:solidFill>
                          <a:schemeClr val="dk2"/>
                        </a:solidFill>
                        <a:latin typeface="Source Sans Pro"/>
                        <a:ea typeface="Source Sans Pro"/>
                        <a:cs typeface="Source Sans Pro"/>
                        <a:sym typeface="Source Sans Pro"/>
                      </a:endParaRPr>
                    </a:p>
                  </a:txBody>
                  <a:tcPr marL="24375" marR="182875" marT="91450" marB="91450">
                    <a:lnL w="9524">
                      <a:solidFill>
                        <a:srgbClr val="4B5C90">
                          <a:alpha val="0"/>
                        </a:srgbClr>
                      </a:solidFill>
                    </a:lnL>
                    <a:lnR w="9524">
                      <a:solidFill>
                        <a:srgbClr val="4B5C90">
                          <a:alpha val="0"/>
                        </a:srgbClr>
                      </a:solidFill>
                    </a:lnR>
                    <a:lnT w="3175">
                      <a:solidFill>
                        <a:schemeClr val="tx1"/>
                      </a:solidFill>
                    </a:lnT>
                    <a:lnB w="3175">
                      <a:solidFill>
                        <a:schemeClr val="tx1"/>
                      </a:solidFill>
                    </a:lnB>
                  </a:tcPr>
                </a:tc>
                <a:tc>
                  <a:txBody>
                    <a:bodyPr/>
                    <a:lstStyle/>
                    <a:p>
                      <a:pPr marL="0" lvl="0" indent="0" algn="l">
                        <a:lnSpc>
                          <a:spcPct val="100000"/>
                        </a:lnSpc>
                        <a:spcBef>
                          <a:spcPts val="0"/>
                        </a:spcBef>
                        <a:spcAft>
                          <a:spcPts val="0"/>
                        </a:spcAft>
                        <a:buNone/>
                      </a:pPr>
                      <a:r>
                        <a:rPr lang="en-US" sz="1050" u="none" strike="noStrike" cap="none">
                          <a:solidFill>
                            <a:schemeClr val="dk2"/>
                          </a:solidFill>
                          <a:latin typeface="Source Sans Pro"/>
                          <a:ea typeface="Source Sans Pro"/>
                          <a:cs typeface="Source Sans Pro"/>
                        </a:rPr>
                        <a:t>Daily follow-ups with Jesse House and Mike Chelan (infrastructure team)</a:t>
                      </a:r>
                      <a:endParaRPr sz="1050" u="none" strike="noStrike" cap="none">
                        <a:solidFill>
                          <a:schemeClr val="dk2"/>
                        </a:solidFill>
                        <a:latin typeface="Source Sans Pro"/>
                        <a:ea typeface="Source Sans Pro"/>
                        <a:cs typeface="Source Sans Pro"/>
                        <a:sym typeface="Source Sans Pro"/>
                      </a:endParaRPr>
                    </a:p>
                  </a:txBody>
                  <a:tcPr marL="24375" marR="182875" marT="91450" marB="91450">
                    <a:lnL w="9524">
                      <a:solidFill>
                        <a:srgbClr val="4B5C90">
                          <a:alpha val="0"/>
                        </a:srgbClr>
                      </a:solidFill>
                    </a:lnL>
                    <a:lnR w="9524">
                      <a:solidFill>
                        <a:srgbClr val="4B5C90">
                          <a:alpha val="0"/>
                        </a:srgbClr>
                      </a:solidFill>
                    </a:lnR>
                    <a:lnT w="3175">
                      <a:solidFill>
                        <a:schemeClr val="tx1"/>
                      </a:solidFill>
                    </a:lnT>
                    <a:lnB w="3175">
                      <a:solidFill>
                        <a:schemeClr val="tx1"/>
                      </a:solidFill>
                    </a:lnB>
                  </a:tcPr>
                </a:tc>
                <a:tc>
                  <a:txBody>
                    <a:bodyPr/>
                    <a:lstStyle/>
                    <a:p>
                      <a:pPr marL="0" lvl="0" indent="0" algn="ctr">
                        <a:lnSpc>
                          <a:spcPct val="100000"/>
                        </a:lnSpc>
                        <a:spcBef>
                          <a:spcPts val="0"/>
                        </a:spcBef>
                        <a:spcAft>
                          <a:spcPts val="0"/>
                        </a:spcAft>
                        <a:buNone/>
                      </a:pPr>
                      <a:r>
                        <a:rPr lang="en-US" sz="1100" u="none" strike="noStrike" cap="none">
                          <a:solidFill>
                            <a:schemeClr val="dk2"/>
                          </a:solidFill>
                          <a:latin typeface="Source Sans Pro"/>
                          <a:ea typeface="Source Sans Pro"/>
                          <a:cs typeface="Source Sans Pro"/>
                        </a:rPr>
                        <a:t>3/1/22</a:t>
                      </a:r>
                      <a:endParaRPr sz="1100" u="none" strike="noStrike" cap="none">
                        <a:solidFill>
                          <a:schemeClr val="dk2"/>
                        </a:solidFill>
                        <a:latin typeface="Source Sans Pro"/>
                        <a:ea typeface="Source Sans Pro"/>
                        <a:cs typeface="Source Sans Pro"/>
                        <a:sym typeface="Source Sans Pro"/>
                      </a:endParaRPr>
                    </a:p>
                  </a:txBody>
                  <a:tcPr marL="24375" marR="24375" marT="91450" marB="91450">
                    <a:lnL w="9524">
                      <a:solidFill>
                        <a:srgbClr val="4B5C90">
                          <a:alpha val="0"/>
                        </a:srgbClr>
                      </a:solidFill>
                    </a:lnL>
                    <a:lnR w="9524">
                      <a:solidFill>
                        <a:srgbClr val="4B5C90">
                          <a:alpha val="0"/>
                        </a:srgbClr>
                      </a:solidFill>
                    </a:lnR>
                    <a:lnT w="3175">
                      <a:solidFill>
                        <a:schemeClr val="tx1"/>
                      </a:solidFill>
                    </a:lnT>
                    <a:lnB w="3175">
                      <a:solidFill>
                        <a:schemeClr val="tx1"/>
                      </a:solidFill>
                    </a:lnB>
                  </a:tcPr>
                </a:tc>
                <a:tc>
                  <a:txBody>
                    <a:bodyPr/>
                    <a:lstStyle/>
                    <a:p>
                      <a:pPr marL="0" lvl="0" indent="0" algn="ctr">
                        <a:lnSpc>
                          <a:spcPct val="100000"/>
                        </a:lnSpc>
                        <a:spcBef>
                          <a:spcPts val="0"/>
                        </a:spcBef>
                        <a:spcAft>
                          <a:spcPts val="0"/>
                        </a:spcAft>
                        <a:buNone/>
                      </a:pPr>
                      <a:r>
                        <a:rPr lang="en-US" sz="1100" u="none" strike="noStrike" cap="none">
                          <a:solidFill>
                            <a:schemeClr val="dk2"/>
                          </a:solidFill>
                          <a:latin typeface="Source Sans Pro"/>
                          <a:ea typeface="Source Sans Pro"/>
                          <a:cs typeface="Source Sans Pro"/>
                          <a:sym typeface="Source Sans Pro"/>
                        </a:rPr>
                        <a:t>3/24/22</a:t>
                      </a:r>
                      <a:endParaRPr sz="1100" u="none" strike="noStrike" cap="none">
                        <a:solidFill>
                          <a:schemeClr val="dk2"/>
                        </a:solidFill>
                        <a:latin typeface="Source Sans Pro"/>
                        <a:ea typeface="Source Sans Pro"/>
                        <a:cs typeface="Source Sans Pro"/>
                        <a:sym typeface="Source Sans Pro"/>
                      </a:endParaRPr>
                    </a:p>
                  </a:txBody>
                  <a:tcPr marL="24375" marR="24375" marT="91450" marB="91450">
                    <a:lnL w="9524">
                      <a:solidFill>
                        <a:srgbClr val="4B5C90">
                          <a:alpha val="0"/>
                        </a:srgbClr>
                      </a:solidFill>
                    </a:lnL>
                    <a:lnR w="19050">
                      <a:solidFill>
                        <a:srgbClr val="FFFFFF"/>
                      </a:solidFill>
                    </a:lnR>
                    <a:lnT w="3175">
                      <a:solidFill>
                        <a:schemeClr val="tx1"/>
                      </a:solidFill>
                    </a:lnT>
                    <a:lnB w="3175">
                      <a:solidFill>
                        <a:schemeClr val="tx1"/>
                      </a:solidFill>
                    </a:lnB>
                  </a:tcPr>
                </a:tc>
                <a:tc>
                  <a:txBody>
                    <a:bodyPr/>
                    <a:lstStyle/>
                    <a:p>
                      <a:pPr marL="0" lvl="0" indent="0" algn="l">
                        <a:lnSpc>
                          <a:spcPct val="100000"/>
                        </a:lnSpc>
                        <a:spcBef>
                          <a:spcPts val="0"/>
                        </a:spcBef>
                        <a:spcAft>
                          <a:spcPts val="0"/>
                        </a:spcAft>
                        <a:buNone/>
                      </a:pPr>
                      <a:endParaRPr sz="1050" u="none" strike="noStrike" cap="none">
                        <a:solidFill>
                          <a:schemeClr val="dk2"/>
                        </a:solidFill>
                        <a:latin typeface="Source Sans Pro"/>
                        <a:ea typeface="Source Sans Pro"/>
                        <a:cs typeface="Source Sans Pro"/>
                        <a:sym typeface="Source Sans Pro"/>
                      </a:endParaRPr>
                    </a:p>
                  </a:txBody>
                  <a:tcPr marL="24375" marR="24375" marT="91450" marB="91450">
                    <a:lnL w="19050">
                      <a:solidFill>
                        <a:srgbClr val="FFFFFF"/>
                      </a:solidFill>
                    </a:lnL>
                    <a:lnR w="19050">
                      <a:solidFill>
                        <a:srgbClr val="FFFFFF"/>
                      </a:solidFill>
                    </a:lnR>
                    <a:lnT w="3175">
                      <a:solidFill>
                        <a:schemeClr val="tx1"/>
                      </a:solidFill>
                    </a:lnT>
                    <a:lnB w="3175">
                      <a:solidFill>
                        <a:schemeClr val="tx1"/>
                      </a:solidFill>
                    </a:lnB>
                  </a:tcPr>
                </a:tc>
                <a:tc>
                  <a:txBody>
                    <a:bodyPr/>
                    <a:lstStyle/>
                    <a:p>
                      <a:pPr marL="0" lvl="0" indent="0" algn="l">
                        <a:lnSpc>
                          <a:spcPct val="100000"/>
                        </a:lnSpc>
                        <a:spcBef>
                          <a:spcPts val="0"/>
                        </a:spcBef>
                        <a:spcAft>
                          <a:spcPts val="0"/>
                        </a:spcAft>
                        <a:buNone/>
                      </a:pPr>
                      <a:r>
                        <a:rPr lang="en-US" sz="1100" u="none" strike="noStrike" cap="none">
                          <a:solidFill>
                            <a:schemeClr val="dk2"/>
                          </a:solidFill>
                          <a:latin typeface="Source Sans Pro"/>
                          <a:ea typeface="Source Sans Pro"/>
                          <a:cs typeface="Source Sans Pro"/>
                        </a:rPr>
                        <a:t>S3 bucket now in place. Risk resolved.</a:t>
                      </a:r>
                      <a:endParaRPr sz="1100" u="none" strike="noStrike" cap="none">
                        <a:solidFill>
                          <a:schemeClr val="dk2"/>
                        </a:solidFill>
                        <a:latin typeface="Source Sans Pro"/>
                        <a:ea typeface="Source Sans Pro"/>
                        <a:cs typeface="Source Sans Pro"/>
                        <a:sym typeface="Source Sans Pro"/>
                      </a:endParaRPr>
                    </a:p>
                  </a:txBody>
                  <a:tcPr marL="91450" marR="24375" marT="91450" marB="91450">
                    <a:lnL w="19050">
                      <a:solidFill>
                        <a:srgbClr val="FFFFFF"/>
                      </a:solidFill>
                    </a:lnL>
                    <a:lnR w="9524">
                      <a:solidFill>
                        <a:srgbClr val="4B5C90">
                          <a:alpha val="0"/>
                        </a:srgbClr>
                      </a:solidFill>
                    </a:lnR>
                    <a:lnT w="3175">
                      <a:solidFill>
                        <a:schemeClr val="tx1"/>
                      </a:solidFill>
                    </a:lnT>
                    <a:lnB w="3175">
                      <a:solidFill>
                        <a:schemeClr val="tx1"/>
                      </a:solidFill>
                    </a:lnB>
                  </a:tcPr>
                </a:tc>
                <a:extLst>
                  <a:ext uri="{0D108BD9-81ED-4DB2-BD59-A6C34878D82A}">
                    <a16:rowId xmlns:a16="http://schemas.microsoft.com/office/drawing/2014/main" val="1707708484"/>
                  </a:ext>
                </a:extLst>
              </a:tr>
              <a:tr h="395975">
                <a:tc>
                  <a:txBody>
                    <a:bodyPr/>
                    <a:lstStyle/>
                    <a:p>
                      <a:pPr marL="0" lvl="0" indent="0" algn="l">
                        <a:lnSpc>
                          <a:spcPct val="100000"/>
                        </a:lnSpc>
                        <a:spcBef>
                          <a:spcPts val="0"/>
                        </a:spcBef>
                        <a:spcAft>
                          <a:spcPts val="0"/>
                        </a:spcAft>
                        <a:buNone/>
                      </a:pPr>
                      <a:r>
                        <a:rPr lang="en-US" sz="1050" u="none" strike="noStrike" cap="none">
                          <a:solidFill>
                            <a:schemeClr val="dk2"/>
                          </a:solidFill>
                          <a:latin typeface="Source Sans Pro"/>
                          <a:ea typeface="Source Sans Pro"/>
                          <a:cs typeface="Source Sans Pro"/>
                        </a:rPr>
                        <a:t>Business owner raised User Acceptance Testing should be done with HEC Call Center</a:t>
                      </a:r>
                      <a:endParaRPr sz="1050" u="none" strike="noStrike" cap="none">
                        <a:solidFill>
                          <a:schemeClr val="dk2"/>
                        </a:solidFill>
                        <a:latin typeface="Source Sans Pro"/>
                        <a:ea typeface="Source Sans Pro"/>
                        <a:cs typeface="Source Sans Pro"/>
                        <a:sym typeface="Source Sans Pro"/>
                      </a:endParaRPr>
                    </a:p>
                  </a:txBody>
                  <a:tcPr marL="24375" marR="182875" marT="91450" marB="91450">
                    <a:lnL w="9524">
                      <a:solidFill>
                        <a:srgbClr val="4B5C90">
                          <a:alpha val="0"/>
                        </a:srgbClr>
                      </a:solidFill>
                    </a:lnL>
                    <a:lnR w="9524">
                      <a:solidFill>
                        <a:srgbClr val="4B5C90">
                          <a:alpha val="0"/>
                        </a:srgbClr>
                      </a:solidFill>
                    </a:lnR>
                    <a:lnT w="3175">
                      <a:solidFill>
                        <a:schemeClr val="tx1"/>
                      </a:solidFill>
                    </a:lnT>
                    <a:lnB w="3175">
                      <a:solidFill>
                        <a:schemeClr val="tx1"/>
                      </a:solidFill>
                    </a:lnB>
                  </a:tcPr>
                </a:tc>
                <a:tc>
                  <a:txBody>
                    <a:bodyPr/>
                    <a:lstStyle/>
                    <a:p>
                      <a:pPr marL="0" lvl="0" indent="0" algn="l">
                        <a:lnSpc>
                          <a:spcPct val="100000"/>
                        </a:lnSpc>
                        <a:spcBef>
                          <a:spcPts val="0"/>
                        </a:spcBef>
                        <a:spcAft>
                          <a:spcPts val="0"/>
                        </a:spcAft>
                        <a:buNone/>
                      </a:pPr>
                      <a:r>
                        <a:rPr lang="en-US" sz="1050" u="none" strike="noStrike" cap="none">
                          <a:solidFill>
                            <a:schemeClr val="dk2"/>
                          </a:solidFill>
                          <a:latin typeface="Source Sans Pro"/>
                          <a:ea typeface="Source Sans Pro"/>
                          <a:cs typeface="Source Sans Pro"/>
                        </a:rPr>
                        <a:t>Requested Business Owner to schedule UAT with required individuals for mid-March and book as early as possible</a:t>
                      </a:r>
                      <a:endParaRPr sz="1050" u="none" strike="noStrike" cap="none">
                        <a:solidFill>
                          <a:schemeClr val="dk2"/>
                        </a:solidFill>
                        <a:latin typeface="Source Sans Pro"/>
                        <a:ea typeface="Source Sans Pro"/>
                        <a:cs typeface="Source Sans Pro"/>
                        <a:sym typeface="Source Sans Pro"/>
                      </a:endParaRPr>
                    </a:p>
                  </a:txBody>
                  <a:tcPr marL="24375" marR="182875" marT="91450" marB="91450">
                    <a:lnL w="9524">
                      <a:solidFill>
                        <a:srgbClr val="4B5C90">
                          <a:alpha val="0"/>
                        </a:srgbClr>
                      </a:solidFill>
                    </a:lnL>
                    <a:lnR w="9524">
                      <a:solidFill>
                        <a:srgbClr val="4B5C90">
                          <a:alpha val="0"/>
                        </a:srgbClr>
                      </a:solidFill>
                    </a:lnR>
                    <a:lnT w="3175">
                      <a:solidFill>
                        <a:schemeClr val="tx1"/>
                      </a:solidFill>
                    </a:lnT>
                    <a:lnB w="3175">
                      <a:solidFill>
                        <a:schemeClr val="tx1"/>
                      </a:solidFill>
                    </a:lnB>
                  </a:tcPr>
                </a:tc>
                <a:tc>
                  <a:txBody>
                    <a:bodyPr/>
                    <a:lstStyle/>
                    <a:p>
                      <a:pPr marL="0" lvl="0" indent="0" algn="ctr">
                        <a:lnSpc>
                          <a:spcPct val="100000"/>
                        </a:lnSpc>
                        <a:spcBef>
                          <a:spcPts val="0"/>
                        </a:spcBef>
                        <a:spcAft>
                          <a:spcPts val="0"/>
                        </a:spcAft>
                        <a:buNone/>
                      </a:pPr>
                      <a:r>
                        <a:rPr lang="en-US" sz="1100" u="none" strike="noStrike" cap="none">
                          <a:solidFill>
                            <a:schemeClr val="dk2"/>
                          </a:solidFill>
                          <a:latin typeface="Source Sans Pro"/>
                          <a:ea typeface="Source Sans Pro"/>
                          <a:cs typeface="Source Sans Pro"/>
                        </a:rPr>
                        <a:t>3/2/22</a:t>
                      </a:r>
                      <a:endParaRPr sz="1100" u="none" strike="noStrike" cap="none">
                        <a:solidFill>
                          <a:schemeClr val="dk2"/>
                        </a:solidFill>
                        <a:latin typeface="Source Sans Pro"/>
                        <a:ea typeface="Source Sans Pro"/>
                        <a:cs typeface="Source Sans Pro"/>
                        <a:sym typeface="Source Sans Pro"/>
                      </a:endParaRPr>
                    </a:p>
                  </a:txBody>
                  <a:tcPr marL="24375" marR="24375" marT="91450" marB="91450">
                    <a:lnL w="9524">
                      <a:solidFill>
                        <a:srgbClr val="4B5C90">
                          <a:alpha val="0"/>
                        </a:srgbClr>
                      </a:solidFill>
                    </a:lnL>
                    <a:lnR w="9524">
                      <a:solidFill>
                        <a:srgbClr val="4B5C90">
                          <a:alpha val="0"/>
                        </a:srgbClr>
                      </a:solidFill>
                    </a:lnR>
                    <a:lnT w="3175">
                      <a:solidFill>
                        <a:schemeClr val="tx1"/>
                      </a:solidFill>
                    </a:lnT>
                    <a:lnB w="3175">
                      <a:solidFill>
                        <a:schemeClr val="tx1"/>
                      </a:solidFill>
                    </a:lnB>
                  </a:tcPr>
                </a:tc>
                <a:tc>
                  <a:txBody>
                    <a:bodyPr/>
                    <a:lstStyle/>
                    <a:p>
                      <a:pPr marL="0" lvl="0" indent="0" algn="ctr">
                        <a:lnSpc>
                          <a:spcPct val="100000"/>
                        </a:lnSpc>
                        <a:spcBef>
                          <a:spcPts val="0"/>
                        </a:spcBef>
                        <a:spcAft>
                          <a:spcPts val="0"/>
                        </a:spcAft>
                        <a:buNone/>
                      </a:pPr>
                      <a:r>
                        <a:rPr lang="en-US" sz="1100" u="none" strike="noStrike" cap="none">
                          <a:solidFill>
                            <a:schemeClr val="dk2"/>
                          </a:solidFill>
                          <a:latin typeface="Source Sans Pro"/>
                          <a:ea typeface="Source Sans Pro"/>
                          <a:cs typeface="Source Sans Pro"/>
                        </a:rPr>
                        <a:t>3/25/22</a:t>
                      </a:r>
                      <a:endParaRPr sz="1100" u="none" strike="noStrike" cap="none">
                        <a:solidFill>
                          <a:schemeClr val="dk2"/>
                        </a:solidFill>
                        <a:latin typeface="Source Sans Pro"/>
                        <a:ea typeface="Source Sans Pro"/>
                        <a:cs typeface="Source Sans Pro"/>
                        <a:sym typeface="Source Sans Pro"/>
                      </a:endParaRPr>
                    </a:p>
                  </a:txBody>
                  <a:tcPr marL="24375" marR="24375" marT="91450" marB="91450">
                    <a:lnL w="9524">
                      <a:solidFill>
                        <a:srgbClr val="4B5C90">
                          <a:alpha val="0"/>
                        </a:srgbClr>
                      </a:solidFill>
                    </a:lnL>
                    <a:lnR w="19050">
                      <a:solidFill>
                        <a:srgbClr val="FFFFFF"/>
                      </a:solidFill>
                    </a:lnR>
                    <a:lnT w="3175">
                      <a:solidFill>
                        <a:schemeClr val="tx1"/>
                      </a:solidFill>
                    </a:lnT>
                    <a:lnB w="3175">
                      <a:solidFill>
                        <a:schemeClr val="tx1"/>
                      </a:solidFill>
                    </a:lnB>
                  </a:tcPr>
                </a:tc>
                <a:tc>
                  <a:txBody>
                    <a:bodyPr/>
                    <a:lstStyle/>
                    <a:p>
                      <a:pPr marL="0" lvl="0" indent="0" algn="l">
                        <a:lnSpc>
                          <a:spcPct val="100000"/>
                        </a:lnSpc>
                        <a:spcBef>
                          <a:spcPts val="0"/>
                        </a:spcBef>
                        <a:spcAft>
                          <a:spcPts val="0"/>
                        </a:spcAft>
                        <a:buNone/>
                      </a:pPr>
                      <a:endParaRPr sz="1050" u="none" strike="noStrike" cap="none">
                        <a:solidFill>
                          <a:schemeClr val="dk2"/>
                        </a:solidFill>
                        <a:latin typeface="Source Sans Pro"/>
                        <a:ea typeface="Source Sans Pro"/>
                        <a:cs typeface="Source Sans Pro"/>
                        <a:sym typeface="Source Sans Pro"/>
                      </a:endParaRPr>
                    </a:p>
                  </a:txBody>
                  <a:tcPr marL="24375" marR="24375" marT="91450" marB="91450">
                    <a:lnL w="19050">
                      <a:solidFill>
                        <a:srgbClr val="FFFFFF"/>
                      </a:solidFill>
                    </a:lnL>
                    <a:lnR w="19050">
                      <a:solidFill>
                        <a:srgbClr val="FFFFFF"/>
                      </a:solidFill>
                    </a:lnR>
                    <a:lnT w="3175">
                      <a:solidFill>
                        <a:schemeClr val="tx1"/>
                      </a:solidFill>
                    </a:lnT>
                    <a:lnB w="3175">
                      <a:solidFill>
                        <a:schemeClr val="tx1"/>
                      </a:solidFill>
                    </a:lnB>
                  </a:tcPr>
                </a:tc>
                <a:tc>
                  <a:txBody>
                    <a:bodyPr/>
                    <a:lstStyle/>
                    <a:p>
                      <a:pPr marL="0" lvl="0" indent="0" algn="l">
                        <a:lnSpc>
                          <a:spcPct val="100000"/>
                        </a:lnSpc>
                        <a:spcBef>
                          <a:spcPts val="0"/>
                        </a:spcBef>
                        <a:spcAft>
                          <a:spcPts val="0"/>
                        </a:spcAft>
                        <a:buNone/>
                      </a:pPr>
                      <a:r>
                        <a:rPr lang="en-US" sz="1100" u="none" strike="noStrike" cap="none">
                          <a:solidFill>
                            <a:schemeClr val="dk2"/>
                          </a:solidFill>
                          <a:latin typeface="Source Sans Pro"/>
                          <a:ea typeface="Source Sans Pro"/>
                          <a:cs typeface="Source Sans Pro"/>
                        </a:rPr>
                        <a:t>Business owner confirmed that UAT can be done through Collaboration Cycle and does not have to be done with HEC team</a:t>
                      </a:r>
                      <a:endParaRPr sz="1100" u="none" strike="noStrike" cap="none">
                        <a:solidFill>
                          <a:schemeClr val="dk2"/>
                        </a:solidFill>
                        <a:latin typeface="Source Sans Pro"/>
                        <a:ea typeface="Source Sans Pro"/>
                        <a:cs typeface="Source Sans Pro"/>
                        <a:sym typeface="Source Sans Pro"/>
                      </a:endParaRPr>
                    </a:p>
                  </a:txBody>
                  <a:tcPr marL="91450" marR="24375" marT="91450" marB="91450">
                    <a:lnL w="19050">
                      <a:solidFill>
                        <a:srgbClr val="FFFFFF"/>
                      </a:solidFill>
                    </a:lnL>
                    <a:lnR w="9524">
                      <a:solidFill>
                        <a:srgbClr val="4B5C90">
                          <a:alpha val="0"/>
                        </a:srgbClr>
                      </a:solidFill>
                    </a:lnR>
                    <a:lnT w="3175">
                      <a:solidFill>
                        <a:schemeClr val="tx1"/>
                      </a:solidFill>
                    </a:lnT>
                    <a:lnB w="3175">
                      <a:solidFill>
                        <a:schemeClr val="tx1"/>
                      </a:solidFill>
                    </a:lnB>
                  </a:tcPr>
                </a:tc>
                <a:extLst>
                  <a:ext uri="{0D108BD9-81ED-4DB2-BD59-A6C34878D82A}">
                    <a16:rowId xmlns:a16="http://schemas.microsoft.com/office/drawing/2014/main" val="1674001478"/>
                  </a:ext>
                </a:extLst>
              </a:tr>
              <a:tr h="395975">
                <a:tc>
                  <a:txBody>
                    <a:bodyPr/>
                    <a:lstStyle/>
                    <a:p>
                      <a:pPr marL="0" lvl="0" indent="0" algn="l">
                        <a:lnSpc>
                          <a:spcPct val="100000"/>
                        </a:lnSpc>
                        <a:spcBef>
                          <a:spcPts val="0"/>
                        </a:spcBef>
                        <a:spcAft>
                          <a:spcPts val="0"/>
                        </a:spcAft>
                        <a:buNone/>
                      </a:pPr>
                      <a:r>
                        <a:rPr lang="en-US" sz="1050" u="none" strike="noStrike" cap="none">
                          <a:solidFill>
                            <a:schemeClr val="dk2"/>
                          </a:solidFill>
                          <a:latin typeface="Source Sans Pro"/>
                          <a:ea typeface="Source Sans Pro"/>
                          <a:cs typeface="Source Sans Pro"/>
                        </a:rPr>
                        <a:t>Feedback from Content and IA Review has taken over a week to come in; feedback is changing our proposal for the H1 and delaying confirmation of where the 1095-B landing page should live, which in turn delays our ability to complete the front end (top nav and side nav bars)</a:t>
                      </a:r>
                      <a:endParaRPr sz="1050" u="none" strike="noStrike" cap="none">
                        <a:solidFill>
                          <a:schemeClr val="dk2"/>
                        </a:solidFill>
                        <a:latin typeface="Source Sans Pro"/>
                        <a:ea typeface="Source Sans Pro"/>
                        <a:cs typeface="Source Sans Pro"/>
                        <a:sym typeface="Source Sans Pro"/>
                      </a:endParaRPr>
                    </a:p>
                  </a:txBody>
                  <a:tcPr marL="24375" marR="182875" marT="91450" marB="91450">
                    <a:lnL w="9524">
                      <a:solidFill>
                        <a:srgbClr val="4B5C90">
                          <a:alpha val="0"/>
                        </a:srgbClr>
                      </a:solidFill>
                    </a:lnL>
                    <a:lnR w="9524">
                      <a:solidFill>
                        <a:srgbClr val="4B5C90">
                          <a:alpha val="0"/>
                        </a:srgbClr>
                      </a:solidFill>
                    </a:lnR>
                    <a:lnT w="3175">
                      <a:solidFill>
                        <a:schemeClr val="tx1"/>
                      </a:solidFill>
                    </a:lnT>
                    <a:lnB w="3175">
                      <a:solidFill>
                        <a:schemeClr val="tx1"/>
                      </a:solidFill>
                    </a:lnB>
                  </a:tcPr>
                </a:tc>
                <a:tc>
                  <a:txBody>
                    <a:bodyPr/>
                    <a:lstStyle/>
                    <a:p>
                      <a:pPr marL="0" lvl="0" indent="0" algn="l">
                        <a:lnSpc>
                          <a:spcPct val="100000"/>
                        </a:lnSpc>
                        <a:spcBef>
                          <a:spcPts val="0"/>
                        </a:spcBef>
                        <a:spcAft>
                          <a:spcPts val="0"/>
                        </a:spcAft>
                        <a:buNone/>
                      </a:pPr>
                      <a:r>
                        <a:rPr lang="en-US" sz="1050" u="none" strike="noStrike" cap="none">
                          <a:solidFill>
                            <a:schemeClr val="dk2"/>
                          </a:solidFill>
                          <a:latin typeface="Source Sans Pro"/>
                          <a:ea typeface="Source Sans Pro"/>
                          <a:cs typeface="Source Sans Pro"/>
                        </a:rPr>
                        <a:t>Design team pushing on IA team to confirm final answer of where 1095-B landing page should live and what the H1 header title should be</a:t>
                      </a:r>
                      <a:endParaRPr sz="1050" u="none" strike="noStrike" cap="none">
                        <a:solidFill>
                          <a:schemeClr val="dk2"/>
                        </a:solidFill>
                        <a:latin typeface="Source Sans Pro"/>
                        <a:ea typeface="Source Sans Pro"/>
                        <a:cs typeface="Source Sans Pro"/>
                        <a:sym typeface="Source Sans Pro"/>
                      </a:endParaRPr>
                    </a:p>
                  </a:txBody>
                  <a:tcPr marL="24375" marR="182875" marT="91450" marB="91450">
                    <a:lnL w="9524">
                      <a:solidFill>
                        <a:srgbClr val="4B5C90">
                          <a:alpha val="0"/>
                        </a:srgbClr>
                      </a:solidFill>
                    </a:lnL>
                    <a:lnR w="9524">
                      <a:solidFill>
                        <a:srgbClr val="4B5C90">
                          <a:alpha val="0"/>
                        </a:srgbClr>
                      </a:solidFill>
                    </a:lnR>
                    <a:lnT w="3175">
                      <a:solidFill>
                        <a:schemeClr val="tx1"/>
                      </a:solidFill>
                    </a:lnT>
                    <a:lnB w="3175">
                      <a:solidFill>
                        <a:schemeClr val="tx1"/>
                      </a:solidFill>
                    </a:lnB>
                  </a:tcPr>
                </a:tc>
                <a:tc>
                  <a:txBody>
                    <a:bodyPr/>
                    <a:lstStyle/>
                    <a:p>
                      <a:pPr marL="0" lvl="0" indent="0" algn="ctr">
                        <a:lnSpc>
                          <a:spcPct val="100000"/>
                        </a:lnSpc>
                        <a:spcBef>
                          <a:spcPts val="0"/>
                        </a:spcBef>
                        <a:spcAft>
                          <a:spcPts val="0"/>
                        </a:spcAft>
                        <a:buNone/>
                      </a:pPr>
                      <a:r>
                        <a:rPr lang="en-US" sz="1100" u="none" strike="noStrike" cap="none">
                          <a:solidFill>
                            <a:schemeClr val="dk2"/>
                          </a:solidFill>
                          <a:latin typeface="Source Sans Pro"/>
                          <a:ea typeface="Source Sans Pro"/>
                          <a:cs typeface="Source Sans Pro"/>
                        </a:rPr>
                        <a:t>03/04/22</a:t>
                      </a:r>
                      <a:endParaRPr sz="1100" u="none" strike="noStrike" cap="none">
                        <a:solidFill>
                          <a:schemeClr val="dk2"/>
                        </a:solidFill>
                        <a:latin typeface="Source Sans Pro"/>
                        <a:ea typeface="Source Sans Pro"/>
                        <a:cs typeface="Source Sans Pro"/>
                        <a:sym typeface="Source Sans Pro"/>
                      </a:endParaRPr>
                    </a:p>
                  </a:txBody>
                  <a:tcPr marL="24375" marR="24375" marT="91450" marB="91450">
                    <a:lnL w="9524">
                      <a:solidFill>
                        <a:srgbClr val="4B5C90">
                          <a:alpha val="0"/>
                        </a:srgbClr>
                      </a:solidFill>
                    </a:lnL>
                    <a:lnR w="9524">
                      <a:solidFill>
                        <a:srgbClr val="4B5C90">
                          <a:alpha val="0"/>
                        </a:srgbClr>
                      </a:solidFill>
                    </a:lnR>
                    <a:lnT w="3175">
                      <a:solidFill>
                        <a:schemeClr val="tx1"/>
                      </a:solidFill>
                    </a:lnT>
                    <a:lnB w="3175">
                      <a:solidFill>
                        <a:schemeClr val="tx1"/>
                      </a:solidFill>
                    </a:lnB>
                  </a:tcPr>
                </a:tc>
                <a:tc>
                  <a:txBody>
                    <a:bodyPr/>
                    <a:lstStyle/>
                    <a:p>
                      <a:pPr marL="0" lvl="0" indent="0" algn="ctr">
                        <a:lnSpc>
                          <a:spcPct val="100000"/>
                        </a:lnSpc>
                        <a:spcBef>
                          <a:spcPts val="0"/>
                        </a:spcBef>
                        <a:spcAft>
                          <a:spcPts val="0"/>
                        </a:spcAft>
                        <a:buNone/>
                      </a:pPr>
                      <a:r>
                        <a:rPr lang="en-US" sz="1100" u="none" strike="noStrike" cap="none">
                          <a:solidFill>
                            <a:schemeClr val="dk2"/>
                          </a:solidFill>
                          <a:latin typeface="Source Sans Pro"/>
                          <a:ea typeface="Source Sans Pro"/>
                          <a:cs typeface="Source Sans Pro"/>
                        </a:rPr>
                        <a:t>3/8/22</a:t>
                      </a:r>
                      <a:endParaRPr sz="1100" u="none" strike="noStrike" cap="none">
                        <a:solidFill>
                          <a:schemeClr val="dk2"/>
                        </a:solidFill>
                        <a:latin typeface="Source Sans Pro"/>
                        <a:ea typeface="Source Sans Pro"/>
                        <a:cs typeface="Source Sans Pro"/>
                        <a:sym typeface="Source Sans Pro"/>
                      </a:endParaRPr>
                    </a:p>
                  </a:txBody>
                  <a:tcPr marL="24375" marR="24375" marT="91450" marB="91450">
                    <a:lnL w="9524">
                      <a:solidFill>
                        <a:srgbClr val="4B5C90">
                          <a:alpha val="0"/>
                        </a:srgbClr>
                      </a:solidFill>
                    </a:lnL>
                    <a:lnR w="19050">
                      <a:solidFill>
                        <a:srgbClr val="FFFFFF"/>
                      </a:solidFill>
                    </a:lnR>
                    <a:lnT w="3175">
                      <a:solidFill>
                        <a:schemeClr val="tx1"/>
                      </a:solidFill>
                    </a:lnT>
                    <a:lnB w="3175">
                      <a:solidFill>
                        <a:schemeClr val="tx1"/>
                      </a:solidFill>
                    </a:lnB>
                  </a:tcPr>
                </a:tc>
                <a:tc>
                  <a:txBody>
                    <a:bodyPr/>
                    <a:lstStyle/>
                    <a:p>
                      <a:pPr marL="0" lvl="0" indent="0" algn="l">
                        <a:lnSpc>
                          <a:spcPct val="100000"/>
                        </a:lnSpc>
                        <a:spcBef>
                          <a:spcPts val="0"/>
                        </a:spcBef>
                        <a:spcAft>
                          <a:spcPts val="0"/>
                        </a:spcAft>
                        <a:buNone/>
                      </a:pPr>
                      <a:endParaRPr sz="1050" u="none" strike="noStrike" cap="none">
                        <a:solidFill>
                          <a:schemeClr val="dk2"/>
                        </a:solidFill>
                        <a:latin typeface="Source Sans Pro"/>
                        <a:ea typeface="Source Sans Pro"/>
                        <a:cs typeface="Source Sans Pro"/>
                        <a:sym typeface="Source Sans Pro"/>
                      </a:endParaRPr>
                    </a:p>
                  </a:txBody>
                  <a:tcPr marL="24375" marR="24375" marT="91450" marB="91450">
                    <a:lnL w="19050">
                      <a:solidFill>
                        <a:srgbClr val="FFFFFF"/>
                      </a:solidFill>
                    </a:lnL>
                    <a:lnR w="19050">
                      <a:solidFill>
                        <a:srgbClr val="FFFFFF"/>
                      </a:solidFill>
                    </a:lnR>
                    <a:lnT w="3175">
                      <a:solidFill>
                        <a:schemeClr val="tx1"/>
                      </a:solidFill>
                    </a:lnT>
                    <a:lnB w="3175">
                      <a:solidFill>
                        <a:schemeClr val="tx1"/>
                      </a:solidFill>
                    </a:lnB>
                  </a:tcPr>
                </a:tc>
                <a:tc>
                  <a:txBody>
                    <a:bodyPr/>
                    <a:lstStyle/>
                    <a:p>
                      <a:pPr marL="0" lvl="0" indent="0" algn="l">
                        <a:lnSpc>
                          <a:spcPct val="100000"/>
                        </a:lnSpc>
                        <a:spcBef>
                          <a:spcPts val="0"/>
                        </a:spcBef>
                        <a:spcAft>
                          <a:spcPts val="0"/>
                        </a:spcAft>
                        <a:buNone/>
                      </a:pPr>
                      <a:r>
                        <a:rPr lang="en-US" sz="1100" u="none" strike="noStrike" cap="none">
                          <a:solidFill>
                            <a:schemeClr val="dk2"/>
                          </a:solidFill>
                          <a:latin typeface="Source Sans Pro"/>
                          <a:ea typeface="Source Sans Pro"/>
                          <a:cs typeface="Source Sans Pro"/>
                        </a:rPr>
                        <a:t>URL confirmed 3/7 EOD; IA review now closed </a:t>
                      </a:r>
                      <a:endParaRPr sz="1100" u="none" strike="noStrike" cap="none">
                        <a:solidFill>
                          <a:schemeClr val="dk2"/>
                        </a:solidFill>
                        <a:latin typeface="Source Sans Pro"/>
                        <a:ea typeface="Source Sans Pro"/>
                        <a:cs typeface="Source Sans Pro"/>
                        <a:sym typeface="Source Sans Pro"/>
                      </a:endParaRPr>
                    </a:p>
                  </a:txBody>
                  <a:tcPr marL="91450" marR="24375" marT="91450" marB="91450">
                    <a:lnL w="19050">
                      <a:solidFill>
                        <a:srgbClr val="FFFFFF"/>
                      </a:solidFill>
                    </a:lnL>
                    <a:lnR w="9524">
                      <a:solidFill>
                        <a:srgbClr val="4B5C90">
                          <a:alpha val="0"/>
                        </a:srgbClr>
                      </a:solidFill>
                    </a:lnR>
                    <a:lnT w="3175">
                      <a:solidFill>
                        <a:schemeClr val="tx1"/>
                      </a:solidFill>
                    </a:lnT>
                    <a:lnB w="3175">
                      <a:solidFill>
                        <a:schemeClr val="tx1"/>
                      </a:solidFill>
                    </a:lnB>
                  </a:tcPr>
                </a:tc>
                <a:extLst>
                  <a:ext uri="{0D108BD9-81ED-4DB2-BD59-A6C34878D82A}">
                    <a16:rowId xmlns:a16="http://schemas.microsoft.com/office/drawing/2014/main" val="1158798524"/>
                  </a:ext>
                </a:extLst>
              </a:tr>
              <a:tr h="395975">
                <a:tc>
                  <a:txBody>
                    <a:bodyPr/>
                    <a:lstStyle/>
                    <a:p>
                      <a:pPr marL="0" lvl="0" indent="0" algn="l">
                        <a:lnSpc>
                          <a:spcPct val="100000"/>
                        </a:lnSpc>
                        <a:spcBef>
                          <a:spcPts val="0"/>
                        </a:spcBef>
                        <a:spcAft>
                          <a:spcPts val="0"/>
                        </a:spcAft>
                        <a:buNone/>
                      </a:pPr>
                      <a:r>
                        <a:rPr lang="en-US" sz="1050" u="none" strike="noStrike" cap="none">
                          <a:solidFill>
                            <a:schemeClr val="dk2"/>
                          </a:solidFill>
                          <a:latin typeface="Source Sans Pro"/>
                          <a:ea typeface="Source Sans Pro"/>
                          <a:cs typeface="Source Sans Pro"/>
                        </a:rPr>
                        <a:t>Designs were approved as part of Midpoint Review. Afterwards, Sitewide Content stated they would need to build our front end in Drupal and change our designs, impacting our in-flight build. </a:t>
                      </a:r>
                      <a:endParaRPr sz="1050" u="none" strike="noStrike" cap="none">
                        <a:solidFill>
                          <a:schemeClr val="dk2"/>
                        </a:solidFill>
                        <a:latin typeface="Source Sans Pro"/>
                        <a:ea typeface="Source Sans Pro"/>
                        <a:cs typeface="Source Sans Pro"/>
                        <a:sym typeface="Source Sans Pro"/>
                      </a:endParaRPr>
                    </a:p>
                  </a:txBody>
                  <a:tcPr marL="24375" marR="182875" marT="91450" marB="91450">
                    <a:lnL w="9524">
                      <a:solidFill>
                        <a:srgbClr val="4B5C90">
                          <a:alpha val="0"/>
                        </a:srgbClr>
                      </a:solidFill>
                    </a:lnL>
                    <a:lnR w="9524">
                      <a:solidFill>
                        <a:srgbClr val="4B5C90">
                          <a:alpha val="0"/>
                        </a:srgbClr>
                      </a:solidFill>
                    </a:lnR>
                    <a:lnT w="3175" cap="flat" cmpd="sng" algn="ctr">
                      <a:solidFill>
                        <a:schemeClr val="tx1"/>
                      </a:solidFill>
                      <a:prstDash val="solid"/>
                      <a:round/>
                      <a:headEnd type="none" w="med" len="med"/>
                      <a:tailEnd type="none" w="med" len="med"/>
                    </a:lnT>
                    <a:lnB w="3174">
                      <a:solidFill>
                        <a:schemeClr val="tx1"/>
                      </a:solidFill>
                    </a:lnB>
                  </a:tcPr>
                </a:tc>
                <a:tc>
                  <a:txBody>
                    <a:bodyPr/>
                    <a:lstStyle/>
                    <a:p>
                      <a:pPr marL="0" lvl="0" indent="0" algn="l">
                        <a:lnSpc>
                          <a:spcPct val="100000"/>
                        </a:lnSpc>
                        <a:spcBef>
                          <a:spcPts val="0"/>
                        </a:spcBef>
                        <a:spcAft>
                          <a:spcPts val="0"/>
                        </a:spcAft>
                        <a:buNone/>
                      </a:pPr>
                      <a:r>
                        <a:rPr lang="en-US" sz="1050" u="none" strike="noStrike" cap="none">
                          <a:solidFill>
                            <a:schemeClr val="dk2"/>
                          </a:solidFill>
                          <a:latin typeface="Source Sans Pro"/>
                          <a:ea typeface="Source Sans Pro"/>
                          <a:cs typeface="Source Sans Pro"/>
                        </a:rPr>
                        <a:t>Design team met with Sitewide Content to align on redesigned front end. Tech working with Sitewide Content to send over our dynamic widget to be pulled into their static front end. Sitewide Content now owns the front end build.</a:t>
                      </a:r>
                      <a:endParaRPr sz="1050" u="none" strike="noStrike" cap="none">
                        <a:solidFill>
                          <a:schemeClr val="dk2"/>
                        </a:solidFill>
                        <a:latin typeface="Source Sans Pro"/>
                        <a:ea typeface="Source Sans Pro"/>
                        <a:cs typeface="Source Sans Pro"/>
                        <a:sym typeface="Source Sans Pro"/>
                      </a:endParaRPr>
                    </a:p>
                  </a:txBody>
                  <a:tcPr marL="24375" marR="182875" marT="91450" marB="91450">
                    <a:lnL w="9524">
                      <a:solidFill>
                        <a:srgbClr val="4B5C90">
                          <a:alpha val="0"/>
                        </a:srgbClr>
                      </a:solidFill>
                    </a:lnL>
                    <a:lnR w="9524">
                      <a:solidFill>
                        <a:srgbClr val="4B5C90">
                          <a:alpha val="0"/>
                        </a:srgbClr>
                      </a:solidFill>
                    </a:lnR>
                    <a:lnT w="3175" cap="flat" cmpd="sng" algn="ctr">
                      <a:solidFill>
                        <a:schemeClr val="tx1"/>
                      </a:solidFill>
                      <a:prstDash val="solid"/>
                      <a:round/>
                      <a:headEnd type="none" w="med" len="med"/>
                      <a:tailEnd type="none" w="med" len="med"/>
                    </a:lnT>
                    <a:lnB w="3174">
                      <a:solidFill>
                        <a:schemeClr val="tx1"/>
                      </a:solidFill>
                    </a:lnB>
                  </a:tcPr>
                </a:tc>
                <a:tc>
                  <a:txBody>
                    <a:bodyPr/>
                    <a:lstStyle/>
                    <a:p>
                      <a:pPr marL="0" lvl="0" indent="0" algn="ctr">
                        <a:lnSpc>
                          <a:spcPct val="100000"/>
                        </a:lnSpc>
                        <a:spcBef>
                          <a:spcPts val="0"/>
                        </a:spcBef>
                        <a:spcAft>
                          <a:spcPts val="0"/>
                        </a:spcAft>
                        <a:buNone/>
                      </a:pPr>
                      <a:r>
                        <a:rPr lang="en-US" sz="1100" u="none" strike="noStrike" cap="none">
                          <a:solidFill>
                            <a:schemeClr val="dk2"/>
                          </a:solidFill>
                          <a:latin typeface="Source Sans Pro"/>
                          <a:ea typeface="Source Sans Pro"/>
                          <a:cs typeface="Source Sans Pro"/>
                        </a:rPr>
                        <a:t>3/10/22</a:t>
                      </a:r>
                      <a:endParaRPr sz="1100" u="none" strike="noStrike" cap="none">
                        <a:solidFill>
                          <a:schemeClr val="dk2"/>
                        </a:solidFill>
                        <a:latin typeface="Source Sans Pro"/>
                        <a:ea typeface="Source Sans Pro"/>
                        <a:cs typeface="Source Sans Pro"/>
                        <a:sym typeface="Source Sans Pro"/>
                      </a:endParaRPr>
                    </a:p>
                  </a:txBody>
                  <a:tcPr marL="24375" marR="24375" marT="91450" marB="91450">
                    <a:lnL w="9524">
                      <a:solidFill>
                        <a:srgbClr val="4B5C90">
                          <a:alpha val="0"/>
                        </a:srgbClr>
                      </a:solidFill>
                    </a:lnL>
                    <a:lnR w="9524">
                      <a:solidFill>
                        <a:srgbClr val="4B5C90">
                          <a:alpha val="0"/>
                        </a:srgbClr>
                      </a:solidFill>
                    </a:lnR>
                    <a:lnT w="3175" cap="flat" cmpd="sng" algn="ctr">
                      <a:solidFill>
                        <a:schemeClr val="tx1"/>
                      </a:solidFill>
                      <a:prstDash val="solid"/>
                      <a:round/>
                      <a:headEnd type="none" w="med" len="med"/>
                      <a:tailEnd type="none" w="med" len="med"/>
                    </a:lnT>
                    <a:lnB w="3174">
                      <a:solidFill>
                        <a:schemeClr val="tx1"/>
                      </a:solidFill>
                    </a:lnB>
                  </a:tcPr>
                </a:tc>
                <a:tc>
                  <a:txBody>
                    <a:bodyPr/>
                    <a:lstStyle/>
                    <a:p>
                      <a:pPr marL="0" lvl="0" indent="0" algn="ctr">
                        <a:lnSpc>
                          <a:spcPct val="100000"/>
                        </a:lnSpc>
                        <a:spcBef>
                          <a:spcPts val="0"/>
                        </a:spcBef>
                        <a:spcAft>
                          <a:spcPts val="0"/>
                        </a:spcAft>
                        <a:buNone/>
                      </a:pPr>
                      <a:endParaRPr sz="1100" u="none" strike="noStrike" cap="none">
                        <a:solidFill>
                          <a:schemeClr val="dk2"/>
                        </a:solidFill>
                        <a:latin typeface="Source Sans Pro"/>
                        <a:ea typeface="Source Sans Pro"/>
                        <a:cs typeface="Source Sans Pro"/>
                        <a:sym typeface="Source Sans Pro"/>
                      </a:endParaRPr>
                    </a:p>
                  </a:txBody>
                  <a:tcPr marL="24375" marR="24375" marT="91450" marB="91450">
                    <a:lnL w="9524">
                      <a:solidFill>
                        <a:srgbClr val="4B5C90">
                          <a:alpha val="0"/>
                        </a:srgbClr>
                      </a:solidFill>
                    </a:lnL>
                    <a:lnR w="19050">
                      <a:solidFill>
                        <a:srgbClr val="FFFFFF"/>
                      </a:solidFill>
                    </a:lnR>
                    <a:lnT w="3175" cap="flat" cmpd="sng" algn="ctr">
                      <a:solidFill>
                        <a:schemeClr val="tx1"/>
                      </a:solidFill>
                      <a:prstDash val="solid"/>
                      <a:round/>
                      <a:headEnd type="none" w="med" len="med"/>
                      <a:tailEnd type="none" w="med" len="med"/>
                    </a:lnT>
                    <a:lnB w="3174">
                      <a:solidFill>
                        <a:schemeClr val="tx1"/>
                      </a:solidFill>
                    </a:lnB>
                  </a:tcPr>
                </a:tc>
                <a:tc>
                  <a:txBody>
                    <a:bodyPr/>
                    <a:lstStyle/>
                    <a:p>
                      <a:pPr marL="0" lvl="0" indent="0" algn="l">
                        <a:lnSpc>
                          <a:spcPct val="100000"/>
                        </a:lnSpc>
                        <a:spcBef>
                          <a:spcPts val="0"/>
                        </a:spcBef>
                        <a:spcAft>
                          <a:spcPts val="0"/>
                        </a:spcAft>
                        <a:buNone/>
                      </a:pPr>
                      <a:endParaRPr sz="1050" u="none" strike="noStrike" cap="none">
                        <a:solidFill>
                          <a:schemeClr val="dk2"/>
                        </a:solidFill>
                        <a:latin typeface="Source Sans Pro"/>
                        <a:ea typeface="Source Sans Pro"/>
                        <a:cs typeface="Source Sans Pro"/>
                        <a:sym typeface="Source Sans Pro"/>
                      </a:endParaRPr>
                    </a:p>
                  </a:txBody>
                  <a:tcPr marL="24375" marR="24375" marT="91450" marB="91450">
                    <a:lnL w="19050">
                      <a:solidFill>
                        <a:srgbClr val="FFFFFF"/>
                      </a:solidFill>
                    </a:lnL>
                    <a:lnR w="19050">
                      <a:solidFill>
                        <a:srgbClr val="FFFFFF"/>
                      </a:solidFill>
                    </a:lnR>
                    <a:lnT w="3175" cap="flat" cmpd="sng" algn="ctr">
                      <a:solidFill>
                        <a:schemeClr val="tx1"/>
                      </a:solidFill>
                      <a:prstDash val="solid"/>
                      <a:round/>
                      <a:headEnd type="none" w="med" len="med"/>
                      <a:tailEnd type="none" w="med" len="med"/>
                    </a:lnT>
                    <a:lnB w="3174">
                      <a:solidFill>
                        <a:schemeClr val="tx1"/>
                      </a:solidFill>
                    </a:lnB>
                  </a:tcPr>
                </a:tc>
                <a:tc>
                  <a:txBody>
                    <a:bodyPr/>
                    <a:lstStyle/>
                    <a:p>
                      <a:pPr marL="0" lvl="0" indent="0" algn="l">
                        <a:lnSpc>
                          <a:spcPct val="100000"/>
                        </a:lnSpc>
                        <a:spcBef>
                          <a:spcPts val="0"/>
                        </a:spcBef>
                        <a:spcAft>
                          <a:spcPts val="0"/>
                        </a:spcAft>
                        <a:buNone/>
                      </a:pPr>
                      <a:r>
                        <a:rPr lang="en-US" sz="1100" u="none" strike="noStrike" cap="none">
                          <a:solidFill>
                            <a:schemeClr val="dk2"/>
                          </a:solidFill>
                          <a:latin typeface="Source Sans Pro"/>
                          <a:ea typeface="Source Sans Pro"/>
                          <a:cs typeface="Source Sans Pro"/>
                        </a:rPr>
                        <a:t>Launch date dependent on Sitewide Content ability to launch front end</a:t>
                      </a:r>
                      <a:endParaRPr sz="1100" u="none" strike="noStrike" cap="none">
                        <a:solidFill>
                          <a:schemeClr val="dk2"/>
                        </a:solidFill>
                        <a:latin typeface="Source Sans Pro"/>
                        <a:ea typeface="Source Sans Pro"/>
                        <a:cs typeface="Source Sans Pro"/>
                        <a:sym typeface="Source Sans Pro"/>
                      </a:endParaRPr>
                    </a:p>
                  </a:txBody>
                  <a:tcPr marL="91450" marR="24375" marT="91450" marB="91450">
                    <a:lnL w="19050">
                      <a:solidFill>
                        <a:srgbClr val="FFFFFF"/>
                      </a:solidFill>
                    </a:lnL>
                    <a:lnR w="9524">
                      <a:solidFill>
                        <a:srgbClr val="4B5C90">
                          <a:alpha val="0"/>
                        </a:srgbClr>
                      </a:solidFill>
                    </a:lnR>
                    <a:lnT w="3175" cap="flat" cmpd="sng" algn="ctr">
                      <a:solidFill>
                        <a:schemeClr val="tx1"/>
                      </a:solidFill>
                      <a:prstDash val="solid"/>
                      <a:round/>
                      <a:headEnd type="none" w="med" len="med"/>
                      <a:tailEnd type="none" w="med" len="med"/>
                    </a:lnT>
                    <a:lnB w="3174">
                      <a:solidFill>
                        <a:schemeClr val="tx1"/>
                      </a:solidFill>
                    </a:lnB>
                  </a:tcPr>
                </a:tc>
                <a:extLst>
                  <a:ext uri="{0D108BD9-81ED-4DB2-BD59-A6C34878D82A}">
                    <a16:rowId xmlns:a16="http://schemas.microsoft.com/office/drawing/2014/main" val="152309680"/>
                  </a:ext>
                </a:extLst>
              </a:tr>
              <a:tr h="395975">
                <a:tc>
                  <a:txBody>
                    <a:bodyPr/>
                    <a:lstStyle/>
                    <a:p>
                      <a:pPr marL="0" lvl="0" indent="0" algn="l">
                        <a:lnSpc>
                          <a:spcPct val="100000"/>
                        </a:lnSpc>
                        <a:spcBef>
                          <a:spcPts val="0"/>
                        </a:spcBef>
                        <a:spcAft>
                          <a:spcPts val="0"/>
                        </a:spcAft>
                        <a:buNone/>
                      </a:pPr>
                      <a:endParaRPr sz="1050" u="none" strike="noStrike" cap="none">
                        <a:solidFill>
                          <a:schemeClr val="dk2"/>
                        </a:solidFill>
                        <a:latin typeface="Source Sans Pro"/>
                        <a:ea typeface="Source Sans Pro"/>
                        <a:cs typeface="Source Sans Pro"/>
                        <a:sym typeface="Source Sans Pro"/>
                      </a:endParaRPr>
                    </a:p>
                  </a:txBody>
                  <a:tcPr marL="24375" marR="182875" marT="91450" marB="91450">
                    <a:lnL w="9524">
                      <a:solidFill>
                        <a:srgbClr val="4B5C90">
                          <a:alpha val="0"/>
                        </a:srgbClr>
                      </a:solidFill>
                    </a:lnL>
                    <a:lnR w="9524">
                      <a:solidFill>
                        <a:srgbClr val="4B5C90">
                          <a:alpha val="0"/>
                        </a:srgbClr>
                      </a:solidFill>
                    </a:lnR>
                    <a:lnT w="3174">
                      <a:solidFill>
                        <a:schemeClr val="tx1"/>
                      </a:solidFill>
                    </a:lnT>
                    <a:lnB w="12700">
                      <a:solidFill>
                        <a:schemeClr val="tx1"/>
                      </a:solidFill>
                    </a:lnB>
                  </a:tcPr>
                </a:tc>
                <a:tc>
                  <a:txBody>
                    <a:bodyPr/>
                    <a:lstStyle/>
                    <a:p>
                      <a:pPr marL="0" lvl="0" indent="0" algn="l">
                        <a:lnSpc>
                          <a:spcPct val="100000"/>
                        </a:lnSpc>
                        <a:spcBef>
                          <a:spcPts val="0"/>
                        </a:spcBef>
                        <a:spcAft>
                          <a:spcPts val="0"/>
                        </a:spcAft>
                        <a:buNone/>
                      </a:pPr>
                      <a:endParaRPr sz="1050" u="none" strike="noStrike" cap="none">
                        <a:solidFill>
                          <a:schemeClr val="dk2"/>
                        </a:solidFill>
                        <a:latin typeface="Source Sans Pro"/>
                        <a:ea typeface="Source Sans Pro"/>
                        <a:cs typeface="Source Sans Pro"/>
                        <a:sym typeface="Source Sans Pro"/>
                      </a:endParaRPr>
                    </a:p>
                  </a:txBody>
                  <a:tcPr marL="24375" marR="182875" marT="91450" marB="91450">
                    <a:lnL w="9524">
                      <a:solidFill>
                        <a:srgbClr val="4B5C90">
                          <a:alpha val="0"/>
                        </a:srgbClr>
                      </a:solidFill>
                    </a:lnL>
                    <a:lnR w="9524">
                      <a:solidFill>
                        <a:srgbClr val="4B5C90">
                          <a:alpha val="0"/>
                        </a:srgbClr>
                      </a:solidFill>
                    </a:lnR>
                    <a:lnT w="3174">
                      <a:solidFill>
                        <a:schemeClr val="tx1"/>
                      </a:solidFill>
                    </a:lnT>
                    <a:lnB w="12700">
                      <a:solidFill>
                        <a:schemeClr val="tx1"/>
                      </a:solidFill>
                    </a:lnB>
                  </a:tcPr>
                </a:tc>
                <a:tc>
                  <a:txBody>
                    <a:bodyPr/>
                    <a:lstStyle/>
                    <a:p>
                      <a:pPr marL="0" lvl="0" indent="0" algn="ctr">
                        <a:lnSpc>
                          <a:spcPct val="100000"/>
                        </a:lnSpc>
                        <a:spcBef>
                          <a:spcPts val="0"/>
                        </a:spcBef>
                        <a:spcAft>
                          <a:spcPts val="0"/>
                        </a:spcAft>
                        <a:buNone/>
                      </a:pPr>
                      <a:endParaRPr sz="1100" u="none" strike="noStrike" cap="none">
                        <a:solidFill>
                          <a:schemeClr val="dk2"/>
                        </a:solidFill>
                        <a:latin typeface="Source Sans Pro"/>
                        <a:ea typeface="Source Sans Pro"/>
                        <a:cs typeface="Source Sans Pro"/>
                        <a:sym typeface="Source Sans Pro"/>
                      </a:endParaRPr>
                    </a:p>
                  </a:txBody>
                  <a:tcPr marL="24375" marR="24375" marT="91450" marB="91450">
                    <a:lnL w="9524">
                      <a:solidFill>
                        <a:srgbClr val="4B5C90">
                          <a:alpha val="0"/>
                        </a:srgbClr>
                      </a:solidFill>
                    </a:lnL>
                    <a:lnR w="9524">
                      <a:solidFill>
                        <a:srgbClr val="4B5C90">
                          <a:alpha val="0"/>
                        </a:srgbClr>
                      </a:solidFill>
                    </a:lnR>
                    <a:lnT w="3174">
                      <a:solidFill>
                        <a:schemeClr val="tx1"/>
                      </a:solidFill>
                    </a:lnT>
                    <a:lnB w="12700">
                      <a:solidFill>
                        <a:schemeClr val="tx1"/>
                      </a:solidFill>
                    </a:lnB>
                  </a:tcPr>
                </a:tc>
                <a:tc>
                  <a:txBody>
                    <a:bodyPr/>
                    <a:lstStyle/>
                    <a:p>
                      <a:pPr marL="0" lvl="0" indent="0" algn="ctr">
                        <a:lnSpc>
                          <a:spcPct val="100000"/>
                        </a:lnSpc>
                        <a:spcBef>
                          <a:spcPts val="0"/>
                        </a:spcBef>
                        <a:spcAft>
                          <a:spcPts val="0"/>
                        </a:spcAft>
                        <a:buNone/>
                      </a:pPr>
                      <a:endParaRPr sz="1100" u="none" strike="noStrike" cap="none">
                        <a:solidFill>
                          <a:schemeClr val="dk2"/>
                        </a:solidFill>
                        <a:latin typeface="Source Sans Pro"/>
                        <a:ea typeface="Source Sans Pro"/>
                        <a:cs typeface="Source Sans Pro"/>
                        <a:sym typeface="Source Sans Pro"/>
                      </a:endParaRPr>
                    </a:p>
                  </a:txBody>
                  <a:tcPr marL="24375" marR="24375" marT="91450" marB="91450">
                    <a:lnL w="9524">
                      <a:solidFill>
                        <a:srgbClr val="4B5C90">
                          <a:alpha val="0"/>
                        </a:srgbClr>
                      </a:solidFill>
                    </a:lnL>
                    <a:lnR w="19050">
                      <a:solidFill>
                        <a:srgbClr val="FFFFFF"/>
                      </a:solidFill>
                    </a:lnR>
                    <a:lnT w="3174">
                      <a:solidFill>
                        <a:schemeClr val="tx1"/>
                      </a:solidFill>
                    </a:lnT>
                    <a:lnB w="12700">
                      <a:solidFill>
                        <a:schemeClr val="tx1"/>
                      </a:solidFill>
                    </a:lnB>
                  </a:tcPr>
                </a:tc>
                <a:tc>
                  <a:txBody>
                    <a:bodyPr/>
                    <a:lstStyle/>
                    <a:p>
                      <a:pPr marL="0" lvl="0" indent="0" algn="l">
                        <a:lnSpc>
                          <a:spcPct val="100000"/>
                        </a:lnSpc>
                        <a:spcBef>
                          <a:spcPts val="0"/>
                        </a:spcBef>
                        <a:spcAft>
                          <a:spcPts val="0"/>
                        </a:spcAft>
                        <a:buNone/>
                      </a:pPr>
                      <a:endParaRPr sz="1050" u="none" strike="noStrike" cap="none">
                        <a:solidFill>
                          <a:schemeClr val="dk2"/>
                        </a:solidFill>
                        <a:latin typeface="Source Sans Pro"/>
                        <a:ea typeface="Source Sans Pro"/>
                        <a:cs typeface="Source Sans Pro"/>
                        <a:sym typeface="Source Sans Pro"/>
                      </a:endParaRPr>
                    </a:p>
                  </a:txBody>
                  <a:tcPr marL="24375" marR="24375" marT="91450" marB="91450">
                    <a:lnL w="19050">
                      <a:solidFill>
                        <a:srgbClr val="FFFFFF"/>
                      </a:solidFill>
                    </a:lnL>
                    <a:lnR w="19050">
                      <a:solidFill>
                        <a:srgbClr val="FFFFFF"/>
                      </a:solidFill>
                    </a:lnR>
                    <a:lnT w="3174">
                      <a:solidFill>
                        <a:schemeClr val="tx1"/>
                      </a:solidFill>
                    </a:lnT>
                    <a:lnB w="12700">
                      <a:solidFill>
                        <a:schemeClr val="tx1"/>
                      </a:solidFill>
                    </a:lnB>
                  </a:tcPr>
                </a:tc>
                <a:tc>
                  <a:txBody>
                    <a:bodyPr/>
                    <a:lstStyle/>
                    <a:p>
                      <a:pPr marL="0" lvl="0" indent="0" algn="l">
                        <a:lnSpc>
                          <a:spcPct val="100000"/>
                        </a:lnSpc>
                        <a:spcBef>
                          <a:spcPts val="0"/>
                        </a:spcBef>
                        <a:spcAft>
                          <a:spcPts val="0"/>
                        </a:spcAft>
                        <a:buNone/>
                      </a:pPr>
                      <a:endParaRPr sz="1100" u="none" strike="noStrike" cap="none">
                        <a:solidFill>
                          <a:schemeClr val="dk2"/>
                        </a:solidFill>
                        <a:latin typeface="Source Sans Pro"/>
                        <a:ea typeface="Source Sans Pro"/>
                        <a:cs typeface="Source Sans Pro"/>
                        <a:sym typeface="Source Sans Pro"/>
                      </a:endParaRPr>
                    </a:p>
                  </a:txBody>
                  <a:tcPr marL="91450" marR="24375" marT="91450" marB="91450">
                    <a:lnL w="19050">
                      <a:solidFill>
                        <a:srgbClr val="FFFFFF"/>
                      </a:solidFill>
                    </a:lnL>
                    <a:lnR w="9524">
                      <a:solidFill>
                        <a:srgbClr val="4B5C90">
                          <a:alpha val="0"/>
                        </a:srgbClr>
                      </a:solidFill>
                    </a:lnR>
                    <a:lnT w="3174">
                      <a:solidFill>
                        <a:schemeClr val="tx1"/>
                      </a:solidFill>
                    </a:lnT>
                    <a:lnB w="12700">
                      <a:solidFill>
                        <a:schemeClr val="tx1"/>
                      </a:solidFill>
                    </a:lnB>
                  </a:tcPr>
                </a:tc>
                <a:extLst>
                  <a:ext uri="{0D108BD9-81ED-4DB2-BD59-A6C34878D82A}">
                    <a16:rowId xmlns:a16="http://schemas.microsoft.com/office/drawing/2014/main" val="912855546"/>
                  </a:ext>
                </a:extLst>
              </a:tr>
            </a:tbl>
          </a:graphicData>
        </a:graphic>
      </p:graphicFrame>
      <p:sp>
        <p:nvSpPr>
          <p:cNvPr id="931" name="Google Shape;931;p28"/>
          <p:cNvSpPr txBox="1"/>
          <p:nvPr/>
        </p:nvSpPr>
        <p:spPr>
          <a:xfrm>
            <a:off x="341923" y="1021795"/>
            <a:ext cx="6233031" cy="307777"/>
          </a:xfrm>
          <a:prstGeom prst="rect">
            <a:avLst/>
          </a:prstGeom>
          <a:noFill/>
          <a:ln>
            <a:noFill/>
          </a:ln>
        </p:spPr>
        <p:txBody>
          <a:bodyPr spcFirstLastPara="1" wrap="square" lIns="91425" tIns="45700" rIns="91425" bIns="45700" anchor="t" anchorCtr="0">
            <a:spAutoFit/>
          </a:bodyPr>
          <a:lstStyle/>
          <a:p>
            <a:pPr>
              <a:buClr>
                <a:srgbClr val="575757"/>
              </a:buClr>
              <a:buSzPts val="1400"/>
            </a:pPr>
            <a:r>
              <a:rPr lang="en-US" sz="1400" u="none" strike="noStrike" cap="none">
                <a:solidFill>
                  <a:srgbClr val="575757"/>
                </a:solidFill>
                <a:latin typeface="PT Serif"/>
                <a:ea typeface="PT Serif"/>
                <a:cs typeface="PT Serif"/>
                <a:sym typeface="PT Serif"/>
              </a:rPr>
              <a:t>Submitted as part of the Monthly Report </a:t>
            </a:r>
            <a:r>
              <a:rPr lang="en-US">
                <a:solidFill>
                  <a:srgbClr val="575757"/>
                </a:solidFill>
                <a:latin typeface="PT Serif"/>
                <a:ea typeface="PT Serif"/>
                <a:cs typeface="PT Serif"/>
                <a:sym typeface="PT Serif"/>
              </a:rPr>
              <a:t>for March</a:t>
            </a:r>
            <a:endParaRPr lang="en-US" sz="1800">
              <a:solidFill>
                <a:srgbClr val="575757"/>
              </a:solidFill>
              <a:latin typeface="PT Serif"/>
              <a:ea typeface="PT Serif"/>
              <a:cs typeface="PT Serif"/>
              <a:sym typeface="PT Serif"/>
            </a:endParaRPr>
          </a:p>
        </p:txBody>
      </p:sp>
      <p:grpSp>
        <p:nvGrpSpPr>
          <p:cNvPr id="932" name="Google Shape;932;p28"/>
          <p:cNvGrpSpPr/>
          <p:nvPr/>
        </p:nvGrpSpPr>
        <p:grpSpPr>
          <a:xfrm>
            <a:off x="419100" y="1427054"/>
            <a:ext cx="11353099" cy="230697"/>
            <a:chOff x="419100" y="1737020"/>
            <a:chExt cx="11353099" cy="230697"/>
          </a:xfrm>
        </p:grpSpPr>
        <p:cxnSp>
          <p:nvCxnSpPr>
            <p:cNvPr id="933" name="Google Shape;933;p28"/>
            <p:cNvCxnSpPr/>
            <p:nvPr/>
          </p:nvCxnSpPr>
          <p:spPr>
            <a:xfrm>
              <a:off x="419100" y="1946745"/>
              <a:ext cx="11353099" cy="20972"/>
            </a:xfrm>
            <a:prstGeom prst="straightConnector1">
              <a:avLst/>
            </a:prstGeom>
            <a:noFill/>
            <a:ln w="9525" cap="flat" cmpd="sng">
              <a:solidFill>
                <a:srgbClr val="002B4F"/>
              </a:solidFill>
              <a:prstDash val="solid"/>
              <a:round/>
              <a:headEnd type="none" w="sm" len="sm"/>
              <a:tailEnd type="none" w="sm" len="sm"/>
            </a:ln>
          </p:spPr>
        </p:cxnSp>
        <p:cxnSp>
          <p:nvCxnSpPr>
            <p:cNvPr id="934" name="Google Shape;934;p28"/>
            <p:cNvCxnSpPr/>
            <p:nvPr/>
          </p:nvCxnSpPr>
          <p:spPr>
            <a:xfrm>
              <a:off x="7651341" y="1737020"/>
              <a:ext cx="1147219" cy="0"/>
            </a:xfrm>
            <a:prstGeom prst="straightConnector1">
              <a:avLst/>
            </a:prstGeom>
            <a:noFill/>
            <a:ln w="12700" cap="flat" cmpd="sng">
              <a:solidFill>
                <a:schemeClr val="tx1"/>
              </a:solidFill>
              <a:prstDash val="solid"/>
              <a:round/>
              <a:headEnd type="none" w="sm" len="sm"/>
              <a:tailEnd type="none" w="sm" len="sm"/>
            </a:ln>
          </p:spPr>
        </p:cxnSp>
      </p:grpSp>
      <p:sp>
        <p:nvSpPr>
          <p:cNvPr id="936" name="Google Shape;936;p28"/>
          <p:cNvSpPr/>
          <p:nvPr/>
        </p:nvSpPr>
        <p:spPr>
          <a:xfrm>
            <a:off x="10218734" y="504720"/>
            <a:ext cx="1587536" cy="942740"/>
          </a:xfrm>
          <a:prstGeom prst="rect">
            <a:avLst/>
          </a:prstGeom>
          <a:no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Calibri"/>
              <a:buNone/>
            </a:pPr>
            <a:endParaRPr sz="1000" b="0" i="0" u="none" strike="noStrike" cap="none">
              <a:solidFill>
                <a:srgbClr val="000000"/>
              </a:solidFill>
              <a:latin typeface="PT Serif"/>
              <a:ea typeface="PT Serif"/>
              <a:cs typeface="PT Serif"/>
              <a:sym typeface="PT Serif"/>
            </a:endParaRPr>
          </a:p>
        </p:txBody>
      </p:sp>
      <p:sp>
        <p:nvSpPr>
          <p:cNvPr id="13" name="Oval 12">
            <a:extLst>
              <a:ext uri="{FF2B5EF4-FFF2-40B4-BE49-F238E27FC236}">
                <a16:creationId xmlns:a16="http://schemas.microsoft.com/office/drawing/2014/main" id="{CBBF7C82-D0BF-483D-8655-9680C99D1D18}"/>
              </a:ext>
            </a:extLst>
          </p:cNvPr>
          <p:cNvSpPr/>
          <p:nvPr/>
        </p:nvSpPr>
        <p:spPr>
          <a:xfrm>
            <a:off x="9081573" y="2445569"/>
            <a:ext cx="176721" cy="183419"/>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Oval 15">
            <a:extLst>
              <a:ext uri="{FF2B5EF4-FFF2-40B4-BE49-F238E27FC236}">
                <a16:creationId xmlns:a16="http://schemas.microsoft.com/office/drawing/2014/main" id="{7C86888D-8676-4954-B3CA-7563A7A86788}"/>
              </a:ext>
            </a:extLst>
          </p:cNvPr>
          <p:cNvSpPr/>
          <p:nvPr/>
        </p:nvSpPr>
        <p:spPr>
          <a:xfrm>
            <a:off x="9081575" y="5108447"/>
            <a:ext cx="176721" cy="183419"/>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8" name="Oval 17">
            <a:extLst>
              <a:ext uri="{FF2B5EF4-FFF2-40B4-BE49-F238E27FC236}">
                <a16:creationId xmlns:a16="http://schemas.microsoft.com/office/drawing/2014/main" id="{46373D0D-F98D-4606-BC07-084849BDE347}"/>
              </a:ext>
            </a:extLst>
          </p:cNvPr>
          <p:cNvSpPr/>
          <p:nvPr/>
        </p:nvSpPr>
        <p:spPr>
          <a:xfrm>
            <a:off x="9081574" y="1866717"/>
            <a:ext cx="176721" cy="183419"/>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9" name="Oval 18">
            <a:extLst>
              <a:ext uri="{FF2B5EF4-FFF2-40B4-BE49-F238E27FC236}">
                <a16:creationId xmlns:a16="http://schemas.microsoft.com/office/drawing/2014/main" id="{4D271066-DA07-4647-B209-7C3919DF3ECC}"/>
              </a:ext>
            </a:extLst>
          </p:cNvPr>
          <p:cNvSpPr/>
          <p:nvPr/>
        </p:nvSpPr>
        <p:spPr>
          <a:xfrm>
            <a:off x="9081573" y="3109854"/>
            <a:ext cx="176721" cy="183419"/>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 name="Oval 20">
            <a:extLst>
              <a:ext uri="{FF2B5EF4-FFF2-40B4-BE49-F238E27FC236}">
                <a16:creationId xmlns:a16="http://schemas.microsoft.com/office/drawing/2014/main" id="{7C092FA4-92F1-452C-973C-C91F4DCFAD78}"/>
              </a:ext>
            </a:extLst>
          </p:cNvPr>
          <p:cNvSpPr/>
          <p:nvPr/>
        </p:nvSpPr>
        <p:spPr>
          <a:xfrm>
            <a:off x="9081573" y="6135162"/>
            <a:ext cx="176721" cy="183419"/>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0" name="TextBox 19">
            <a:extLst>
              <a:ext uri="{FF2B5EF4-FFF2-40B4-BE49-F238E27FC236}">
                <a16:creationId xmlns:a16="http://schemas.microsoft.com/office/drawing/2014/main" id="{4B2456FF-B645-463D-855D-7AC4CB451808}"/>
              </a:ext>
            </a:extLst>
          </p:cNvPr>
          <p:cNvSpPr txBox="1"/>
          <p:nvPr/>
        </p:nvSpPr>
        <p:spPr>
          <a:xfrm>
            <a:off x="7747353" y="741799"/>
            <a:ext cx="3522588" cy="307777"/>
          </a:xfrm>
          <a:prstGeom prst="rect">
            <a:avLst/>
          </a:prstGeom>
          <a:solidFill>
            <a:srgbClr val="FFFF00"/>
          </a:solidFill>
        </p:spPr>
        <p:txBody>
          <a:bodyPr wrap="square" lIns="91440" tIns="45720" rIns="91440" bIns="45720" rtlCol="0" anchor="t">
            <a:spAutoFit/>
          </a:bodyPr>
          <a:lstStyle/>
          <a:p>
            <a:r>
              <a:rPr lang="en-US"/>
              <a:t>Munish to update</a:t>
            </a:r>
          </a:p>
        </p:txBody>
      </p:sp>
      <p:sp>
        <p:nvSpPr>
          <p:cNvPr id="22" name="Oval 21">
            <a:extLst>
              <a:ext uri="{FF2B5EF4-FFF2-40B4-BE49-F238E27FC236}">
                <a16:creationId xmlns:a16="http://schemas.microsoft.com/office/drawing/2014/main" id="{1D044FAD-B4AA-1AFD-293A-8E712C11FEC4}"/>
              </a:ext>
            </a:extLst>
          </p:cNvPr>
          <p:cNvSpPr/>
          <p:nvPr/>
        </p:nvSpPr>
        <p:spPr>
          <a:xfrm>
            <a:off x="9081573" y="4235850"/>
            <a:ext cx="176721" cy="183419"/>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CEEBD293-98E9-40FE-BF25-DFE67CD49089}"/>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US" smtClean="0"/>
              <a:t>29</a:t>
            </a:fld>
            <a:endParaRPr lang="en-US"/>
          </a:p>
        </p:txBody>
      </p:sp>
      <p:sp>
        <p:nvSpPr>
          <p:cNvPr id="3" name="TextBox 2">
            <a:extLst>
              <a:ext uri="{FF2B5EF4-FFF2-40B4-BE49-F238E27FC236}">
                <a16:creationId xmlns:a16="http://schemas.microsoft.com/office/drawing/2014/main" id="{3C61C0F6-1CD7-4F43-A4CD-4AAFCDE97A20}"/>
              </a:ext>
            </a:extLst>
          </p:cNvPr>
          <p:cNvSpPr txBox="1"/>
          <p:nvPr/>
        </p:nvSpPr>
        <p:spPr>
          <a:xfrm>
            <a:off x="102268" y="42111"/>
            <a:ext cx="11839074" cy="6376736"/>
          </a:xfrm>
          <a:prstGeom prst="rect">
            <a:avLst/>
          </a:prstGeom>
          <a:solidFill>
            <a:srgbClr val="FF0000"/>
          </a:solidFill>
        </p:spPr>
        <p:txBody>
          <a:bodyPr wrap="square" rtlCol="0">
            <a:spAutoFit/>
          </a:bodyPr>
          <a:lstStyle/>
          <a:p>
            <a:endParaRPr lang="en-US"/>
          </a:p>
        </p:txBody>
      </p:sp>
    </p:spTree>
    <p:extLst>
      <p:ext uri="{BB962C8B-B14F-4D97-AF65-F5344CB8AC3E}">
        <p14:creationId xmlns:p14="http://schemas.microsoft.com/office/powerpoint/2010/main" val="382663021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Shape 235"/>
        <p:cNvGrpSpPr/>
        <p:nvPr/>
      </p:nvGrpSpPr>
      <p:grpSpPr>
        <a:xfrm>
          <a:off x="0" y="0"/>
          <a:ext cx="0" cy="0"/>
          <a:chOff x="0" y="0"/>
          <a:chExt cx="0" cy="0"/>
        </a:xfrm>
      </p:grpSpPr>
      <p:sp>
        <p:nvSpPr>
          <p:cNvPr id="241" name="Google Shape;241;p3"/>
          <p:cNvSpPr txBox="1">
            <a:spLocks noGrp="1"/>
          </p:cNvSpPr>
          <p:nvPr>
            <p:ph type="title"/>
          </p:nvPr>
        </p:nvSpPr>
        <p:spPr>
          <a:xfrm>
            <a:off x="320246" y="773318"/>
            <a:ext cx="4334881" cy="3741532"/>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rgbClr val="00385F"/>
              </a:buClr>
              <a:buSzPts val="3200"/>
              <a:buFont typeface="PT Serif"/>
              <a:buNone/>
            </a:pPr>
            <a:r>
              <a:rPr lang="en-US" sz="3200">
                <a:solidFill>
                  <a:srgbClr val="00385F"/>
                </a:solidFill>
              </a:rPr>
              <a:t>At the end of each sprint on Tuesdays, the team will run sprint reviews to showcase the sprint’s work for approval.</a:t>
            </a:r>
            <a:br>
              <a:rPr lang="en-US" sz="3200">
                <a:solidFill>
                  <a:srgbClr val="00385F"/>
                </a:solidFill>
              </a:rPr>
            </a:br>
            <a:r>
              <a:rPr lang="en-US" sz="3200">
                <a:solidFill>
                  <a:srgbClr val="00385F"/>
                </a:solidFill>
              </a:rPr>
              <a:t>The purpose of this meeting is:</a:t>
            </a:r>
            <a:endParaRPr/>
          </a:p>
        </p:txBody>
      </p:sp>
      <p:sp>
        <p:nvSpPr>
          <p:cNvPr id="244" name="Google Shape;244;p3"/>
          <p:cNvSpPr txBox="1"/>
          <p:nvPr/>
        </p:nvSpPr>
        <p:spPr>
          <a:xfrm>
            <a:off x="419100" y="6408650"/>
            <a:ext cx="2723465" cy="276999"/>
          </a:xfrm>
          <a:prstGeom prst="rect">
            <a:avLst/>
          </a:prstGeom>
          <a:noFill/>
          <a:ln>
            <a:noFill/>
          </a:ln>
        </p:spPr>
        <p:txBody>
          <a:bodyPr spcFirstLastPara="1" wrap="square" lIns="0" tIns="45700" rIns="91425" bIns="45700" anchor="t" anchorCtr="0">
            <a:spAutoFit/>
          </a:bodyPr>
          <a:lstStyle/>
          <a:p>
            <a:pPr marL="0" marR="0" lvl="0" indent="0" algn="l" rtl="0">
              <a:spcBef>
                <a:spcPts val="0"/>
              </a:spcBef>
              <a:spcAft>
                <a:spcPts val="0"/>
              </a:spcAft>
              <a:buClr>
                <a:srgbClr val="747C74"/>
              </a:buClr>
              <a:buSzPts val="1200"/>
              <a:buFont typeface="Source Sans Pro"/>
              <a:buNone/>
            </a:pPr>
            <a:r>
              <a:rPr lang="en-US" sz="1200" b="0" i="0" u="none" strike="noStrike" cap="none">
                <a:solidFill>
                  <a:srgbClr val="747C74"/>
                </a:solidFill>
                <a:latin typeface="Source Sans Pro"/>
                <a:ea typeface="Source Sans Pro"/>
                <a:cs typeface="Source Sans Pro"/>
                <a:sym typeface="Source Sans Pro"/>
              </a:rPr>
              <a:t>04-19 Sprint 6 Demo</a:t>
            </a:r>
            <a:endParaRPr sz="1800" b="0" i="0" u="none" strike="noStrike" cap="none">
              <a:solidFill>
                <a:srgbClr val="747C74"/>
              </a:solidFill>
              <a:latin typeface="Calibri"/>
              <a:ea typeface="Calibri"/>
              <a:cs typeface="Calibri"/>
              <a:sym typeface="Calibri"/>
            </a:endParaRPr>
          </a:p>
        </p:txBody>
      </p:sp>
      <p:sp>
        <p:nvSpPr>
          <p:cNvPr id="245" name="Google Shape;245;p3"/>
          <p:cNvSpPr txBox="1"/>
          <p:nvPr/>
        </p:nvSpPr>
        <p:spPr>
          <a:xfrm>
            <a:off x="327680" y="406667"/>
            <a:ext cx="4246607" cy="366651"/>
          </a:xfrm>
          <a:prstGeom prst="rect">
            <a:avLst/>
          </a:prstGeom>
          <a:noFill/>
          <a:ln>
            <a:noFill/>
          </a:ln>
        </p:spPr>
        <p:txBody>
          <a:bodyPr spcFirstLastPara="1" wrap="square" lIns="91425" tIns="45700" rIns="91425" bIns="45700" anchor="t" anchorCtr="0">
            <a:noAutofit/>
          </a:bodyPr>
          <a:lstStyle/>
          <a:p>
            <a:pPr marL="0" marR="0" lvl="0" indent="0" algn="l" rtl="0">
              <a:lnSpc>
                <a:spcPct val="90000"/>
              </a:lnSpc>
              <a:spcBef>
                <a:spcPts val="0"/>
              </a:spcBef>
              <a:spcAft>
                <a:spcPts val="0"/>
              </a:spcAft>
              <a:buClr>
                <a:schemeClr val="dk2"/>
              </a:buClr>
              <a:buSzPts val="1400"/>
              <a:buFont typeface="Arial"/>
              <a:buNone/>
            </a:pPr>
            <a:r>
              <a:rPr lang="en-US" sz="1400" b="0" i="0" u="none" strike="noStrike" cap="none">
                <a:solidFill>
                  <a:schemeClr val="dk2"/>
                </a:solidFill>
                <a:latin typeface="Source Sans Pro"/>
                <a:ea typeface="Source Sans Pro"/>
                <a:cs typeface="Source Sans Pro"/>
                <a:sym typeface="Source Sans Pro"/>
              </a:rPr>
              <a:t>WELCOME TO THE SPRINT 6 DEMO</a:t>
            </a:r>
            <a:endParaRPr>
              <a:solidFill>
                <a:schemeClr val="dk2"/>
              </a:solidFill>
            </a:endParaRPr>
          </a:p>
        </p:txBody>
      </p:sp>
      <p:grpSp>
        <p:nvGrpSpPr>
          <p:cNvPr id="4" name="Group 3">
            <a:extLst>
              <a:ext uri="{FF2B5EF4-FFF2-40B4-BE49-F238E27FC236}">
                <a16:creationId xmlns:a16="http://schemas.microsoft.com/office/drawing/2014/main" id="{E7DEC4A7-87FF-4529-9F52-6192C114B9EF}"/>
              </a:ext>
            </a:extLst>
          </p:cNvPr>
          <p:cNvGrpSpPr/>
          <p:nvPr/>
        </p:nvGrpSpPr>
        <p:grpSpPr>
          <a:xfrm>
            <a:off x="5638800" y="-7257"/>
            <a:ext cx="6560457" cy="6887028"/>
            <a:chOff x="5638800" y="0"/>
            <a:chExt cx="6560457" cy="6887028"/>
          </a:xfrm>
        </p:grpSpPr>
        <p:grpSp>
          <p:nvGrpSpPr>
            <p:cNvPr id="236" name="Google Shape;236;p3"/>
            <p:cNvGrpSpPr/>
            <p:nvPr/>
          </p:nvGrpSpPr>
          <p:grpSpPr>
            <a:xfrm>
              <a:off x="6094945" y="0"/>
              <a:ext cx="6104312" cy="6887028"/>
              <a:chOff x="5219700" y="0"/>
              <a:chExt cx="6972300" cy="6887028"/>
            </a:xfrm>
          </p:grpSpPr>
          <p:sp>
            <p:nvSpPr>
              <p:cNvPr id="237" name="Google Shape;237;p3"/>
              <p:cNvSpPr/>
              <p:nvPr/>
            </p:nvSpPr>
            <p:spPr>
              <a:xfrm>
                <a:off x="5219700" y="2286000"/>
                <a:ext cx="6972300" cy="2228850"/>
              </a:xfrm>
              <a:prstGeom prst="rect">
                <a:avLst/>
              </a:prstGeom>
              <a:solidFill>
                <a:srgbClr val="B9CCE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400"/>
                  <a:buFont typeface="Calibri"/>
                  <a:buNone/>
                </a:pPr>
                <a:endParaRPr sz="1400" b="0" i="0" u="none" strike="noStrike" cap="none">
                  <a:solidFill>
                    <a:srgbClr val="B9CCE2"/>
                  </a:solidFill>
                  <a:latin typeface="Arial"/>
                  <a:ea typeface="Arial"/>
                  <a:cs typeface="Arial"/>
                  <a:sym typeface="Arial"/>
                </a:endParaRPr>
              </a:p>
            </p:txBody>
          </p:sp>
          <p:grpSp>
            <p:nvGrpSpPr>
              <p:cNvPr id="238" name="Google Shape;238;p3"/>
              <p:cNvGrpSpPr/>
              <p:nvPr/>
            </p:nvGrpSpPr>
            <p:grpSpPr>
              <a:xfrm>
                <a:off x="5219700" y="0"/>
                <a:ext cx="6972300" cy="6887028"/>
                <a:chOff x="5219700" y="0"/>
                <a:chExt cx="6972300" cy="6682968"/>
              </a:xfrm>
            </p:grpSpPr>
            <p:sp>
              <p:nvSpPr>
                <p:cNvPr id="239" name="Google Shape;239;p3"/>
                <p:cNvSpPr/>
                <p:nvPr/>
              </p:nvSpPr>
              <p:spPr>
                <a:xfrm>
                  <a:off x="5244567" y="4375777"/>
                  <a:ext cx="6939144" cy="2307191"/>
                </a:xfrm>
                <a:prstGeom prst="rect">
                  <a:avLst/>
                </a:prstGeom>
                <a:solidFill>
                  <a:srgbClr val="88A8C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400"/>
                    <a:buFont typeface="Calibri"/>
                    <a:buNone/>
                  </a:pPr>
                  <a:endParaRPr sz="1400" b="0" i="0" u="none" strike="noStrike" cap="none">
                    <a:solidFill>
                      <a:srgbClr val="B9CCE2"/>
                    </a:solidFill>
                    <a:latin typeface="Arial"/>
                    <a:ea typeface="Arial"/>
                    <a:cs typeface="Arial"/>
                    <a:sym typeface="Arial"/>
                  </a:endParaRPr>
                </a:p>
              </p:txBody>
            </p:sp>
            <p:sp>
              <p:nvSpPr>
                <p:cNvPr id="240" name="Google Shape;240;p3"/>
                <p:cNvSpPr/>
                <p:nvPr/>
              </p:nvSpPr>
              <p:spPr>
                <a:xfrm>
                  <a:off x="5219700" y="0"/>
                  <a:ext cx="6972300" cy="2228850"/>
                </a:xfrm>
                <a:prstGeom prst="rect">
                  <a:avLst/>
                </a:prstGeom>
                <a:solidFill>
                  <a:schemeClr val="accent6"/>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400"/>
                    <a:buFont typeface="Calibri"/>
                    <a:buNone/>
                  </a:pPr>
                  <a:endParaRPr sz="1400" b="0" i="0" u="none" strike="noStrike" cap="none">
                    <a:solidFill>
                      <a:srgbClr val="B9CCE2"/>
                    </a:solidFill>
                    <a:latin typeface="Arial"/>
                    <a:ea typeface="Arial"/>
                    <a:cs typeface="Arial"/>
                    <a:sym typeface="Arial"/>
                  </a:endParaRPr>
                </a:p>
              </p:txBody>
            </p:sp>
          </p:grpSp>
        </p:grpSp>
        <p:sp>
          <p:nvSpPr>
            <p:cNvPr id="3" name="Rectangle 2">
              <a:extLst>
                <a:ext uri="{FF2B5EF4-FFF2-40B4-BE49-F238E27FC236}">
                  <a16:creationId xmlns:a16="http://schemas.microsoft.com/office/drawing/2014/main" id="{E9193AB1-7F31-4DA8-91B4-725C6981F2BF}"/>
                </a:ext>
              </a:extLst>
            </p:cNvPr>
            <p:cNvSpPr/>
            <p:nvPr/>
          </p:nvSpPr>
          <p:spPr>
            <a:xfrm>
              <a:off x="5638800" y="3629"/>
              <a:ext cx="493486" cy="6865256"/>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43" name="Google Shape;243;p3"/>
          <p:cNvSpPr txBox="1"/>
          <p:nvPr/>
        </p:nvSpPr>
        <p:spPr>
          <a:xfrm>
            <a:off x="8917360" y="6408650"/>
            <a:ext cx="2723465" cy="276999"/>
          </a:xfrm>
          <a:prstGeom prst="rect">
            <a:avLst/>
          </a:prstGeom>
          <a:noFill/>
          <a:ln>
            <a:noFill/>
          </a:ln>
        </p:spPr>
        <p:txBody>
          <a:bodyPr spcFirstLastPara="1" wrap="square" lIns="91425" tIns="45700" rIns="91425" bIns="45700" anchor="t" anchorCtr="0">
            <a:spAutoFit/>
          </a:bodyPr>
          <a:lstStyle/>
          <a:p>
            <a:pPr marL="0" marR="0" lvl="0" indent="0" algn="r" rtl="0">
              <a:spcBef>
                <a:spcPts val="0"/>
              </a:spcBef>
              <a:spcAft>
                <a:spcPts val="0"/>
              </a:spcAft>
              <a:buClr>
                <a:schemeClr val="lt1"/>
              </a:buClr>
              <a:buSzPts val="1200"/>
              <a:buFont typeface="Source Sans Pro"/>
              <a:buNone/>
            </a:pPr>
            <a:r>
              <a:rPr lang="en-US" sz="1200" b="0" i="0" u="none" strike="noStrike" cap="none">
                <a:solidFill>
                  <a:schemeClr val="lt1"/>
                </a:solidFill>
                <a:latin typeface="Source Sans Pro"/>
                <a:ea typeface="Source Sans Pro"/>
                <a:cs typeface="Source Sans Pro"/>
                <a:sym typeface="Source Sans Pro"/>
              </a:rPr>
              <a:t>Introduction</a:t>
            </a:r>
            <a:endParaRPr sz="1800" b="0" i="0" u="none" strike="noStrike" cap="none">
              <a:solidFill>
                <a:schemeClr val="lt1"/>
              </a:solidFill>
              <a:latin typeface="Calibri"/>
              <a:ea typeface="Calibri"/>
              <a:cs typeface="Calibri"/>
              <a:sym typeface="Calibri"/>
            </a:endParaRPr>
          </a:p>
        </p:txBody>
      </p:sp>
      <p:pic>
        <p:nvPicPr>
          <p:cNvPr id="246" name="Google Shape;246;p3"/>
          <p:cNvPicPr preferRelativeResize="0"/>
          <p:nvPr/>
        </p:nvPicPr>
        <p:blipFill rotWithShape="1">
          <a:blip r:embed="rId3">
            <a:alphaModFix/>
          </a:blip>
          <a:srcRect/>
          <a:stretch/>
        </p:blipFill>
        <p:spPr>
          <a:xfrm>
            <a:off x="10779955" y="664139"/>
            <a:ext cx="964943" cy="947280"/>
          </a:xfrm>
          <a:prstGeom prst="rect">
            <a:avLst/>
          </a:prstGeom>
          <a:noFill/>
          <a:ln>
            <a:noFill/>
          </a:ln>
        </p:spPr>
      </p:pic>
      <p:pic>
        <p:nvPicPr>
          <p:cNvPr id="247" name="Google Shape;247;p3"/>
          <p:cNvPicPr preferRelativeResize="0"/>
          <p:nvPr/>
        </p:nvPicPr>
        <p:blipFill rotWithShape="1">
          <a:blip r:embed="rId4">
            <a:alphaModFix/>
          </a:blip>
          <a:srcRect/>
          <a:stretch/>
        </p:blipFill>
        <p:spPr>
          <a:xfrm>
            <a:off x="10778416" y="3014524"/>
            <a:ext cx="1023366" cy="967026"/>
          </a:xfrm>
          <a:prstGeom prst="rect">
            <a:avLst/>
          </a:prstGeom>
          <a:noFill/>
          <a:ln>
            <a:noFill/>
          </a:ln>
        </p:spPr>
      </p:pic>
      <p:pic>
        <p:nvPicPr>
          <p:cNvPr id="248" name="Google Shape;248;p3"/>
          <p:cNvPicPr preferRelativeResize="0"/>
          <p:nvPr/>
        </p:nvPicPr>
        <p:blipFill rotWithShape="1">
          <a:blip r:embed="rId5">
            <a:alphaModFix/>
          </a:blip>
          <a:srcRect/>
          <a:stretch/>
        </p:blipFill>
        <p:spPr>
          <a:xfrm>
            <a:off x="10922884" y="5224437"/>
            <a:ext cx="850016" cy="833846"/>
          </a:xfrm>
          <a:prstGeom prst="rect">
            <a:avLst/>
          </a:prstGeom>
          <a:noFill/>
          <a:ln>
            <a:noFill/>
          </a:ln>
        </p:spPr>
      </p:pic>
      <p:grpSp>
        <p:nvGrpSpPr>
          <p:cNvPr id="249" name="Google Shape;249;p3"/>
          <p:cNvGrpSpPr/>
          <p:nvPr/>
        </p:nvGrpSpPr>
        <p:grpSpPr>
          <a:xfrm>
            <a:off x="6547644" y="866320"/>
            <a:ext cx="4105095" cy="1335945"/>
            <a:chOff x="409856" y="3855788"/>
            <a:chExt cx="4105095" cy="1335945"/>
          </a:xfrm>
        </p:grpSpPr>
        <p:sp>
          <p:nvSpPr>
            <p:cNvPr id="250" name="Google Shape;250;p3"/>
            <p:cNvSpPr txBox="1"/>
            <p:nvPr/>
          </p:nvSpPr>
          <p:spPr>
            <a:xfrm>
              <a:off x="409856" y="3859645"/>
              <a:ext cx="404166" cy="535464"/>
            </a:xfrm>
            <a:prstGeom prst="rect">
              <a:avLst/>
            </a:prstGeom>
            <a:noFill/>
            <a:ln>
              <a:noFill/>
            </a:ln>
          </p:spPr>
          <p:txBody>
            <a:bodyPr spcFirstLastPara="1" wrap="square" lIns="0" tIns="0" rIns="0" bIns="0" anchor="b" anchorCtr="0">
              <a:noAutofit/>
            </a:bodyPr>
            <a:lstStyle/>
            <a:p>
              <a:pPr marL="0" marR="0" lvl="0" indent="0" algn="ctr" rtl="0">
                <a:lnSpc>
                  <a:spcPct val="100000"/>
                </a:lnSpc>
                <a:spcBef>
                  <a:spcPts val="0"/>
                </a:spcBef>
                <a:spcAft>
                  <a:spcPts val="0"/>
                </a:spcAft>
                <a:buClr>
                  <a:srgbClr val="303A46"/>
                </a:buClr>
                <a:buSzPts val="4800"/>
                <a:buFont typeface="PT Serif"/>
                <a:buNone/>
              </a:pPr>
              <a:r>
                <a:rPr lang="en-US" sz="4000" b="1" i="0" u="none" strike="noStrike" cap="none">
                  <a:solidFill>
                    <a:schemeClr val="dk2"/>
                  </a:solidFill>
                  <a:latin typeface="PT Serif"/>
                  <a:ea typeface="PT Serif"/>
                  <a:cs typeface="PT Serif"/>
                  <a:sym typeface="PT Serif"/>
                </a:rPr>
                <a:t>1</a:t>
              </a:r>
              <a:endParaRPr sz="4000" b="0" i="0" u="none" strike="noStrike" cap="none">
                <a:solidFill>
                  <a:srgbClr val="000000"/>
                </a:solidFill>
                <a:latin typeface="Arial"/>
                <a:ea typeface="Arial"/>
                <a:cs typeface="Arial"/>
                <a:sym typeface="Arial"/>
              </a:endParaRPr>
            </a:p>
          </p:txBody>
        </p:sp>
        <p:sp>
          <p:nvSpPr>
            <p:cNvPr id="251" name="Google Shape;251;p3"/>
            <p:cNvSpPr txBox="1"/>
            <p:nvPr/>
          </p:nvSpPr>
          <p:spPr>
            <a:xfrm>
              <a:off x="1011985" y="3855788"/>
              <a:ext cx="3502966" cy="1335945"/>
            </a:xfrm>
            <a:prstGeom prst="rect">
              <a:avLst/>
            </a:prstGeom>
            <a:noFill/>
            <a:ln>
              <a:noFill/>
            </a:ln>
          </p:spPr>
          <p:txBody>
            <a:bodyPr spcFirstLastPara="1" wrap="square" lIns="0" tIns="0" rIns="0" bIns="0" anchor="t" anchorCtr="0">
              <a:noAutofit/>
            </a:bodyPr>
            <a:lstStyle/>
            <a:p>
              <a:pPr marL="0" marR="0" lvl="0" indent="0" algn="l" rtl="0">
                <a:lnSpc>
                  <a:spcPct val="90000"/>
                </a:lnSpc>
                <a:spcBef>
                  <a:spcPts val="0"/>
                </a:spcBef>
                <a:spcAft>
                  <a:spcPts val="0"/>
                </a:spcAft>
                <a:buClr>
                  <a:schemeClr val="dk2"/>
                </a:buClr>
                <a:buSzPts val="2400"/>
                <a:buFont typeface="PT Serif"/>
                <a:buNone/>
              </a:pPr>
              <a:r>
                <a:rPr lang="en-US" sz="1800" b="0" i="0" u="none" strike="noStrike" cap="none">
                  <a:solidFill>
                    <a:schemeClr val="dk2"/>
                  </a:solidFill>
                  <a:latin typeface="PT Serif"/>
                  <a:ea typeface="PT Serif"/>
                  <a:cs typeface="PT Serif"/>
                  <a:sym typeface="PT Serif"/>
                </a:rPr>
                <a:t>To demo the accomplishments or functionality that was built over the past sprint</a:t>
              </a:r>
              <a:endParaRPr sz="1800" b="0" i="0" u="none" strike="noStrike" cap="none">
                <a:solidFill>
                  <a:srgbClr val="000000"/>
                </a:solidFill>
                <a:latin typeface="Arial"/>
                <a:ea typeface="Arial"/>
                <a:cs typeface="Arial"/>
                <a:sym typeface="Arial"/>
              </a:endParaRPr>
            </a:p>
          </p:txBody>
        </p:sp>
      </p:grpSp>
      <p:grpSp>
        <p:nvGrpSpPr>
          <p:cNvPr id="252" name="Google Shape;252;p3"/>
          <p:cNvGrpSpPr/>
          <p:nvPr/>
        </p:nvGrpSpPr>
        <p:grpSpPr>
          <a:xfrm>
            <a:off x="6547644" y="3217666"/>
            <a:ext cx="3875559" cy="1077547"/>
            <a:chOff x="4391305" y="3852592"/>
            <a:chExt cx="3875559" cy="1077547"/>
          </a:xfrm>
        </p:grpSpPr>
        <p:sp>
          <p:nvSpPr>
            <p:cNvPr id="253" name="Google Shape;253;p3"/>
            <p:cNvSpPr txBox="1"/>
            <p:nvPr/>
          </p:nvSpPr>
          <p:spPr>
            <a:xfrm>
              <a:off x="4986148" y="3852592"/>
              <a:ext cx="3280716" cy="1077547"/>
            </a:xfrm>
            <a:prstGeom prst="rect">
              <a:avLst/>
            </a:prstGeom>
            <a:noFill/>
            <a:ln>
              <a:noFill/>
            </a:ln>
          </p:spPr>
          <p:txBody>
            <a:bodyPr spcFirstLastPara="1" wrap="square" lIns="0" tIns="0" rIns="0" bIns="0" anchor="t" anchorCtr="0">
              <a:noAutofit/>
            </a:bodyPr>
            <a:lstStyle/>
            <a:p>
              <a:pPr marL="0" marR="0" lvl="0" indent="0" algn="l" rtl="0">
                <a:lnSpc>
                  <a:spcPct val="90000"/>
                </a:lnSpc>
                <a:spcBef>
                  <a:spcPts val="0"/>
                </a:spcBef>
                <a:spcAft>
                  <a:spcPts val="0"/>
                </a:spcAft>
                <a:buClr>
                  <a:schemeClr val="dk2"/>
                </a:buClr>
                <a:buSzPts val="2400"/>
                <a:buFont typeface="PT Serif"/>
                <a:buNone/>
              </a:pPr>
              <a:r>
                <a:rPr lang="en-US" sz="1800" b="0" i="0" u="none" strike="noStrike" cap="none">
                  <a:solidFill>
                    <a:schemeClr val="dk2"/>
                  </a:solidFill>
                  <a:latin typeface="PT Serif"/>
                  <a:ea typeface="PT Serif"/>
                  <a:cs typeface="PT Serif"/>
                  <a:sym typeface="PT Serif"/>
                </a:rPr>
                <a:t>To get feedback and insights early and often</a:t>
              </a:r>
              <a:endParaRPr sz="1800" b="0" i="0" u="none" strike="noStrike" cap="none">
                <a:solidFill>
                  <a:srgbClr val="000000"/>
                </a:solidFill>
                <a:latin typeface="Arial"/>
                <a:ea typeface="Arial"/>
                <a:cs typeface="Arial"/>
                <a:sym typeface="Arial"/>
              </a:endParaRPr>
            </a:p>
          </p:txBody>
        </p:sp>
        <p:sp>
          <p:nvSpPr>
            <p:cNvPr id="254" name="Google Shape;254;p3"/>
            <p:cNvSpPr txBox="1"/>
            <p:nvPr/>
          </p:nvSpPr>
          <p:spPr>
            <a:xfrm>
              <a:off x="4391305" y="3853294"/>
              <a:ext cx="404166" cy="535464"/>
            </a:xfrm>
            <a:prstGeom prst="rect">
              <a:avLst/>
            </a:prstGeom>
            <a:noFill/>
            <a:ln>
              <a:noFill/>
            </a:ln>
          </p:spPr>
          <p:txBody>
            <a:bodyPr spcFirstLastPara="1" wrap="square" lIns="0" tIns="0" rIns="0" bIns="0" anchor="b" anchorCtr="0">
              <a:noAutofit/>
            </a:bodyPr>
            <a:lstStyle/>
            <a:p>
              <a:pPr marL="0" marR="0" lvl="0" indent="0" algn="ctr" rtl="0">
                <a:lnSpc>
                  <a:spcPct val="100000"/>
                </a:lnSpc>
                <a:spcBef>
                  <a:spcPts val="0"/>
                </a:spcBef>
                <a:spcAft>
                  <a:spcPts val="0"/>
                </a:spcAft>
                <a:buClr>
                  <a:srgbClr val="303A46"/>
                </a:buClr>
                <a:buSzPts val="4800"/>
                <a:buFont typeface="PT Serif"/>
                <a:buNone/>
              </a:pPr>
              <a:r>
                <a:rPr lang="en-US" sz="4000" b="1" i="0" u="none" strike="noStrike" cap="none">
                  <a:solidFill>
                    <a:schemeClr val="dk2"/>
                  </a:solidFill>
                  <a:latin typeface="PT Serif"/>
                  <a:ea typeface="PT Serif"/>
                  <a:cs typeface="PT Serif"/>
                  <a:sym typeface="PT Serif"/>
                </a:rPr>
                <a:t>2</a:t>
              </a:r>
              <a:endParaRPr sz="4000" b="0" i="0" u="none" strike="noStrike" cap="none">
                <a:solidFill>
                  <a:srgbClr val="000000"/>
                </a:solidFill>
                <a:latin typeface="Arial"/>
                <a:ea typeface="Arial"/>
                <a:cs typeface="Arial"/>
                <a:sym typeface="Arial"/>
              </a:endParaRPr>
            </a:p>
          </p:txBody>
        </p:sp>
      </p:grpSp>
      <p:grpSp>
        <p:nvGrpSpPr>
          <p:cNvPr id="255" name="Google Shape;255;p3"/>
          <p:cNvGrpSpPr/>
          <p:nvPr/>
        </p:nvGrpSpPr>
        <p:grpSpPr>
          <a:xfrm>
            <a:off x="6547644" y="5293609"/>
            <a:ext cx="3757708" cy="909127"/>
            <a:chOff x="8588654" y="3807371"/>
            <a:chExt cx="3757708" cy="909127"/>
          </a:xfrm>
        </p:grpSpPr>
        <p:sp>
          <p:nvSpPr>
            <p:cNvPr id="256" name="Google Shape;256;p3"/>
            <p:cNvSpPr txBox="1"/>
            <p:nvPr/>
          </p:nvSpPr>
          <p:spPr>
            <a:xfrm>
              <a:off x="9179946" y="3807371"/>
              <a:ext cx="3166416" cy="909127"/>
            </a:xfrm>
            <a:prstGeom prst="rect">
              <a:avLst/>
            </a:prstGeom>
            <a:noFill/>
            <a:ln>
              <a:noFill/>
            </a:ln>
          </p:spPr>
          <p:txBody>
            <a:bodyPr spcFirstLastPara="1" wrap="square" lIns="0" tIns="0" rIns="0" bIns="0" anchor="t" anchorCtr="0">
              <a:noAutofit/>
            </a:bodyPr>
            <a:lstStyle/>
            <a:p>
              <a:pPr marL="0" marR="0" lvl="0" indent="0" algn="l" rtl="0">
                <a:lnSpc>
                  <a:spcPct val="90000"/>
                </a:lnSpc>
                <a:spcBef>
                  <a:spcPts val="0"/>
                </a:spcBef>
                <a:spcAft>
                  <a:spcPts val="0"/>
                </a:spcAft>
                <a:buClr>
                  <a:schemeClr val="dk2"/>
                </a:buClr>
                <a:buSzPts val="2400"/>
                <a:buFont typeface="PT Serif"/>
                <a:buNone/>
              </a:pPr>
              <a:r>
                <a:rPr lang="en-US" sz="1800" b="0" i="0" u="none" strike="noStrike" cap="none">
                  <a:solidFill>
                    <a:srgbClr val="202120"/>
                  </a:solidFill>
                  <a:latin typeface="PT Serif"/>
                  <a:ea typeface="PT Serif"/>
                  <a:cs typeface="PT Serif"/>
                  <a:sym typeface="PT Serif"/>
                </a:rPr>
                <a:t>To create transparency for anyone interested on the product and progress</a:t>
              </a:r>
              <a:endParaRPr sz="1800" b="0" i="0" u="none" strike="noStrike" cap="none">
                <a:solidFill>
                  <a:srgbClr val="202120"/>
                </a:solidFill>
                <a:latin typeface="Arial"/>
                <a:ea typeface="Arial"/>
                <a:cs typeface="Arial"/>
                <a:sym typeface="Arial"/>
              </a:endParaRPr>
            </a:p>
          </p:txBody>
        </p:sp>
        <p:sp>
          <p:nvSpPr>
            <p:cNvPr id="257" name="Google Shape;257;p3"/>
            <p:cNvSpPr txBox="1"/>
            <p:nvPr/>
          </p:nvSpPr>
          <p:spPr>
            <a:xfrm>
              <a:off x="8588654" y="3815193"/>
              <a:ext cx="404166" cy="535464"/>
            </a:xfrm>
            <a:prstGeom prst="rect">
              <a:avLst/>
            </a:prstGeom>
            <a:noFill/>
            <a:ln>
              <a:noFill/>
            </a:ln>
          </p:spPr>
          <p:txBody>
            <a:bodyPr spcFirstLastPara="1" wrap="square" lIns="0" tIns="0" rIns="0" bIns="0" anchor="b" anchorCtr="0">
              <a:noAutofit/>
            </a:bodyPr>
            <a:lstStyle/>
            <a:p>
              <a:pPr marL="0" marR="0" lvl="0" indent="0" algn="ctr" rtl="0">
                <a:lnSpc>
                  <a:spcPct val="100000"/>
                </a:lnSpc>
                <a:spcBef>
                  <a:spcPts val="0"/>
                </a:spcBef>
                <a:spcAft>
                  <a:spcPts val="0"/>
                </a:spcAft>
                <a:buClr>
                  <a:srgbClr val="303A46"/>
                </a:buClr>
                <a:buSzPts val="4800"/>
                <a:buFont typeface="PT Serif"/>
                <a:buNone/>
              </a:pPr>
              <a:r>
                <a:rPr lang="en-US" sz="4000" b="1" i="0" u="none" strike="noStrike" cap="none">
                  <a:solidFill>
                    <a:srgbClr val="202120"/>
                  </a:solidFill>
                  <a:latin typeface="PT Serif"/>
                  <a:ea typeface="PT Serif"/>
                  <a:cs typeface="PT Serif"/>
                  <a:sym typeface="PT Serif"/>
                </a:rPr>
                <a:t>3</a:t>
              </a:r>
              <a:endParaRPr sz="4000" b="0" i="0" u="none" strike="noStrike" cap="none">
                <a:solidFill>
                  <a:srgbClr val="202120"/>
                </a:solidFill>
                <a:latin typeface="Arial"/>
                <a:ea typeface="Arial"/>
                <a:cs typeface="Arial"/>
                <a:sym typeface="Arial"/>
              </a:endParaRPr>
            </a:p>
          </p:txBody>
        </p:sp>
      </p:grpSp>
      <p:sp>
        <p:nvSpPr>
          <p:cNvPr id="242" name="Google Shape;242;p3"/>
          <p:cNvSpPr txBox="1">
            <a:spLocks noGrp="1"/>
          </p:cNvSpPr>
          <p:nvPr>
            <p:ph type="sldNum" idx="12"/>
          </p:nvPr>
        </p:nvSpPr>
        <p:spPr>
          <a:xfrm>
            <a:off x="11474969" y="6363970"/>
            <a:ext cx="406052" cy="365125"/>
          </a:xfrm>
          <a:prstGeom prst="rect">
            <a:avLst/>
          </a:prstGeom>
          <a:noFill/>
          <a:ln>
            <a:noFill/>
          </a:ln>
        </p:spPr>
        <p:txBody>
          <a:bodyPr spcFirstLastPara="1" wrap="square" lIns="91425" tIns="45700" rIns="91425" bIns="45700" anchor="ctr" anchorCtr="0">
            <a:noAutofit/>
          </a:bodyPr>
          <a:lstStyle/>
          <a:p>
            <a:pPr marL="0" lvl="0" indent="0" algn="r" rtl="0">
              <a:spcBef>
                <a:spcPts val="0"/>
              </a:spcBef>
              <a:spcAft>
                <a:spcPts val="0"/>
              </a:spcAft>
              <a:buNone/>
            </a:pPr>
            <a:fld id="{00000000-1234-1234-1234-123412341234}" type="slidenum">
              <a:rPr lang="en-US">
                <a:solidFill>
                  <a:schemeClr val="lt1"/>
                </a:solidFill>
                <a:latin typeface="Source Sans Pro"/>
                <a:ea typeface="Source Sans Pro"/>
                <a:cs typeface="Source Sans Pro"/>
                <a:sym typeface="Source Sans Pro"/>
              </a:rPr>
              <a:t>3</a:t>
            </a:fld>
            <a:endParaRPr>
              <a:solidFill>
                <a:schemeClr val="lt1"/>
              </a:solidFill>
              <a:latin typeface="Source Sans Pro"/>
              <a:ea typeface="Source Sans Pro"/>
              <a:cs typeface="Source Sans Pro"/>
              <a:sym typeface="Source Sans Pro"/>
            </a:endParaRPr>
          </a:p>
        </p:txBody>
      </p: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Shape 646"/>
        <p:cNvGrpSpPr/>
        <p:nvPr/>
      </p:nvGrpSpPr>
      <p:grpSpPr>
        <a:xfrm>
          <a:off x="0" y="0"/>
          <a:ext cx="0" cy="0"/>
          <a:chOff x="0" y="0"/>
          <a:chExt cx="0" cy="0"/>
        </a:xfrm>
      </p:grpSpPr>
      <p:cxnSp>
        <p:nvCxnSpPr>
          <p:cNvPr id="647" name="Google Shape;647;p17"/>
          <p:cNvCxnSpPr/>
          <p:nvPr/>
        </p:nvCxnSpPr>
        <p:spPr>
          <a:xfrm rot="10800000">
            <a:off x="8694795" y="2255175"/>
            <a:ext cx="0" cy="335625"/>
          </a:xfrm>
          <a:prstGeom prst="straightConnector1">
            <a:avLst/>
          </a:prstGeom>
          <a:noFill/>
          <a:ln w="9525" cap="flat" cmpd="sng">
            <a:solidFill>
              <a:schemeClr val="lt1"/>
            </a:solidFill>
            <a:prstDash val="solid"/>
            <a:miter lim="800000"/>
            <a:headEnd type="none" w="sm" len="sm"/>
            <a:tailEnd type="none" w="sm" len="sm"/>
          </a:ln>
        </p:spPr>
      </p:cxnSp>
      <p:cxnSp>
        <p:nvCxnSpPr>
          <p:cNvPr id="648" name="Google Shape;648;p17"/>
          <p:cNvCxnSpPr/>
          <p:nvPr/>
        </p:nvCxnSpPr>
        <p:spPr>
          <a:xfrm rot="10800000">
            <a:off x="2704628" y="2255175"/>
            <a:ext cx="0" cy="335625"/>
          </a:xfrm>
          <a:prstGeom prst="straightConnector1">
            <a:avLst/>
          </a:prstGeom>
          <a:noFill/>
          <a:ln w="9525" cap="flat" cmpd="sng">
            <a:solidFill>
              <a:schemeClr val="lt1"/>
            </a:solidFill>
            <a:prstDash val="solid"/>
            <a:miter lim="800000"/>
            <a:headEnd type="none" w="sm" len="sm"/>
            <a:tailEnd type="none" w="sm" len="sm"/>
          </a:ln>
        </p:spPr>
      </p:cxnSp>
      <p:sp>
        <p:nvSpPr>
          <p:cNvPr id="649" name="Google Shape;649;p17"/>
          <p:cNvSpPr txBox="1"/>
          <p:nvPr/>
        </p:nvSpPr>
        <p:spPr>
          <a:xfrm>
            <a:off x="11474969" y="6356350"/>
            <a:ext cx="406052" cy="365125"/>
          </a:xfrm>
          <a:prstGeom prst="rect">
            <a:avLst/>
          </a:prstGeom>
          <a:noFill/>
          <a:ln>
            <a:noFill/>
          </a:ln>
        </p:spPr>
        <p:txBody>
          <a:bodyPr spcFirstLastPara="1" wrap="square" lIns="91425" tIns="45700" rIns="91425" bIns="45700" anchor="ctr" anchorCtr="0">
            <a:noAutofit/>
          </a:bodyPr>
          <a:lstStyle/>
          <a:p>
            <a:pPr marL="0" marR="0" lvl="0" indent="0" algn="r" rtl="0">
              <a:lnSpc>
                <a:spcPct val="100000"/>
              </a:lnSpc>
              <a:spcBef>
                <a:spcPts val="0"/>
              </a:spcBef>
              <a:spcAft>
                <a:spcPts val="0"/>
              </a:spcAft>
              <a:buClr>
                <a:srgbClr val="8A8A8A"/>
              </a:buClr>
              <a:buSzPts val="1200"/>
              <a:buFont typeface="Arial"/>
              <a:buNone/>
            </a:pPr>
            <a:fld id="{00000000-1234-1234-1234-123412341234}" type="slidenum">
              <a:rPr lang="en-US" sz="1200" b="0" i="0" u="none" strike="noStrike" cap="none">
                <a:solidFill>
                  <a:srgbClr val="8A8A8A"/>
                </a:solidFill>
                <a:latin typeface="Source Sans Pro"/>
                <a:ea typeface="Source Sans Pro"/>
                <a:cs typeface="Source Sans Pro"/>
                <a:sym typeface="Source Sans Pro"/>
              </a:rPr>
              <a:t>30</a:t>
            </a:fld>
            <a:endParaRPr sz="1200" b="0" i="0" u="none" strike="noStrike" cap="none">
              <a:solidFill>
                <a:srgbClr val="8A8A8A"/>
              </a:solidFill>
              <a:latin typeface="Source Sans Pro"/>
              <a:ea typeface="Source Sans Pro"/>
              <a:cs typeface="Source Sans Pro"/>
              <a:sym typeface="Source Sans Pro"/>
            </a:endParaRPr>
          </a:p>
        </p:txBody>
      </p:sp>
      <p:sp>
        <p:nvSpPr>
          <p:cNvPr id="651" name="Google Shape;651;p17"/>
          <p:cNvSpPr txBox="1"/>
          <p:nvPr/>
        </p:nvSpPr>
        <p:spPr>
          <a:xfrm>
            <a:off x="406690" y="711050"/>
            <a:ext cx="10993180" cy="1008717"/>
          </a:xfrm>
          <a:prstGeom prst="rect">
            <a:avLst/>
          </a:prstGeom>
          <a:noFill/>
          <a:ln>
            <a:noFill/>
          </a:ln>
        </p:spPr>
        <p:txBody>
          <a:bodyPr spcFirstLastPara="1" wrap="square" lIns="0" tIns="0" rIns="0" bIns="0" anchor="t" anchorCtr="0">
            <a:noAutofit/>
          </a:bodyPr>
          <a:lstStyle/>
          <a:p>
            <a:r>
              <a:rPr lang="en-US" sz="2800">
                <a:solidFill>
                  <a:schemeClr val="dk1"/>
                </a:solidFill>
                <a:latin typeface="PT Serif"/>
                <a:ea typeface="Source Sans Pro"/>
                <a:sym typeface="PT Serif"/>
              </a:rPr>
              <a:t>Lorem</a:t>
            </a:r>
            <a:endParaRPr lang="en-US" sz="2800">
              <a:solidFill>
                <a:schemeClr val="dk1"/>
              </a:solidFill>
              <a:latin typeface="PT Serif"/>
              <a:ea typeface="Source Sans Pro"/>
            </a:endParaRPr>
          </a:p>
        </p:txBody>
      </p:sp>
      <p:grpSp>
        <p:nvGrpSpPr>
          <p:cNvPr id="3" name="Google Shape;602;p14">
            <a:extLst>
              <a:ext uri="{FF2B5EF4-FFF2-40B4-BE49-F238E27FC236}">
                <a16:creationId xmlns:a16="http://schemas.microsoft.com/office/drawing/2014/main" id="{560B9BCE-BD9C-4DC4-B8D7-55EDB4302727}"/>
              </a:ext>
            </a:extLst>
          </p:cNvPr>
          <p:cNvGrpSpPr/>
          <p:nvPr/>
        </p:nvGrpSpPr>
        <p:grpSpPr>
          <a:xfrm>
            <a:off x="410431" y="309109"/>
            <a:ext cx="5150524" cy="369094"/>
            <a:chOff x="410431" y="309109"/>
            <a:chExt cx="5150524" cy="369094"/>
          </a:xfrm>
        </p:grpSpPr>
        <p:sp>
          <p:nvSpPr>
            <p:cNvPr id="20" name="Google Shape;603;p14">
              <a:extLst>
                <a:ext uri="{FF2B5EF4-FFF2-40B4-BE49-F238E27FC236}">
                  <a16:creationId xmlns:a16="http://schemas.microsoft.com/office/drawing/2014/main" id="{F925A1F4-7E0D-4E3E-AB93-6F1A04816973}"/>
                </a:ext>
              </a:extLst>
            </p:cNvPr>
            <p:cNvSpPr/>
            <p:nvPr/>
          </p:nvSpPr>
          <p:spPr>
            <a:xfrm>
              <a:off x="410431" y="313703"/>
              <a:ext cx="255129" cy="263129"/>
            </a:xfrm>
            <a:prstGeom prst="ellipse">
              <a:avLst/>
            </a:prstGeom>
            <a:solidFill>
              <a:srgbClr val="014479"/>
            </a:solidFill>
            <a:ln>
              <a:noFill/>
            </a:ln>
          </p:spPr>
          <p:txBody>
            <a:bodyPr spcFirstLastPara="1" wrap="square" lIns="0" tIns="0" rIns="0" bIns="0" anchor="ctr" anchorCtr="1">
              <a:noAutofit/>
            </a:bodyPr>
            <a:lstStyle/>
            <a:p>
              <a:pPr marL="0" marR="0" lvl="0" indent="0" algn="ctr" rtl="0">
                <a:lnSpc>
                  <a:spcPct val="100000"/>
                </a:lnSpc>
                <a:spcBef>
                  <a:spcPts val="0"/>
                </a:spcBef>
                <a:spcAft>
                  <a:spcPts val="0"/>
                </a:spcAft>
                <a:buClr>
                  <a:srgbClr val="FFFFFF"/>
                </a:buClr>
                <a:buSzPts val="3600"/>
                <a:buFont typeface="PT Serif"/>
                <a:buNone/>
              </a:pPr>
              <a:r>
                <a:rPr lang="en-US" sz="1200">
                  <a:solidFill>
                    <a:srgbClr val="FFFFFF"/>
                  </a:solidFill>
                  <a:latin typeface="PT Serif"/>
                </a:rPr>
                <a:t>2</a:t>
              </a:r>
              <a:endParaRPr lang="en-US" sz="1200" b="0" i="0" u="none" strike="noStrike" cap="none">
                <a:solidFill>
                  <a:srgbClr val="FFFFFF"/>
                </a:solidFill>
                <a:latin typeface="PT Serif"/>
                <a:ea typeface="Arial"/>
                <a:cs typeface="Arial"/>
              </a:endParaRPr>
            </a:p>
          </p:txBody>
        </p:sp>
        <p:sp>
          <p:nvSpPr>
            <p:cNvPr id="21" name="Google Shape;604;p14">
              <a:extLst>
                <a:ext uri="{FF2B5EF4-FFF2-40B4-BE49-F238E27FC236}">
                  <a16:creationId xmlns:a16="http://schemas.microsoft.com/office/drawing/2014/main" id="{313FFEE4-B196-49E6-BA0E-316E9BA5BF3D}"/>
                </a:ext>
              </a:extLst>
            </p:cNvPr>
            <p:cNvSpPr txBox="1"/>
            <p:nvPr/>
          </p:nvSpPr>
          <p:spPr>
            <a:xfrm>
              <a:off x="736498" y="309109"/>
              <a:ext cx="4824457" cy="369094"/>
            </a:xfrm>
            <a:prstGeom prst="rect">
              <a:avLst/>
            </a:prstGeom>
            <a:noFill/>
            <a:ln>
              <a:noFill/>
            </a:ln>
          </p:spPr>
          <p:txBody>
            <a:bodyPr spcFirstLastPara="1" wrap="square" lIns="0" tIns="45700" rIns="0" bIns="45700" anchor="t" anchorCtr="0">
              <a:normAutofit/>
            </a:bodyPr>
            <a:lstStyle/>
            <a:p>
              <a:pPr marL="0" marR="0" lvl="0" indent="0" algn="l">
                <a:lnSpc>
                  <a:spcPct val="100000"/>
                </a:lnSpc>
                <a:spcBef>
                  <a:spcPts val="0"/>
                </a:spcBef>
                <a:spcAft>
                  <a:spcPts val="0"/>
                </a:spcAft>
                <a:buNone/>
              </a:pPr>
              <a:r>
                <a:rPr lang="en-US">
                  <a:solidFill>
                    <a:srgbClr val="0071BF"/>
                  </a:solidFill>
                  <a:latin typeface="Source Sans Pro"/>
                  <a:ea typeface="Source Sans Pro"/>
                  <a:sym typeface="Source Sans Pro"/>
                </a:rPr>
                <a:t>TECH</a:t>
              </a:r>
              <a:endParaRPr lang="en-US"/>
            </a:p>
          </p:txBody>
        </p:sp>
      </p:grpSp>
      <p:sp>
        <p:nvSpPr>
          <p:cNvPr id="5" name="Google Shape;470;p9">
            <a:extLst>
              <a:ext uri="{FF2B5EF4-FFF2-40B4-BE49-F238E27FC236}">
                <a16:creationId xmlns:a16="http://schemas.microsoft.com/office/drawing/2014/main" id="{22812CC0-45A2-42FA-B89D-A8FF471FF114}"/>
              </a:ext>
            </a:extLst>
          </p:cNvPr>
          <p:cNvSpPr txBox="1"/>
          <p:nvPr/>
        </p:nvSpPr>
        <p:spPr>
          <a:xfrm>
            <a:off x="8917360" y="6408650"/>
            <a:ext cx="2723465" cy="276999"/>
          </a:xfrm>
          <a:prstGeom prst="rect">
            <a:avLst/>
          </a:prstGeom>
          <a:noFill/>
          <a:ln>
            <a:noFill/>
          </a:ln>
        </p:spPr>
        <p:txBody>
          <a:bodyPr spcFirstLastPara="1" wrap="square" lIns="91425" tIns="45700" rIns="91425" bIns="45700" anchor="t" anchorCtr="0">
            <a:spAutoFit/>
          </a:bodyPr>
          <a:lstStyle/>
          <a:p>
            <a:pPr marL="0" marR="0" lvl="0" indent="0" algn="r">
              <a:spcBef>
                <a:spcPts val="0"/>
              </a:spcBef>
              <a:spcAft>
                <a:spcPts val="0"/>
              </a:spcAft>
              <a:buNone/>
            </a:pPr>
            <a:r>
              <a:rPr lang="en-US" sz="1200">
                <a:solidFill>
                  <a:srgbClr val="747C74"/>
                </a:solidFill>
                <a:latin typeface="Source Sans Pro"/>
                <a:ea typeface="Source Sans Pro"/>
                <a:cs typeface="Calibri"/>
                <a:sym typeface="Source Sans Pro"/>
              </a:rPr>
              <a:t>Tech</a:t>
            </a:r>
            <a:endParaRPr lang="en-US"/>
          </a:p>
        </p:txBody>
      </p:sp>
      <p:sp>
        <p:nvSpPr>
          <p:cNvPr id="7" name="Google Shape;337;p6">
            <a:extLst>
              <a:ext uri="{FF2B5EF4-FFF2-40B4-BE49-F238E27FC236}">
                <a16:creationId xmlns:a16="http://schemas.microsoft.com/office/drawing/2014/main" id="{5EDFEF76-4A9B-4615-A291-9A3C8D686D4A}"/>
              </a:ext>
            </a:extLst>
          </p:cNvPr>
          <p:cNvSpPr txBox="1"/>
          <p:nvPr/>
        </p:nvSpPr>
        <p:spPr>
          <a:xfrm>
            <a:off x="419100" y="6408650"/>
            <a:ext cx="2723465" cy="276999"/>
          </a:xfrm>
          <a:prstGeom prst="rect">
            <a:avLst/>
          </a:prstGeom>
          <a:noFill/>
          <a:ln>
            <a:noFill/>
          </a:ln>
        </p:spPr>
        <p:txBody>
          <a:bodyPr spcFirstLastPara="1" wrap="square" lIns="0" tIns="45700" rIns="91425" bIns="45700" anchor="t" anchorCtr="0">
            <a:spAutoFit/>
          </a:bodyPr>
          <a:lstStyle/>
          <a:p>
            <a:pPr marL="0" marR="0" lvl="0" indent="0" algn="l" rtl="0">
              <a:spcBef>
                <a:spcPts val="0"/>
              </a:spcBef>
              <a:spcAft>
                <a:spcPts val="0"/>
              </a:spcAft>
              <a:buNone/>
            </a:pPr>
            <a:r>
              <a:rPr lang="en-US" sz="1200" b="0" i="0" u="none" strike="noStrike" cap="none">
                <a:solidFill>
                  <a:srgbClr val="747C74"/>
                </a:solidFill>
                <a:latin typeface="Source Sans Pro"/>
                <a:ea typeface="Source Sans Pro"/>
                <a:cs typeface="Source Sans Pro"/>
                <a:sym typeface="Source Sans Pro"/>
              </a:rPr>
              <a:t>04-19 Sprint 6</a:t>
            </a:r>
            <a:r>
              <a:rPr lang="en-US" sz="1200">
                <a:solidFill>
                  <a:srgbClr val="747C74"/>
                </a:solidFill>
                <a:latin typeface="Source Sans Pro"/>
                <a:ea typeface="Source Sans Pro"/>
                <a:cs typeface="Source Sans Pro"/>
                <a:sym typeface="Source Sans Pro"/>
              </a:rPr>
              <a:t> </a:t>
            </a:r>
            <a:r>
              <a:rPr lang="en-US" sz="1200" b="0" i="0" u="none" strike="noStrike" cap="none">
                <a:solidFill>
                  <a:srgbClr val="747C74"/>
                </a:solidFill>
                <a:latin typeface="Source Sans Pro"/>
                <a:ea typeface="Source Sans Pro"/>
                <a:cs typeface="Source Sans Pro"/>
                <a:sym typeface="Source Sans Pro"/>
              </a:rPr>
              <a:t>Demo</a:t>
            </a:r>
            <a:endParaRPr sz="1200" b="0" i="0" u="none" strike="noStrike" cap="none">
              <a:solidFill>
                <a:srgbClr val="747C74"/>
              </a:solidFill>
              <a:latin typeface="Calibri"/>
              <a:ea typeface="Calibri"/>
              <a:cs typeface="Calibri"/>
              <a:sym typeface="Calibri"/>
            </a:endParaRPr>
          </a:p>
        </p:txBody>
      </p:sp>
      <p:sp>
        <p:nvSpPr>
          <p:cNvPr id="15" name="Google Shape;655;p17">
            <a:extLst>
              <a:ext uri="{FF2B5EF4-FFF2-40B4-BE49-F238E27FC236}">
                <a16:creationId xmlns:a16="http://schemas.microsoft.com/office/drawing/2014/main" id="{9C4A17CE-EF6F-4ED7-ADC1-9CEE9825B750}"/>
              </a:ext>
            </a:extLst>
          </p:cNvPr>
          <p:cNvSpPr txBox="1"/>
          <p:nvPr/>
        </p:nvSpPr>
        <p:spPr>
          <a:xfrm>
            <a:off x="419100" y="1704783"/>
            <a:ext cx="4414272" cy="1034129"/>
          </a:xfrm>
          <a:prstGeom prst="rect">
            <a:avLst/>
          </a:prstGeom>
          <a:noFill/>
          <a:ln>
            <a:noFill/>
          </a:ln>
        </p:spPr>
        <p:txBody>
          <a:bodyPr spcFirstLastPara="1" wrap="square" lIns="0" tIns="0" rIns="0" bIns="0" anchor="t" anchorCtr="0">
            <a:spAutoFit/>
          </a:bodyPr>
          <a:lstStyle/>
          <a:p>
            <a:r>
              <a:rPr lang="en-US" sz="1200">
                <a:solidFill>
                  <a:schemeClr val="bg2"/>
                </a:solidFill>
                <a:latin typeface="PT Serif"/>
                <a:ea typeface="PT Serif"/>
              </a:rPr>
              <a:t>User Story</a:t>
            </a:r>
            <a:r>
              <a:rPr lang="en-US" sz="1200">
                <a:solidFill>
                  <a:schemeClr val="tx1"/>
                </a:solidFill>
                <a:latin typeface="PT Serif"/>
                <a:ea typeface="PT Serif"/>
              </a:rPr>
              <a:t>: </a:t>
            </a:r>
            <a:r>
              <a:rPr lang="en-US" sz="1200">
                <a:solidFill>
                  <a:schemeClr val="tx1">
                    <a:lumMod val="50000"/>
                    <a:lumOff val="50000"/>
                  </a:schemeClr>
                </a:solidFill>
                <a:latin typeface="PT Serif"/>
                <a:ea typeface="PT Serif"/>
              </a:rPr>
              <a:t>Lorem</a:t>
            </a:r>
            <a:endParaRPr lang="en-US" sz="1200">
              <a:solidFill>
                <a:schemeClr val="tx1">
                  <a:lumMod val="50000"/>
                  <a:lumOff val="50000"/>
                </a:schemeClr>
              </a:solidFill>
              <a:ea typeface="PT Serif"/>
            </a:endParaRPr>
          </a:p>
          <a:p>
            <a:pPr>
              <a:lnSpc>
                <a:spcPct val="114999"/>
              </a:lnSpc>
              <a:buSzPts val="1400"/>
            </a:pPr>
            <a:r>
              <a:rPr lang="en-US" sz="1200" b="0" i="0" strike="noStrike" cap="none">
                <a:solidFill>
                  <a:schemeClr val="bg2"/>
                </a:solidFill>
                <a:latin typeface="PT Serif"/>
                <a:ea typeface="PT Serif"/>
                <a:cs typeface="PT Serif"/>
                <a:sym typeface="PT Serif"/>
              </a:rPr>
              <a:t>User Story</a:t>
            </a:r>
            <a:r>
              <a:rPr lang="en-US" sz="1200" b="0" i="0" strike="noStrike" cap="none">
                <a:solidFill>
                  <a:schemeClr val="tx1"/>
                </a:solidFill>
                <a:latin typeface="PT Serif"/>
                <a:ea typeface="PT Serif"/>
                <a:cs typeface="PT Serif"/>
                <a:sym typeface="PT Serif"/>
              </a:rPr>
              <a:t>: </a:t>
            </a:r>
            <a:r>
              <a:rPr lang="en-US" sz="1200" b="0" i="0" strike="noStrike" cap="none">
                <a:solidFill>
                  <a:schemeClr val="tx1">
                    <a:lumMod val="50000"/>
                    <a:lumOff val="50000"/>
                  </a:schemeClr>
                </a:solidFill>
                <a:latin typeface="PT Serif"/>
                <a:ea typeface="PT Serif"/>
                <a:cs typeface="PT Serif"/>
                <a:sym typeface="PT Serif"/>
              </a:rPr>
              <a:t>Lorem</a:t>
            </a:r>
            <a:endParaRPr lang="en-US" sz="1200" b="0" i="0" strike="noStrike" cap="none">
              <a:solidFill>
                <a:schemeClr val="tx1">
                  <a:lumMod val="50000"/>
                  <a:lumOff val="50000"/>
                </a:schemeClr>
              </a:solidFill>
              <a:latin typeface="PT Serif"/>
              <a:ea typeface="PT Serif"/>
              <a:cs typeface="PT Serif"/>
            </a:endParaRPr>
          </a:p>
          <a:p>
            <a:pPr>
              <a:lnSpc>
                <a:spcPct val="114999"/>
              </a:lnSpc>
              <a:buSzPts val="1400"/>
            </a:pPr>
            <a:r>
              <a:rPr lang="en-US" sz="1200" b="0" i="0" strike="noStrike" cap="none">
                <a:solidFill>
                  <a:schemeClr val="bg2"/>
                </a:solidFill>
                <a:latin typeface="PT Serif"/>
                <a:ea typeface="PT Serif"/>
                <a:cs typeface="PT Serif"/>
                <a:sym typeface="PT Serif"/>
              </a:rPr>
              <a:t>User Story</a:t>
            </a:r>
            <a:r>
              <a:rPr lang="en-US" sz="1200" b="0" i="0" strike="noStrike" cap="none">
                <a:solidFill>
                  <a:schemeClr val="tx1"/>
                </a:solidFill>
                <a:latin typeface="PT Serif"/>
                <a:ea typeface="PT Serif"/>
                <a:cs typeface="PT Serif"/>
                <a:sym typeface="PT Serif"/>
              </a:rPr>
              <a:t>: </a:t>
            </a:r>
            <a:r>
              <a:rPr lang="en-US" sz="1200" b="0" i="0" strike="noStrike" cap="none">
                <a:solidFill>
                  <a:schemeClr val="tx1">
                    <a:lumMod val="50000"/>
                    <a:lumOff val="50000"/>
                  </a:schemeClr>
                </a:solidFill>
                <a:latin typeface="PT Serif"/>
                <a:ea typeface="PT Serif"/>
                <a:cs typeface="PT Serif"/>
                <a:sym typeface="PT Serif"/>
              </a:rPr>
              <a:t>Lorem</a:t>
            </a:r>
            <a:endParaRPr lang="en-US" sz="1200" b="0" i="0" strike="noStrike" cap="none">
              <a:solidFill>
                <a:schemeClr val="tx1">
                  <a:lumMod val="50000"/>
                  <a:lumOff val="50000"/>
                </a:schemeClr>
              </a:solidFill>
              <a:latin typeface="PT Serif"/>
              <a:ea typeface="PT Serif"/>
              <a:cs typeface="PT Serif"/>
            </a:endParaRPr>
          </a:p>
          <a:p>
            <a:pPr>
              <a:lnSpc>
                <a:spcPct val="114999"/>
              </a:lnSpc>
              <a:buSzPts val="1400"/>
            </a:pPr>
            <a:r>
              <a:rPr lang="en-US" sz="1200" b="0" i="0" strike="noStrike" cap="none">
                <a:solidFill>
                  <a:schemeClr val="bg2"/>
                </a:solidFill>
                <a:latin typeface="PT Serif"/>
                <a:ea typeface="PT Serif"/>
                <a:cs typeface="PT Serif"/>
                <a:sym typeface="PT Serif"/>
              </a:rPr>
              <a:t>User Story</a:t>
            </a:r>
            <a:r>
              <a:rPr lang="en-US" sz="1200" b="0" i="0" strike="noStrike" cap="none">
                <a:solidFill>
                  <a:schemeClr val="tx1"/>
                </a:solidFill>
                <a:latin typeface="PT Serif"/>
                <a:ea typeface="PT Serif"/>
                <a:cs typeface="PT Serif"/>
                <a:sym typeface="PT Serif"/>
              </a:rPr>
              <a:t>: </a:t>
            </a:r>
            <a:r>
              <a:rPr lang="en-US" sz="1200" b="0" i="0" strike="noStrike" cap="none">
                <a:solidFill>
                  <a:srgbClr val="8F8F8F"/>
                </a:solidFill>
                <a:latin typeface="PT Serif"/>
                <a:ea typeface="PT Serif"/>
                <a:cs typeface="PT Serif"/>
                <a:sym typeface="PT Serif"/>
              </a:rPr>
              <a:t>Lorem</a:t>
            </a:r>
          </a:p>
          <a:p>
            <a:pPr>
              <a:lnSpc>
                <a:spcPct val="114999"/>
              </a:lnSpc>
              <a:buSzPts val="1400"/>
            </a:pPr>
            <a:r>
              <a:rPr lang="en-US" sz="1200" b="0" i="0" strike="noStrike" cap="none">
                <a:solidFill>
                  <a:schemeClr val="bg2"/>
                </a:solidFill>
                <a:latin typeface="PT Serif"/>
                <a:ea typeface="PT Serif"/>
                <a:cs typeface="PT Serif"/>
                <a:sym typeface="PT Serif"/>
              </a:rPr>
              <a:t>User Story</a:t>
            </a:r>
            <a:r>
              <a:rPr lang="en-US" sz="1200" b="0" i="0" strike="noStrike" cap="none">
                <a:solidFill>
                  <a:schemeClr val="tx1"/>
                </a:solidFill>
                <a:latin typeface="PT Serif"/>
                <a:ea typeface="PT Serif"/>
                <a:cs typeface="PT Serif"/>
                <a:sym typeface="PT Serif"/>
              </a:rPr>
              <a:t>: </a:t>
            </a:r>
            <a:r>
              <a:rPr lang="en-US" sz="1200" b="0" i="0" strike="noStrike" cap="none">
                <a:solidFill>
                  <a:srgbClr val="8F8F8F"/>
                </a:solidFill>
                <a:latin typeface="PT Serif"/>
                <a:ea typeface="PT Serif"/>
                <a:cs typeface="PT Serif"/>
                <a:sym typeface="PT Serif"/>
              </a:rPr>
              <a:t>Lorem</a:t>
            </a:r>
            <a:endParaRPr lang="en-US" sz="1200"/>
          </a:p>
        </p:txBody>
      </p:sp>
      <p:sp>
        <p:nvSpPr>
          <p:cNvPr id="14" name="Google Shape;641;p16">
            <a:extLst>
              <a:ext uri="{FF2B5EF4-FFF2-40B4-BE49-F238E27FC236}">
                <a16:creationId xmlns:a16="http://schemas.microsoft.com/office/drawing/2014/main" id="{D5AFD166-FDA5-49D0-9503-A4D355EE3E78}"/>
              </a:ext>
            </a:extLst>
          </p:cNvPr>
          <p:cNvSpPr txBox="1"/>
          <p:nvPr/>
        </p:nvSpPr>
        <p:spPr>
          <a:xfrm>
            <a:off x="8425546" y="6109251"/>
            <a:ext cx="3445011" cy="276959"/>
          </a:xfrm>
          <a:prstGeom prst="rect">
            <a:avLst/>
          </a:prstGeom>
          <a:noFill/>
          <a:ln>
            <a:noFill/>
          </a:ln>
        </p:spPr>
        <p:txBody>
          <a:bodyPr spcFirstLastPara="1" wrap="square" lIns="91425" tIns="45700" rIns="91425" bIns="45700" anchor="t" anchorCtr="0">
            <a:spAutoFit/>
          </a:bodyPr>
          <a:lstStyle/>
          <a:p>
            <a:pPr lvl="1" algn="r">
              <a:buSzPts val="1400"/>
            </a:pPr>
            <a:r>
              <a:rPr lang="en-US" sz="1200">
                <a:latin typeface="Source Sans Pro"/>
                <a:ea typeface="Source Sans Pro"/>
              </a:rPr>
              <a:t>Link </a:t>
            </a:r>
            <a:endParaRPr lang="en-US" sz="1200" b="0" i="0" strike="noStrike" cap="none">
              <a:solidFill>
                <a:srgbClr val="000000"/>
              </a:solidFill>
              <a:latin typeface="Source Sans Pro"/>
              <a:ea typeface="Source Sans Pro"/>
              <a:sym typeface="Arial"/>
            </a:endParaRPr>
          </a:p>
        </p:txBody>
      </p:sp>
      <p:sp>
        <p:nvSpPr>
          <p:cNvPr id="17" name="Google Shape;606;p14">
            <a:extLst>
              <a:ext uri="{FF2B5EF4-FFF2-40B4-BE49-F238E27FC236}">
                <a16:creationId xmlns:a16="http://schemas.microsoft.com/office/drawing/2014/main" id="{9B4E1B82-264F-413F-B032-EB1C242C8B8A}"/>
              </a:ext>
            </a:extLst>
          </p:cNvPr>
          <p:cNvSpPr txBox="1">
            <a:spLocks noGrp="1"/>
          </p:cNvSpPr>
          <p:nvPr/>
        </p:nvSpPr>
        <p:spPr>
          <a:xfrm>
            <a:off x="185931" y="2832385"/>
            <a:ext cx="4312968" cy="3251874"/>
          </a:xfrm>
          <a:prstGeom prst="rect">
            <a:avLst/>
          </a:prstGeom>
          <a:noFill/>
          <a:ln>
            <a:noFill/>
          </a:ln>
        </p:spPr>
        <p:txBody>
          <a:bodyPr spcFirstLastPara="1" wrap="square" lIns="91425" tIns="45700" rIns="91425" bIns="45700" anchor="t" anchorCtr="0">
            <a:normAutofit/>
          </a:bodyPr>
          <a:lstStyle>
            <a:defPPr marR="0" lvl="0" algn="l" rtl="0">
              <a:lnSpc>
                <a:spcPct val="100000"/>
              </a:lnSpc>
              <a:spcBef>
                <a:spcPts val="0"/>
              </a:spcBef>
              <a:spcAft>
                <a:spcPts val="0"/>
              </a:spcAft>
            </a:defPPr>
            <a:lvl1pPr marL="457200" marR="0" lvl="0" indent="-317500" algn="l" rtl="0">
              <a:lnSpc>
                <a:spcPct val="90000"/>
              </a:lnSpc>
              <a:spcBef>
                <a:spcPts val="1000"/>
              </a:spcBef>
              <a:spcAft>
                <a:spcPts val="0"/>
              </a:spcAft>
              <a:buClr>
                <a:schemeClr val="accent2"/>
              </a:buClr>
              <a:buSzPts val="1400"/>
              <a:buFont typeface="Noto Sans Symbols"/>
              <a:buChar char="▪"/>
              <a:defRPr sz="2000" b="0" i="0" u="none" strike="noStrike" cap="none">
                <a:solidFill>
                  <a:schemeClr val="dk2"/>
                </a:solidFill>
                <a:latin typeface="PT Serif"/>
                <a:ea typeface="PT Serif"/>
                <a:cs typeface="PT Serif"/>
                <a:sym typeface="PT Serif"/>
              </a:defRPr>
            </a:lvl1pPr>
            <a:lvl2pPr marL="914400" marR="0" lvl="1" indent="-308610" algn="l" rtl="0">
              <a:lnSpc>
                <a:spcPct val="90000"/>
              </a:lnSpc>
              <a:spcBef>
                <a:spcPts val="500"/>
              </a:spcBef>
              <a:spcAft>
                <a:spcPts val="0"/>
              </a:spcAft>
              <a:buClr>
                <a:schemeClr val="accent2"/>
              </a:buClr>
              <a:buSzPts val="1260"/>
              <a:buFont typeface="Noto Sans Symbols"/>
              <a:buChar char="▪"/>
              <a:defRPr sz="1800" b="0" i="0" u="none" strike="noStrike" cap="none">
                <a:solidFill>
                  <a:schemeClr val="dk2"/>
                </a:solidFill>
                <a:latin typeface="PT Serif"/>
                <a:ea typeface="PT Serif"/>
                <a:cs typeface="PT Serif"/>
                <a:sym typeface="PT Serif"/>
              </a:defRPr>
            </a:lvl2pPr>
            <a:lvl3pPr marL="1371600" marR="0" lvl="2" indent="-299719" algn="l" rtl="0">
              <a:lnSpc>
                <a:spcPct val="90000"/>
              </a:lnSpc>
              <a:spcBef>
                <a:spcPts val="500"/>
              </a:spcBef>
              <a:spcAft>
                <a:spcPts val="0"/>
              </a:spcAft>
              <a:buClr>
                <a:schemeClr val="accent2"/>
              </a:buClr>
              <a:buSzPts val="1120"/>
              <a:buFont typeface="Noto Sans Symbols"/>
              <a:buChar char="▪"/>
              <a:defRPr sz="1600" b="0" i="0" u="none" strike="noStrike" cap="none">
                <a:solidFill>
                  <a:schemeClr val="dk2"/>
                </a:solidFill>
                <a:latin typeface="PT Serif"/>
                <a:ea typeface="PT Serif"/>
                <a:cs typeface="PT Serif"/>
                <a:sym typeface="PT Serif"/>
              </a:defRPr>
            </a:lvl3pPr>
            <a:lvl4pPr marL="1828800" marR="0" lvl="3" indent="-290830" algn="l" rtl="0">
              <a:lnSpc>
                <a:spcPct val="90000"/>
              </a:lnSpc>
              <a:spcBef>
                <a:spcPts val="500"/>
              </a:spcBef>
              <a:spcAft>
                <a:spcPts val="0"/>
              </a:spcAft>
              <a:buClr>
                <a:schemeClr val="accent2"/>
              </a:buClr>
              <a:buSzPts val="980"/>
              <a:buFont typeface="Noto Sans Symbols"/>
              <a:buChar char="▪"/>
              <a:defRPr sz="1400" b="0" i="0" u="none" strike="noStrike" cap="none">
                <a:solidFill>
                  <a:schemeClr val="dk2"/>
                </a:solidFill>
                <a:latin typeface="PT Serif"/>
                <a:ea typeface="PT Serif"/>
                <a:cs typeface="PT Serif"/>
                <a:sym typeface="PT Serif"/>
              </a:defRPr>
            </a:lvl4pPr>
            <a:lvl5pPr marL="2286000" marR="0" lvl="4" indent="-290829" algn="l" rtl="0">
              <a:lnSpc>
                <a:spcPct val="90000"/>
              </a:lnSpc>
              <a:spcBef>
                <a:spcPts val="500"/>
              </a:spcBef>
              <a:spcAft>
                <a:spcPts val="0"/>
              </a:spcAft>
              <a:buClr>
                <a:schemeClr val="accent2"/>
              </a:buClr>
              <a:buSzPts val="980"/>
              <a:buFont typeface="Noto Sans Symbols"/>
              <a:buChar char="▪"/>
              <a:defRPr sz="1400" b="0" i="0" u="none" strike="noStrike" cap="none">
                <a:solidFill>
                  <a:schemeClr val="dk2"/>
                </a:solidFill>
                <a:latin typeface="PT Serif"/>
                <a:ea typeface="PT Serif"/>
                <a:cs typeface="PT Serif"/>
                <a:sym typeface="PT Serif"/>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pPr marL="139700" indent="0">
              <a:buNone/>
            </a:pPr>
            <a:r>
              <a:rPr lang="en-US" sz="1600"/>
              <a:t>Lorem</a:t>
            </a:r>
          </a:p>
          <a:p>
            <a:pPr lvl="1"/>
            <a:r>
              <a:rPr lang="en-US" sz="1400"/>
              <a:t>Lorem</a:t>
            </a:r>
          </a:p>
          <a:p>
            <a:pPr lvl="1"/>
            <a:r>
              <a:rPr lang="en-US" sz="1400"/>
              <a:t>Lorem</a:t>
            </a:r>
          </a:p>
          <a:p>
            <a:pPr lvl="1"/>
            <a:r>
              <a:rPr lang="en-US" sz="1400"/>
              <a:t>Lorem</a:t>
            </a:r>
            <a:endParaRPr lang="en-US"/>
          </a:p>
          <a:p>
            <a:pPr marL="139700" indent="0">
              <a:buNone/>
            </a:pPr>
            <a:r>
              <a:rPr lang="en-US" sz="1600"/>
              <a:t>Lorem</a:t>
            </a:r>
          </a:p>
          <a:p>
            <a:pPr lvl="1"/>
            <a:r>
              <a:rPr lang="en-US" sz="1400"/>
              <a:t>Lorem</a:t>
            </a:r>
          </a:p>
          <a:p>
            <a:pPr lvl="1"/>
            <a:r>
              <a:rPr lang="en-US" sz="1400"/>
              <a:t>Lorem</a:t>
            </a:r>
          </a:p>
        </p:txBody>
      </p:sp>
    </p:spTree>
    <p:extLst>
      <p:ext uri="{BB962C8B-B14F-4D97-AF65-F5344CB8AC3E}">
        <p14:creationId xmlns:p14="http://schemas.microsoft.com/office/powerpoint/2010/main" val="175638930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Shape 646"/>
        <p:cNvGrpSpPr/>
        <p:nvPr/>
      </p:nvGrpSpPr>
      <p:grpSpPr>
        <a:xfrm>
          <a:off x="0" y="0"/>
          <a:ext cx="0" cy="0"/>
          <a:chOff x="0" y="0"/>
          <a:chExt cx="0" cy="0"/>
        </a:xfrm>
      </p:grpSpPr>
      <p:cxnSp>
        <p:nvCxnSpPr>
          <p:cNvPr id="647" name="Google Shape;647;p17"/>
          <p:cNvCxnSpPr/>
          <p:nvPr/>
        </p:nvCxnSpPr>
        <p:spPr>
          <a:xfrm rot="10800000">
            <a:off x="8694795" y="2255175"/>
            <a:ext cx="0" cy="335625"/>
          </a:xfrm>
          <a:prstGeom prst="straightConnector1">
            <a:avLst/>
          </a:prstGeom>
          <a:noFill/>
          <a:ln w="9525" cap="flat" cmpd="sng">
            <a:solidFill>
              <a:schemeClr val="lt1"/>
            </a:solidFill>
            <a:prstDash val="solid"/>
            <a:miter lim="800000"/>
            <a:headEnd type="none" w="sm" len="sm"/>
            <a:tailEnd type="none" w="sm" len="sm"/>
          </a:ln>
        </p:spPr>
      </p:cxnSp>
      <p:cxnSp>
        <p:nvCxnSpPr>
          <p:cNvPr id="648" name="Google Shape;648;p17"/>
          <p:cNvCxnSpPr/>
          <p:nvPr/>
        </p:nvCxnSpPr>
        <p:spPr>
          <a:xfrm rot="10800000">
            <a:off x="2704628" y="2255175"/>
            <a:ext cx="0" cy="335625"/>
          </a:xfrm>
          <a:prstGeom prst="straightConnector1">
            <a:avLst/>
          </a:prstGeom>
          <a:noFill/>
          <a:ln w="9525" cap="flat" cmpd="sng">
            <a:solidFill>
              <a:schemeClr val="lt1"/>
            </a:solidFill>
            <a:prstDash val="solid"/>
            <a:miter lim="800000"/>
            <a:headEnd type="none" w="sm" len="sm"/>
            <a:tailEnd type="none" w="sm" len="sm"/>
          </a:ln>
        </p:spPr>
      </p:cxnSp>
      <p:sp>
        <p:nvSpPr>
          <p:cNvPr id="649" name="Google Shape;649;p17"/>
          <p:cNvSpPr txBox="1"/>
          <p:nvPr/>
        </p:nvSpPr>
        <p:spPr>
          <a:xfrm>
            <a:off x="11474969" y="6356350"/>
            <a:ext cx="406052" cy="365125"/>
          </a:xfrm>
          <a:prstGeom prst="rect">
            <a:avLst/>
          </a:prstGeom>
          <a:noFill/>
          <a:ln>
            <a:noFill/>
          </a:ln>
        </p:spPr>
        <p:txBody>
          <a:bodyPr spcFirstLastPara="1" wrap="square" lIns="91425" tIns="45700" rIns="91425" bIns="45700" anchor="ctr" anchorCtr="0">
            <a:noAutofit/>
          </a:bodyPr>
          <a:lstStyle/>
          <a:p>
            <a:pPr marL="0" marR="0" lvl="0" indent="0" algn="r" rtl="0">
              <a:lnSpc>
                <a:spcPct val="100000"/>
              </a:lnSpc>
              <a:spcBef>
                <a:spcPts val="0"/>
              </a:spcBef>
              <a:spcAft>
                <a:spcPts val="0"/>
              </a:spcAft>
              <a:buClr>
                <a:srgbClr val="8A8A8A"/>
              </a:buClr>
              <a:buSzPts val="1200"/>
              <a:buFont typeface="Arial"/>
              <a:buNone/>
            </a:pPr>
            <a:fld id="{00000000-1234-1234-1234-123412341234}" type="slidenum">
              <a:rPr lang="en-US" sz="1200" b="0" i="0" u="none" strike="noStrike" cap="none">
                <a:solidFill>
                  <a:srgbClr val="8A8A8A"/>
                </a:solidFill>
                <a:latin typeface="Source Sans Pro"/>
                <a:ea typeface="Source Sans Pro"/>
                <a:cs typeface="Source Sans Pro"/>
                <a:sym typeface="Source Sans Pro"/>
              </a:rPr>
              <a:t>31</a:t>
            </a:fld>
            <a:endParaRPr sz="1200" b="0" i="0" u="none" strike="noStrike" cap="none">
              <a:solidFill>
                <a:srgbClr val="8A8A8A"/>
              </a:solidFill>
              <a:latin typeface="Source Sans Pro"/>
              <a:ea typeface="Source Sans Pro"/>
              <a:cs typeface="Source Sans Pro"/>
              <a:sym typeface="Source Sans Pro"/>
            </a:endParaRPr>
          </a:p>
        </p:txBody>
      </p:sp>
      <p:sp>
        <p:nvSpPr>
          <p:cNvPr id="651" name="Google Shape;651;p17"/>
          <p:cNvSpPr txBox="1"/>
          <p:nvPr/>
        </p:nvSpPr>
        <p:spPr>
          <a:xfrm>
            <a:off x="406690" y="711050"/>
            <a:ext cx="10993180" cy="1008717"/>
          </a:xfrm>
          <a:prstGeom prst="rect">
            <a:avLst/>
          </a:prstGeom>
          <a:noFill/>
          <a:ln>
            <a:noFill/>
          </a:ln>
        </p:spPr>
        <p:txBody>
          <a:bodyPr spcFirstLastPara="1" wrap="square" lIns="0" tIns="0" rIns="0" bIns="0" anchor="t" anchorCtr="0">
            <a:noAutofit/>
          </a:bodyPr>
          <a:lstStyle/>
          <a:p>
            <a:r>
              <a:rPr lang="en-US" sz="2800">
                <a:solidFill>
                  <a:schemeClr val="dk1"/>
                </a:solidFill>
                <a:latin typeface="PT Serif"/>
                <a:ea typeface="Source Sans Pro"/>
                <a:sym typeface="PT Serif"/>
              </a:rPr>
              <a:t>Lorem</a:t>
            </a:r>
            <a:endParaRPr lang="en-US" sz="2800">
              <a:solidFill>
                <a:schemeClr val="dk1"/>
              </a:solidFill>
              <a:latin typeface="PT Serif"/>
              <a:ea typeface="Source Sans Pro"/>
            </a:endParaRPr>
          </a:p>
        </p:txBody>
      </p:sp>
      <p:grpSp>
        <p:nvGrpSpPr>
          <p:cNvPr id="3" name="Google Shape;602;p14">
            <a:extLst>
              <a:ext uri="{FF2B5EF4-FFF2-40B4-BE49-F238E27FC236}">
                <a16:creationId xmlns:a16="http://schemas.microsoft.com/office/drawing/2014/main" id="{560B9BCE-BD9C-4DC4-B8D7-55EDB4302727}"/>
              </a:ext>
            </a:extLst>
          </p:cNvPr>
          <p:cNvGrpSpPr/>
          <p:nvPr/>
        </p:nvGrpSpPr>
        <p:grpSpPr>
          <a:xfrm>
            <a:off x="410431" y="309109"/>
            <a:ext cx="5150524" cy="369094"/>
            <a:chOff x="410431" y="309109"/>
            <a:chExt cx="5150524" cy="369094"/>
          </a:xfrm>
        </p:grpSpPr>
        <p:sp>
          <p:nvSpPr>
            <p:cNvPr id="20" name="Google Shape;603;p14">
              <a:extLst>
                <a:ext uri="{FF2B5EF4-FFF2-40B4-BE49-F238E27FC236}">
                  <a16:creationId xmlns:a16="http://schemas.microsoft.com/office/drawing/2014/main" id="{F925A1F4-7E0D-4E3E-AB93-6F1A04816973}"/>
                </a:ext>
              </a:extLst>
            </p:cNvPr>
            <p:cNvSpPr/>
            <p:nvPr/>
          </p:nvSpPr>
          <p:spPr>
            <a:xfrm>
              <a:off x="410431" y="313703"/>
              <a:ext cx="255129" cy="263129"/>
            </a:xfrm>
            <a:prstGeom prst="ellipse">
              <a:avLst/>
            </a:prstGeom>
            <a:solidFill>
              <a:srgbClr val="014479"/>
            </a:solidFill>
            <a:ln>
              <a:noFill/>
            </a:ln>
          </p:spPr>
          <p:txBody>
            <a:bodyPr spcFirstLastPara="1" wrap="square" lIns="0" tIns="0" rIns="0" bIns="0" anchor="ctr" anchorCtr="1">
              <a:noAutofit/>
            </a:bodyPr>
            <a:lstStyle/>
            <a:p>
              <a:pPr marL="0" marR="0" lvl="0" indent="0" algn="ctr" rtl="0">
                <a:lnSpc>
                  <a:spcPct val="100000"/>
                </a:lnSpc>
                <a:spcBef>
                  <a:spcPts val="0"/>
                </a:spcBef>
                <a:spcAft>
                  <a:spcPts val="0"/>
                </a:spcAft>
                <a:buClr>
                  <a:srgbClr val="FFFFFF"/>
                </a:buClr>
                <a:buSzPts val="3600"/>
                <a:buFont typeface="PT Serif"/>
                <a:buNone/>
              </a:pPr>
              <a:r>
                <a:rPr lang="en-US" sz="1200">
                  <a:solidFill>
                    <a:srgbClr val="FFFFFF"/>
                  </a:solidFill>
                  <a:latin typeface="PT Serif"/>
                </a:rPr>
                <a:t>2</a:t>
              </a:r>
              <a:endParaRPr lang="en-US" sz="1200" b="0" i="0" u="none" strike="noStrike" cap="none">
                <a:solidFill>
                  <a:srgbClr val="FFFFFF"/>
                </a:solidFill>
                <a:latin typeface="PT Serif"/>
                <a:ea typeface="Arial"/>
                <a:cs typeface="Arial"/>
              </a:endParaRPr>
            </a:p>
          </p:txBody>
        </p:sp>
        <p:sp>
          <p:nvSpPr>
            <p:cNvPr id="21" name="Google Shape;604;p14">
              <a:extLst>
                <a:ext uri="{FF2B5EF4-FFF2-40B4-BE49-F238E27FC236}">
                  <a16:creationId xmlns:a16="http://schemas.microsoft.com/office/drawing/2014/main" id="{313FFEE4-B196-49E6-BA0E-316E9BA5BF3D}"/>
                </a:ext>
              </a:extLst>
            </p:cNvPr>
            <p:cNvSpPr txBox="1"/>
            <p:nvPr/>
          </p:nvSpPr>
          <p:spPr>
            <a:xfrm>
              <a:off x="736498" y="309109"/>
              <a:ext cx="4824457" cy="369094"/>
            </a:xfrm>
            <a:prstGeom prst="rect">
              <a:avLst/>
            </a:prstGeom>
            <a:noFill/>
            <a:ln>
              <a:noFill/>
            </a:ln>
          </p:spPr>
          <p:txBody>
            <a:bodyPr spcFirstLastPara="1" wrap="square" lIns="0" tIns="45700" rIns="0" bIns="45700" anchor="t" anchorCtr="0">
              <a:normAutofit/>
            </a:bodyPr>
            <a:lstStyle/>
            <a:p>
              <a:pPr marL="0" marR="0" lvl="0" indent="0" algn="l">
                <a:lnSpc>
                  <a:spcPct val="100000"/>
                </a:lnSpc>
                <a:spcBef>
                  <a:spcPts val="0"/>
                </a:spcBef>
                <a:spcAft>
                  <a:spcPts val="0"/>
                </a:spcAft>
                <a:buNone/>
              </a:pPr>
              <a:r>
                <a:rPr lang="en-US">
                  <a:solidFill>
                    <a:srgbClr val="0071BF"/>
                  </a:solidFill>
                  <a:latin typeface="Source Sans Pro"/>
                  <a:ea typeface="Source Sans Pro"/>
                  <a:sym typeface="Source Sans Pro"/>
                </a:rPr>
                <a:t>TECH</a:t>
              </a:r>
              <a:endParaRPr lang="en-US"/>
            </a:p>
          </p:txBody>
        </p:sp>
      </p:grpSp>
      <p:sp>
        <p:nvSpPr>
          <p:cNvPr id="5" name="Google Shape;470;p9">
            <a:extLst>
              <a:ext uri="{FF2B5EF4-FFF2-40B4-BE49-F238E27FC236}">
                <a16:creationId xmlns:a16="http://schemas.microsoft.com/office/drawing/2014/main" id="{22812CC0-45A2-42FA-B89D-A8FF471FF114}"/>
              </a:ext>
            </a:extLst>
          </p:cNvPr>
          <p:cNvSpPr txBox="1"/>
          <p:nvPr/>
        </p:nvSpPr>
        <p:spPr>
          <a:xfrm>
            <a:off x="8917360" y="6408650"/>
            <a:ext cx="2723465" cy="276999"/>
          </a:xfrm>
          <a:prstGeom prst="rect">
            <a:avLst/>
          </a:prstGeom>
          <a:noFill/>
          <a:ln>
            <a:noFill/>
          </a:ln>
        </p:spPr>
        <p:txBody>
          <a:bodyPr spcFirstLastPara="1" wrap="square" lIns="91425" tIns="45700" rIns="91425" bIns="45700" anchor="t" anchorCtr="0">
            <a:spAutoFit/>
          </a:bodyPr>
          <a:lstStyle/>
          <a:p>
            <a:pPr marL="0" marR="0" lvl="0" indent="0" algn="r">
              <a:spcBef>
                <a:spcPts val="0"/>
              </a:spcBef>
              <a:spcAft>
                <a:spcPts val="0"/>
              </a:spcAft>
              <a:buNone/>
            </a:pPr>
            <a:r>
              <a:rPr lang="en-US" sz="1200">
                <a:solidFill>
                  <a:srgbClr val="747C74"/>
                </a:solidFill>
                <a:latin typeface="Source Sans Pro"/>
                <a:ea typeface="Source Sans Pro"/>
                <a:cs typeface="Calibri"/>
                <a:sym typeface="Source Sans Pro"/>
              </a:rPr>
              <a:t>Tech</a:t>
            </a:r>
            <a:endParaRPr lang="en-US"/>
          </a:p>
        </p:txBody>
      </p:sp>
      <p:sp>
        <p:nvSpPr>
          <p:cNvPr id="7" name="Google Shape;337;p6">
            <a:extLst>
              <a:ext uri="{FF2B5EF4-FFF2-40B4-BE49-F238E27FC236}">
                <a16:creationId xmlns:a16="http://schemas.microsoft.com/office/drawing/2014/main" id="{5EDFEF76-4A9B-4615-A291-9A3C8D686D4A}"/>
              </a:ext>
            </a:extLst>
          </p:cNvPr>
          <p:cNvSpPr txBox="1"/>
          <p:nvPr/>
        </p:nvSpPr>
        <p:spPr>
          <a:xfrm>
            <a:off x="419100" y="6408650"/>
            <a:ext cx="2723465" cy="276999"/>
          </a:xfrm>
          <a:prstGeom prst="rect">
            <a:avLst/>
          </a:prstGeom>
          <a:noFill/>
          <a:ln>
            <a:noFill/>
          </a:ln>
        </p:spPr>
        <p:txBody>
          <a:bodyPr spcFirstLastPara="1" wrap="square" lIns="0" tIns="45700" rIns="91425" bIns="45700" anchor="t" anchorCtr="0">
            <a:spAutoFit/>
          </a:bodyPr>
          <a:lstStyle/>
          <a:p>
            <a:pPr marL="0" marR="0" lvl="0" indent="0" algn="l" rtl="0">
              <a:spcBef>
                <a:spcPts val="0"/>
              </a:spcBef>
              <a:spcAft>
                <a:spcPts val="0"/>
              </a:spcAft>
              <a:buNone/>
            </a:pPr>
            <a:r>
              <a:rPr lang="en-US" sz="1200" b="0" i="0" u="none" strike="noStrike" cap="none">
                <a:solidFill>
                  <a:srgbClr val="747C74"/>
                </a:solidFill>
                <a:latin typeface="Source Sans Pro"/>
                <a:ea typeface="Source Sans Pro"/>
                <a:cs typeface="Source Sans Pro"/>
                <a:sym typeface="Source Sans Pro"/>
              </a:rPr>
              <a:t>04-19 Sprint 6</a:t>
            </a:r>
            <a:r>
              <a:rPr lang="en-US" sz="1200">
                <a:solidFill>
                  <a:srgbClr val="747C74"/>
                </a:solidFill>
                <a:latin typeface="Source Sans Pro"/>
                <a:ea typeface="Source Sans Pro"/>
                <a:cs typeface="Source Sans Pro"/>
                <a:sym typeface="Source Sans Pro"/>
              </a:rPr>
              <a:t> </a:t>
            </a:r>
            <a:r>
              <a:rPr lang="en-US" sz="1200" b="0" i="0" u="none" strike="noStrike" cap="none">
                <a:solidFill>
                  <a:srgbClr val="747C74"/>
                </a:solidFill>
                <a:latin typeface="Source Sans Pro"/>
                <a:ea typeface="Source Sans Pro"/>
                <a:cs typeface="Source Sans Pro"/>
                <a:sym typeface="Source Sans Pro"/>
              </a:rPr>
              <a:t>Demo</a:t>
            </a:r>
            <a:endParaRPr sz="1200" b="0" i="0" u="none" strike="noStrike" cap="none">
              <a:solidFill>
                <a:srgbClr val="747C74"/>
              </a:solidFill>
              <a:latin typeface="Calibri"/>
              <a:ea typeface="Calibri"/>
              <a:cs typeface="Calibri"/>
              <a:sym typeface="Calibri"/>
            </a:endParaRPr>
          </a:p>
        </p:txBody>
      </p:sp>
      <p:sp>
        <p:nvSpPr>
          <p:cNvPr id="15" name="Google Shape;655;p17">
            <a:extLst>
              <a:ext uri="{FF2B5EF4-FFF2-40B4-BE49-F238E27FC236}">
                <a16:creationId xmlns:a16="http://schemas.microsoft.com/office/drawing/2014/main" id="{9C4A17CE-EF6F-4ED7-ADC1-9CEE9825B750}"/>
              </a:ext>
            </a:extLst>
          </p:cNvPr>
          <p:cNvSpPr txBox="1"/>
          <p:nvPr/>
        </p:nvSpPr>
        <p:spPr>
          <a:xfrm>
            <a:off x="419100" y="1704783"/>
            <a:ext cx="4414272" cy="1034129"/>
          </a:xfrm>
          <a:prstGeom prst="rect">
            <a:avLst/>
          </a:prstGeom>
          <a:noFill/>
          <a:ln>
            <a:noFill/>
          </a:ln>
        </p:spPr>
        <p:txBody>
          <a:bodyPr spcFirstLastPara="1" wrap="square" lIns="0" tIns="0" rIns="0" bIns="0" anchor="t" anchorCtr="0">
            <a:spAutoFit/>
          </a:bodyPr>
          <a:lstStyle/>
          <a:p>
            <a:r>
              <a:rPr lang="en-US" sz="1200">
                <a:solidFill>
                  <a:schemeClr val="bg2"/>
                </a:solidFill>
                <a:latin typeface="PT Serif"/>
                <a:ea typeface="PT Serif"/>
              </a:rPr>
              <a:t>User Story</a:t>
            </a:r>
            <a:r>
              <a:rPr lang="en-US" sz="1200">
                <a:solidFill>
                  <a:schemeClr val="tx1"/>
                </a:solidFill>
                <a:latin typeface="PT Serif"/>
                <a:ea typeface="PT Serif"/>
              </a:rPr>
              <a:t>: </a:t>
            </a:r>
            <a:r>
              <a:rPr lang="en-US" sz="1200">
                <a:solidFill>
                  <a:schemeClr val="tx1">
                    <a:lumMod val="50000"/>
                    <a:lumOff val="50000"/>
                  </a:schemeClr>
                </a:solidFill>
                <a:latin typeface="PT Serif"/>
                <a:ea typeface="PT Serif"/>
              </a:rPr>
              <a:t>Lorem</a:t>
            </a:r>
            <a:endParaRPr lang="en-US" sz="1200">
              <a:solidFill>
                <a:schemeClr val="tx1">
                  <a:lumMod val="50000"/>
                  <a:lumOff val="50000"/>
                </a:schemeClr>
              </a:solidFill>
              <a:ea typeface="PT Serif"/>
            </a:endParaRPr>
          </a:p>
          <a:p>
            <a:pPr>
              <a:lnSpc>
                <a:spcPct val="114999"/>
              </a:lnSpc>
              <a:buSzPts val="1400"/>
            </a:pPr>
            <a:r>
              <a:rPr lang="en-US" sz="1200" b="0" i="0" strike="noStrike" cap="none">
                <a:solidFill>
                  <a:schemeClr val="bg2"/>
                </a:solidFill>
                <a:latin typeface="PT Serif"/>
                <a:ea typeface="PT Serif"/>
                <a:cs typeface="PT Serif"/>
                <a:sym typeface="PT Serif"/>
              </a:rPr>
              <a:t>User Story</a:t>
            </a:r>
            <a:r>
              <a:rPr lang="en-US" sz="1200" b="0" i="0" strike="noStrike" cap="none">
                <a:solidFill>
                  <a:schemeClr val="tx1"/>
                </a:solidFill>
                <a:latin typeface="PT Serif"/>
                <a:ea typeface="PT Serif"/>
                <a:cs typeface="PT Serif"/>
                <a:sym typeface="PT Serif"/>
              </a:rPr>
              <a:t>: </a:t>
            </a:r>
            <a:r>
              <a:rPr lang="en-US" sz="1200" b="0" i="0" strike="noStrike" cap="none">
                <a:solidFill>
                  <a:schemeClr val="tx1">
                    <a:lumMod val="50000"/>
                    <a:lumOff val="50000"/>
                  </a:schemeClr>
                </a:solidFill>
                <a:latin typeface="PT Serif"/>
                <a:ea typeface="PT Serif"/>
                <a:cs typeface="PT Serif"/>
                <a:sym typeface="PT Serif"/>
              </a:rPr>
              <a:t>Lorem</a:t>
            </a:r>
            <a:endParaRPr lang="en-US" sz="1200" b="0" i="0" strike="noStrike" cap="none">
              <a:solidFill>
                <a:schemeClr val="tx1">
                  <a:lumMod val="50000"/>
                  <a:lumOff val="50000"/>
                </a:schemeClr>
              </a:solidFill>
              <a:latin typeface="PT Serif"/>
              <a:ea typeface="PT Serif"/>
              <a:cs typeface="PT Serif"/>
            </a:endParaRPr>
          </a:p>
          <a:p>
            <a:pPr>
              <a:lnSpc>
                <a:spcPct val="114999"/>
              </a:lnSpc>
              <a:buSzPts val="1400"/>
            </a:pPr>
            <a:r>
              <a:rPr lang="en-US" sz="1200" b="0" i="0" strike="noStrike" cap="none">
                <a:solidFill>
                  <a:schemeClr val="bg2"/>
                </a:solidFill>
                <a:latin typeface="PT Serif"/>
                <a:ea typeface="PT Serif"/>
                <a:cs typeface="PT Serif"/>
                <a:sym typeface="PT Serif"/>
              </a:rPr>
              <a:t>User Story</a:t>
            </a:r>
            <a:r>
              <a:rPr lang="en-US" sz="1200" b="0" i="0" strike="noStrike" cap="none">
                <a:solidFill>
                  <a:schemeClr val="tx1"/>
                </a:solidFill>
                <a:latin typeface="PT Serif"/>
                <a:ea typeface="PT Serif"/>
                <a:cs typeface="PT Serif"/>
                <a:sym typeface="PT Serif"/>
              </a:rPr>
              <a:t>: </a:t>
            </a:r>
            <a:r>
              <a:rPr lang="en-US" sz="1200" b="0" i="0" strike="noStrike" cap="none">
                <a:solidFill>
                  <a:schemeClr val="tx1">
                    <a:lumMod val="50000"/>
                    <a:lumOff val="50000"/>
                  </a:schemeClr>
                </a:solidFill>
                <a:latin typeface="PT Serif"/>
                <a:ea typeface="PT Serif"/>
                <a:cs typeface="PT Serif"/>
                <a:sym typeface="PT Serif"/>
              </a:rPr>
              <a:t>Lorem</a:t>
            </a:r>
            <a:endParaRPr lang="en-US" sz="1200" b="0" i="0" strike="noStrike" cap="none">
              <a:solidFill>
                <a:schemeClr val="tx1">
                  <a:lumMod val="50000"/>
                  <a:lumOff val="50000"/>
                </a:schemeClr>
              </a:solidFill>
              <a:latin typeface="PT Serif"/>
              <a:ea typeface="PT Serif"/>
              <a:cs typeface="PT Serif"/>
            </a:endParaRPr>
          </a:p>
          <a:p>
            <a:pPr>
              <a:lnSpc>
                <a:spcPct val="114999"/>
              </a:lnSpc>
              <a:buSzPts val="1400"/>
            </a:pPr>
            <a:r>
              <a:rPr lang="en-US" sz="1200" b="0" i="0" strike="noStrike" cap="none">
                <a:solidFill>
                  <a:schemeClr val="bg2"/>
                </a:solidFill>
                <a:latin typeface="PT Serif"/>
                <a:ea typeface="PT Serif"/>
                <a:cs typeface="PT Serif"/>
                <a:sym typeface="PT Serif"/>
              </a:rPr>
              <a:t>User Story</a:t>
            </a:r>
            <a:r>
              <a:rPr lang="en-US" sz="1200" b="0" i="0" strike="noStrike" cap="none">
                <a:solidFill>
                  <a:schemeClr val="tx1"/>
                </a:solidFill>
                <a:latin typeface="PT Serif"/>
                <a:ea typeface="PT Serif"/>
                <a:cs typeface="PT Serif"/>
                <a:sym typeface="PT Serif"/>
              </a:rPr>
              <a:t>: </a:t>
            </a:r>
            <a:r>
              <a:rPr lang="en-US" sz="1200" b="0" i="0" strike="noStrike" cap="none">
                <a:solidFill>
                  <a:srgbClr val="8F8F8F"/>
                </a:solidFill>
                <a:latin typeface="PT Serif"/>
                <a:ea typeface="PT Serif"/>
                <a:cs typeface="PT Serif"/>
                <a:sym typeface="PT Serif"/>
              </a:rPr>
              <a:t>Lorem</a:t>
            </a:r>
          </a:p>
          <a:p>
            <a:pPr>
              <a:lnSpc>
                <a:spcPct val="114999"/>
              </a:lnSpc>
              <a:buSzPts val="1400"/>
            </a:pPr>
            <a:r>
              <a:rPr lang="en-US" sz="1200" b="0" i="0" strike="noStrike" cap="none">
                <a:solidFill>
                  <a:schemeClr val="bg2"/>
                </a:solidFill>
                <a:latin typeface="PT Serif"/>
                <a:ea typeface="PT Serif"/>
                <a:cs typeface="PT Serif"/>
                <a:sym typeface="PT Serif"/>
              </a:rPr>
              <a:t>User Story</a:t>
            </a:r>
            <a:r>
              <a:rPr lang="en-US" sz="1200" b="0" i="0" strike="noStrike" cap="none">
                <a:solidFill>
                  <a:schemeClr val="tx1"/>
                </a:solidFill>
                <a:latin typeface="PT Serif"/>
                <a:ea typeface="PT Serif"/>
                <a:cs typeface="PT Serif"/>
                <a:sym typeface="PT Serif"/>
              </a:rPr>
              <a:t>: </a:t>
            </a:r>
            <a:r>
              <a:rPr lang="en-US" sz="1200" b="0" i="0" strike="noStrike" cap="none">
                <a:solidFill>
                  <a:srgbClr val="8F8F8F"/>
                </a:solidFill>
                <a:latin typeface="PT Serif"/>
                <a:ea typeface="PT Serif"/>
                <a:cs typeface="PT Serif"/>
                <a:sym typeface="PT Serif"/>
              </a:rPr>
              <a:t>Lorem</a:t>
            </a:r>
            <a:endParaRPr lang="en-US" sz="1200"/>
          </a:p>
        </p:txBody>
      </p:sp>
      <p:sp>
        <p:nvSpPr>
          <p:cNvPr id="14" name="Google Shape;641;p16">
            <a:extLst>
              <a:ext uri="{FF2B5EF4-FFF2-40B4-BE49-F238E27FC236}">
                <a16:creationId xmlns:a16="http://schemas.microsoft.com/office/drawing/2014/main" id="{D5AFD166-FDA5-49D0-9503-A4D355EE3E78}"/>
              </a:ext>
            </a:extLst>
          </p:cNvPr>
          <p:cNvSpPr txBox="1"/>
          <p:nvPr/>
        </p:nvSpPr>
        <p:spPr>
          <a:xfrm>
            <a:off x="8425546" y="6109251"/>
            <a:ext cx="3445011" cy="276959"/>
          </a:xfrm>
          <a:prstGeom prst="rect">
            <a:avLst/>
          </a:prstGeom>
          <a:noFill/>
          <a:ln>
            <a:noFill/>
          </a:ln>
        </p:spPr>
        <p:txBody>
          <a:bodyPr spcFirstLastPara="1" wrap="square" lIns="91425" tIns="45700" rIns="91425" bIns="45700" anchor="t" anchorCtr="0">
            <a:spAutoFit/>
          </a:bodyPr>
          <a:lstStyle/>
          <a:p>
            <a:pPr lvl="1" algn="r">
              <a:buSzPts val="1400"/>
            </a:pPr>
            <a:r>
              <a:rPr lang="en-US" sz="1200">
                <a:latin typeface="Source Sans Pro"/>
                <a:ea typeface="Source Sans Pro"/>
              </a:rPr>
              <a:t>Link </a:t>
            </a:r>
            <a:endParaRPr lang="en-US" sz="1200" b="0" i="0" strike="noStrike" cap="none">
              <a:solidFill>
                <a:srgbClr val="000000"/>
              </a:solidFill>
              <a:latin typeface="Source Sans Pro"/>
              <a:ea typeface="Source Sans Pro"/>
              <a:sym typeface="Arial"/>
            </a:endParaRPr>
          </a:p>
        </p:txBody>
      </p:sp>
      <p:sp>
        <p:nvSpPr>
          <p:cNvPr id="17" name="Google Shape;606;p14">
            <a:extLst>
              <a:ext uri="{FF2B5EF4-FFF2-40B4-BE49-F238E27FC236}">
                <a16:creationId xmlns:a16="http://schemas.microsoft.com/office/drawing/2014/main" id="{9B4E1B82-264F-413F-B032-EB1C242C8B8A}"/>
              </a:ext>
            </a:extLst>
          </p:cNvPr>
          <p:cNvSpPr txBox="1">
            <a:spLocks noGrp="1"/>
          </p:cNvSpPr>
          <p:nvPr/>
        </p:nvSpPr>
        <p:spPr>
          <a:xfrm>
            <a:off x="185931" y="2832385"/>
            <a:ext cx="4312968" cy="3251874"/>
          </a:xfrm>
          <a:prstGeom prst="rect">
            <a:avLst/>
          </a:prstGeom>
          <a:noFill/>
          <a:ln>
            <a:noFill/>
          </a:ln>
        </p:spPr>
        <p:txBody>
          <a:bodyPr spcFirstLastPara="1" wrap="square" lIns="91425" tIns="45700" rIns="91425" bIns="45700" anchor="t" anchorCtr="0">
            <a:normAutofit/>
          </a:bodyPr>
          <a:lstStyle>
            <a:defPPr marR="0" lvl="0" algn="l" rtl="0">
              <a:lnSpc>
                <a:spcPct val="100000"/>
              </a:lnSpc>
              <a:spcBef>
                <a:spcPts val="0"/>
              </a:spcBef>
              <a:spcAft>
                <a:spcPts val="0"/>
              </a:spcAft>
            </a:defPPr>
            <a:lvl1pPr marL="457200" marR="0" lvl="0" indent="-317500" algn="l" rtl="0">
              <a:lnSpc>
                <a:spcPct val="90000"/>
              </a:lnSpc>
              <a:spcBef>
                <a:spcPts val="1000"/>
              </a:spcBef>
              <a:spcAft>
                <a:spcPts val="0"/>
              </a:spcAft>
              <a:buClr>
                <a:schemeClr val="accent2"/>
              </a:buClr>
              <a:buSzPts val="1400"/>
              <a:buFont typeface="Noto Sans Symbols"/>
              <a:buChar char="▪"/>
              <a:defRPr sz="2000" b="0" i="0" u="none" strike="noStrike" cap="none">
                <a:solidFill>
                  <a:schemeClr val="dk2"/>
                </a:solidFill>
                <a:latin typeface="PT Serif"/>
                <a:ea typeface="PT Serif"/>
                <a:cs typeface="PT Serif"/>
                <a:sym typeface="PT Serif"/>
              </a:defRPr>
            </a:lvl1pPr>
            <a:lvl2pPr marL="914400" marR="0" lvl="1" indent="-308610" algn="l" rtl="0">
              <a:lnSpc>
                <a:spcPct val="90000"/>
              </a:lnSpc>
              <a:spcBef>
                <a:spcPts val="500"/>
              </a:spcBef>
              <a:spcAft>
                <a:spcPts val="0"/>
              </a:spcAft>
              <a:buClr>
                <a:schemeClr val="accent2"/>
              </a:buClr>
              <a:buSzPts val="1260"/>
              <a:buFont typeface="Noto Sans Symbols"/>
              <a:buChar char="▪"/>
              <a:defRPr sz="1800" b="0" i="0" u="none" strike="noStrike" cap="none">
                <a:solidFill>
                  <a:schemeClr val="dk2"/>
                </a:solidFill>
                <a:latin typeface="PT Serif"/>
                <a:ea typeface="PT Serif"/>
                <a:cs typeface="PT Serif"/>
                <a:sym typeface="PT Serif"/>
              </a:defRPr>
            </a:lvl2pPr>
            <a:lvl3pPr marL="1371600" marR="0" lvl="2" indent="-299719" algn="l" rtl="0">
              <a:lnSpc>
                <a:spcPct val="90000"/>
              </a:lnSpc>
              <a:spcBef>
                <a:spcPts val="500"/>
              </a:spcBef>
              <a:spcAft>
                <a:spcPts val="0"/>
              </a:spcAft>
              <a:buClr>
                <a:schemeClr val="accent2"/>
              </a:buClr>
              <a:buSzPts val="1120"/>
              <a:buFont typeface="Noto Sans Symbols"/>
              <a:buChar char="▪"/>
              <a:defRPr sz="1600" b="0" i="0" u="none" strike="noStrike" cap="none">
                <a:solidFill>
                  <a:schemeClr val="dk2"/>
                </a:solidFill>
                <a:latin typeface="PT Serif"/>
                <a:ea typeface="PT Serif"/>
                <a:cs typeface="PT Serif"/>
                <a:sym typeface="PT Serif"/>
              </a:defRPr>
            </a:lvl3pPr>
            <a:lvl4pPr marL="1828800" marR="0" lvl="3" indent="-290830" algn="l" rtl="0">
              <a:lnSpc>
                <a:spcPct val="90000"/>
              </a:lnSpc>
              <a:spcBef>
                <a:spcPts val="500"/>
              </a:spcBef>
              <a:spcAft>
                <a:spcPts val="0"/>
              </a:spcAft>
              <a:buClr>
                <a:schemeClr val="accent2"/>
              </a:buClr>
              <a:buSzPts val="980"/>
              <a:buFont typeface="Noto Sans Symbols"/>
              <a:buChar char="▪"/>
              <a:defRPr sz="1400" b="0" i="0" u="none" strike="noStrike" cap="none">
                <a:solidFill>
                  <a:schemeClr val="dk2"/>
                </a:solidFill>
                <a:latin typeface="PT Serif"/>
                <a:ea typeface="PT Serif"/>
                <a:cs typeface="PT Serif"/>
                <a:sym typeface="PT Serif"/>
              </a:defRPr>
            </a:lvl4pPr>
            <a:lvl5pPr marL="2286000" marR="0" lvl="4" indent="-290829" algn="l" rtl="0">
              <a:lnSpc>
                <a:spcPct val="90000"/>
              </a:lnSpc>
              <a:spcBef>
                <a:spcPts val="500"/>
              </a:spcBef>
              <a:spcAft>
                <a:spcPts val="0"/>
              </a:spcAft>
              <a:buClr>
                <a:schemeClr val="accent2"/>
              </a:buClr>
              <a:buSzPts val="980"/>
              <a:buFont typeface="Noto Sans Symbols"/>
              <a:buChar char="▪"/>
              <a:defRPr sz="1400" b="0" i="0" u="none" strike="noStrike" cap="none">
                <a:solidFill>
                  <a:schemeClr val="dk2"/>
                </a:solidFill>
                <a:latin typeface="PT Serif"/>
                <a:ea typeface="PT Serif"/>
                <a:cs typeface="PT Serif"/>
                <a:sym typeface="PT Serif"/>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pPr marL="139700" indent="0">
              <a:buNone/>
            </a:pPr>
            <a:r>
              <a:rPr lang="en-US" sz="1600"/>
              <a:t>Lorem</a:t>
            </a:r>
          </a:p>
          <a:p>
            <a:pPr lvl="1"/>
            <a:r>
              <a:rPr lang="en-US" sz="1400"/>
              <a:t>Lorem</a:t>
            </a:r>
          </a:p>
          <a:p>
            <a:pPr lvl="1"/>
            <a:r>
              <a:rPr lang="en-US" sz="1400"/>
              <a:t>Lorem</a:t>
            </a:r>
          </a:p>
          <a:p>
            <a:pPr lvl="1"/>
            <a:r>
              <a:rPr lang="en-US" sz="1400"/>
              <a:t>Lorem</a:t>
            </a:r>
            <a:endParaRPr lang="en-US"/>
          </a:p>
          <a:p>
            <a:pPr marL="139700" indent="0">
              <a:buNone/>
            </a:pPr>
            <a:r>
              <a:rPr lang="en-US" sz="1600"/>
              <a:t>Lorem</a:t>
            </a:r>
          </a:p>
          <a:p>
            <a:pPr lvl="1"/>
            <a:r>
              <a:rPr lang="en-US" sz="1400"/>
              <a:t>Lorem</a:t>
            </a:r>
          </a:p>
          <a:p>
            <a:pPr lvl="1"/>
            <a:r>
              <a:rPr lang="en-US" sz="1400"/>
              <a:t>Lorem</a:t>
            </a:r>
          </a:p>
        </p:txBody>
      </p:sp>
    </p:spTree>
    <p:extLst>
      <p:ext uri="{BB962C8B-B14F-4D97-AF65-F5344CB8AC3E}">
        <p14:creationId xmlns:p14="http://schemas.microsoft.com/office/powerpoint/2010/main" val="30390914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Shape 646"/>
        <p:cNvGrpSpPr/>
        <p:nvPr/>
      </p:nvGrpSpPr>
      <p:grpSpPr>
        <a:xfrm>
          <a:off x="0" y="0"/>
          <a:ext cx="0" cy="0"/>
          <a:chOff x="0" y="0"/>
          <a:chExt cx="0" cy="0"/>
        </a:xfrm>
      </p:grpSpPr>
      <p:cxnSp>
        <p:nvCxnSpPr>
          <p:cNvPr id="647" name="Google Shape;647;p17"/>
          <p:cNvCxnSpPr/>
          <p:nvPr/>
        </p:nvCxnSpPr>
        <p:spPr>
          <a:xfrm rot="10800000">
            <a:off x="8694795" y="2255175"/>
            <a:ext cx="0" cy="335625"/>
          </a:xfrm>
          <a:prstGeom prst="straightConnector1">
            <a:avLst/>
          </a:prstGeom>
          <a:noFill/>
          <a:ln w="9525" cap="flat" cmpd="sng">
            <a:solidFill>
              <a:schemeClr val="lt1"/>
            </a:solidFill>
            <a:prstDash val="solid"/>
            <a:miter lim="800000"/>
            <a:headEnd type="none" w="sm" len="sm"/>
            <a:tailEnd type="none" w="sm" len="sm"/>
          </a:ln>
        </p:spPr>
      </p:cxnSp>
      <p:cxnSp>
        <p:nvCxnSpPr>
          <p:cNvPr id="648" name="Google Shape;648;p17"/>
          <p:cNvCxnSpPr/>
          <p:nvPr/>
        </p:nvCxnSpPr>
        <p:spPr>
          <a:xfrm rot="10800000">
            <a:off x="2704628" y="2255175"/>
            <a:ext cx="0" cy="335625"/>
          </a:xfrm>
          <a:prstGeom prst="straightConnector1">
            <a:avLst/>
          </a:prstGeom>
          <a:noFill/>
          <a:ln w="9525" cap="flat" cmpd="sng">
            <a:solidFill>
              <a:schemeClr val="lt1"/>
            </a:solidFill>
            <a:prstDash val="solid"/>
            <a:miter lim="800000"/>
            <a:headEnd type="none" w="sm" len="sm"/>
            <a:tailEnd type="none" w="sm" len="sm"/>
          </a:ln>
        </p:spPr>
      </p:cxnSp>
      <p:sp>
        <p:nvSpPr>
          <p:cNvPr id="649" name="Google Shape;649;p17"/>
          <p:cNvSpPr txBox="1"/>
          <p:nvPr/>
        </p:nvSpPr>
        <p:spPr>
          <a:xfrm>
            <a:off x="11474969" y="6356350"/>
            <a:ext cx="406052" cy="365125"/>
          </a:xfrm>
          <a:prstGeom prst="rect">
            <a:avLst/>
          </a:prstGeom>
          <a:noFill/>
          <a:ln>
            <a:noFill/>
          </a:ln>
        </p:spPr>
        <p:txBody>
          <a:bodyPr spcFirstLastPara="1" wrap="square" lIns="91425" tIns="45700" rIns="91425" bIns="45700" anchor="ctr" anchorCtr="0">
            <a:noAutofit/>
          </a:bodyPr>
          <a:lstStyle/>
          <a:p>
            <a:pPr marL="0" marR="0" lvl="0" indent="0" algn="r" rtl="0">
              <a:lnSpc>
                <a:spcPct val="100000"/>
              </a:lnSpc>
              <a:spcBef>
                <a:spcPts val="0"/>
              </a:spcBef>
              <a:spcAft>
                <a:spcPts val="0"/>
              </a:spcAft>
              <a:buClr>
                <a:srgbClr val="8A8A8A"/>
              </a:buClr>
              <a:buSzPts val="1200"/>
              <a:buFont typeface="Arial"/>
              <a:buNone/>
            </a:pPr>
            <a:fld id="{00000000-1234-1234-1234-123412341234}" type="slidenum">
              <a:rPr lang="en-US" sz="1200" b="0" i="0" u="none" strike="noStrike" cap="none">
                <a:solidFill>
                  <a:srgbClr val="8A8A8A"/>
                </a:solidFill>
                <a:latin typeface="Source Sans Pro"/>
                <a:ea typeface="Source Sans Pro"/>
                <a:cs typeface="Source Sans Pro"/>
                <a:sym typeface="Source Sans Pro"/>
              </a:rPr>
              <a:t>32</a:t>
            </a:fld>
            <a:endParaRPr sz="1200" b="0" i="0" u="none" strike="noStrike" cap="none">
              <a:solidFill>
                <a:srgbClr val="8A8A8A"/>
              </a:solidFill>
              <a:latin typeface="Source Sans Pro"/>
              <a:ea typeface="Source Sans Pro"/>
              <a:cs typeface="Source Sans Pro"/>
              <a:sym typeface="Source Sans Pro"/>
            </a:endParaRPr>
          </a:p>
        </p:txBody>
      </p:sp>
      <p:sp>
        <p:nvSpPr>
          <p:cNvPr id="651" name="Google Shape;651;p17"/>
          <p:cNvSpPr txBox="1"/>
          <p:nvPr/>
        </p:nvSpPr>
        <p:spPr>
          <a:xfrm>
            <a:off x="406690" y="711050"/>
            <a:ext cx="10993180" cy="1008717"/>
          </a:xfrm>
          <a:prstGeom prst="rect">
            <a:avLst/>
          </a:prstGeom>
          <a:noFill/>
          <a:ln>
            <a:noFill/>
          </a:ln>
        </p:spPr>
        <p:txBody>
          <a:bodyPr spcFirstLastPara="1" wrap="square" lIns="0" tIns="0" rIns="0" bIns="0" anchor="t" anchorCtr="0">
            <a:noAutofit/>
          </a:bodyPr>
          <a:lstStyle/>
          <a:p>
            <a:r>
              <a:rPr lang="en-US" sz="2800">
                <a:solidFill>
                  <a:schemeClr val="dk1"/>
                </a:solidFill>
                <a:latin typeface="PT Serif"/>
                <a:ea typeface="Source Sans Pro"/>
                <a:sym typeface="PT Serif"/>
              </a:rPr>
              <a:t>Lorem</a:t>
            </a:r>
            <a:endParaRPr lang="en-US" sz="2800">
              <a:solidFill>
                <a:schemeClr val="dk1"/>
              </a:solidFill>
              <a:latin typeface="PT Serif"/>
              <a:ea typeface="Source Sans Pro"/>
            </a:endParaRPr>
          </a:p>
        </p:txBody>
      </p:sp>
      <p:grpSp>
        <p:nvGrpSpPr>
          <p:cNvPr id="3" name="Google Shape;602;p14">
            <a:extLst>
              <a:ext uri="{FF2B5EF4-FFF2-40B4-BE49-F238E27FC236}">
                <a16:creationId xmlns:a16="http://schemas.microsoft.com/office/drawing/2014/main" id="{560B9BCE-BD9C-4DC4-B8D7-55EDB4302727}"/>
              </a:ext>
            </a:extLst>
          </p:cNvPr>
          <p:cNvGrpSpPr/>
          <p:nvPr/>
        </p:nvGrpSpPr>
        <p:grpSpPr>
          <a:xfrm>
            <a:off x="410431" y="309109"/>
            <a:ext cx="5150524" cy="369094"/>
            <a:chOff x="410431" y="309109"/>
            <a:chExt cx="5150524" cy="369094"/>
          </a:xfrm>
        </p:grpSpPr>
        <p:sp>
          <p:nvSpPr>
            <p:cNvPr id="20" name="Google Shape;603;p14">
              <a:extLst>
                <a:ext uri="{FF2B5EF4-FFF2-40B4-BE49-F238E27FC236}">
                  <a16:creationId xmlns:a16="http://schemas.microsoft.com/office/drawing/2014/main" id="{F925A1F4-7E0D-4E3E-AB93-6F1A04816973}"/>
                </a:ext>
              </a:extLst>
            </p:cNvPr>
            <p:cNvSpPr/>
            <p:nvPr/>
          </p:nvSpPr>
          <p:spPr>
            <a:xfrm>
              <a:off x="410431" y="313703"/>
              <a:ext cx="255129" cy="263129"/>
            </a:xfrm>
            <a:prstGeom prst="ellipse">
              <a:avLst/>
            </a:prstGeom>
            <a:solidFill>
              <a:srgbClr val="014479"/>
            </a:solidFill>
            <a:ln>
              <a:noFill/>
            </a:ln>
          </p:spPr>
          <p:txBody>
            <a:bodyPr spcFirstLastPara="1" wrap="square" lIns="0" tIns="0" rIns="0" bIns="0" anchor="ctr" anchorCtr="1">
              <a:noAutofit/>
            </a:bodyPr>
            <a:lstStyle/>
            <a:p>
              <a:pPr marL="0" marR="0" lvl="0" indent="0" algn="ctr" rtl="0">
                <a:lnSpc>
                  <a:spcPct val="100000"/>
                </a:lnSpc>
                <a:spcBef>
                  <a:spcPts val="0"/>
                </a:spcBef>
                <a:spcAft>
                  <a:spcPts val="0"/>
                </a:spcAft>
                <a:buClr>
                  <a:srgbClr val="FFFFFF"/>
                </a:buClr>
                <a:buSzPts val="3600"/>
                <a:buFont typeface="PT Serif"/>
                <a:buNone/>
              </a:pPr>
              <a:r>
                <a:rPr lang="en-US" sz="1200">
                  <a:solidFill>
                    <a:srgbClr val="FFFFFF"/>
                  </a:solidFill>
                  <a:latin typeface="PT Serif"/>
                </a:rPr>
                <a:t>2</a:t>
              </a:r>
              <a:endParaRPr lang="en-US" sz="1200" b="0" i="0" u="none" strike="noStrike" cap="none">
                <a:solidFill>
                  <a:srgbClr val="FFFFFF"/>
                </a:solidFill>
                <a:latin typeface="PT Serif"/>
                <a:ea typeface="Arial"/>
                <a:cs typeface="Arial"/>
              </a:endParaRPr>
            </a:p>
          </p:txBody>
        </p:sp>
        <p:sp>
          <p:nvSpPr>
            <p:cNvPr id="21" name="Google Shape;604;p14">
              <a:extLst>
                <a:ext uri="{FF2B5EF4-FFF2-40B4-BE49-F238E27FC236}">
                  <a16:creationId xmlns:a16="http://schemas.microsoft.com/office/drawing/2014/main" id="{313FFEE4-B196-49E6-BA0E-316E9BA5BF3D}"/>
                </a:ext>
              </a:extLst>
            </p:cNvPr>
            <p:cNvSpPr txBox="1"/>
            <p:nvPr/>
          </p:nvSpPr>
          <p:spPr>
            <a:xfrm>
              <a:off x="736498" y="309109"/>
              <a:ext cx="4824457" cy="369094"/>
            </a:xfrm>
            <a:prstGeom prst="rect">
              <a:avLst/>
            </a:prstGeom>
            <a:noFill/>
            <a:ln>
              <a:noFill/>
            </a:ln>
          </p:spPr>
          <p:txBody>
            <a:bodyPr spcFirstLastPara="1" wrap="square" lIns="0" tIns="45700" rIns="0" bIns="45700" anchor="t" anchorCtr="0">
              <a:normAutofit/>
            </a:bodyPr>
            <a:lstStyle/>
            <a:p>
              <a:pPr marL="0" marR="0" lvl="0" indent="0" algn="l">
                <a:lnSpc>
                  <a:spcPct val="100000"/>
                </a:lnSpc>
                <a:spcBef>
                  <a:spcPts val="0"/>
                </a:spcBef>
                <a:spcAft>
                  <a:spcPts val="0"/>
                </a:spcAft>
                <a:buNone/>
              </a:pPr>
              <a:r>
                <a:rPr lang="en-US">
                  <a:solidFill>
                    <a:srgbClr val="0071BF"/>
                  </a:solidFill>
                  <a:latin typeface="Source Sans Pro"/>
                  <a:ea typeface="Source Sans Pro"/>
                  <a:sym typeface="Source Sans Pro"/>
                </a:rPr>
                <a:t>TECH</a:t>
              </a:r>
              <a:endParaRPr lang="en-US"/>
            </a:p>
          </p:txBody>
        </p:sp>
      </p:grpSp>
      <p:sp>
        <p:nvSpPr>
          <p:cNvPr id="5" name="Google Shape;470;p9">
            <a:extLst>
              <a:ext uri="{FF2B5EF4-FFF2-40B4-BE49-F238E27FC236}">
                <a16:creationId xmlns:a16="http://schemas.microsoft.com/office/drawing/2014/main" id="{22812CC0-45A2-42FA-B89D-A8FF471FF114}"/>
              </a:ext>
            </a:extLst>
          </p:cNvPr>
          <p:cNvSpPr txBox="1"/>
          <p:nvPr/>
        </p:nvSpPr>
        <p:spPr>
          <a:xfrm>
            <a:off x="8917360" y="6408650"/>
            <a:ext cx="2723465" cy="276999"/>
          </a:xfrm>
          <a:prstGeom prst="rect">
            <a:avLst/>
          </a:prstGeom>
          <a:noFill/>
          <a:ln>
            <a:noFill/>
          </a:ln>
        </p:spPr>
        <p:txBody>
          <a:bodyPr spcFirstLastPara="1" wrap="square" lIns="91425" tIns="45700" rIns="91425" bIns="45700" anchor="t" anchorCtr="0">
            <a:spAutoFit/>
          </a:bodyPr>
          <a:lstStyle/>
          <a:p>
            <a:pPr marL="0" marR="0" lvl="0" indent="0" algn="r">
              <a:spcBef>
                <a:spcPts val="0"/>
              </a:spcBef>
              <a:spcAft>
                <a:spcPts val="0"/>
              </a:spcAft>
              <a:buNone/>
            </a:pPr>
            <a:r>
              <a:rPr lang="en-US" sz="1200">
                <a:solidFill>
                  <a:srgbClr val="747C74"/>
                </a:solidFill>
                <a:latin typeface="Source Sans Pro"/>
                <a:ea typeface="Source Sans Pro"/>
                <a:cs typeface="Calibri"/>
                <a:sym typeface="Source Sans Pro"/>
              </a:rPr>
              <a:t>Tech</a:t>
            </a:r>
            <a:endParaRPr lang="en-US"/>
          </a:p>
        </p:txBody>
      </p:sp>
      <p:sp>
        <p:nvSpPr>
          <p:cNvPr id="7" name="Google Shape;337;p6">
            <a:extLst>
              <a:ext uri="{FF2B5EF4-FFF2-40B4-BE49-F238E27FC236}">
                <a16:creationId xmlns:a16="http://schemas.microsoft.com/office/drawing/2014/main" id="{5EDFEF76-4A9B-4615-A291-9A3C8D686D4A}"/>
              </a:ext>
            </a:extLst>
          </p:cNvPr>
          <p:cNvSpPr txBox="1"/>
          <p:nvPr/>
        </p:nvSpPr>
        <p:spPr>
          <a:xfrm>
            <a:off x="419100" y="6408650"/>
            <a:ext cx="2723465" cy="276999"/>
          </a:xfrm>
          <a:prstGeom prst="rect">
            <a:avLst/>
          </a:prstGeom>
          <a:noFill/>
          <a:ln>
            <a:noFill/>
          </a:ln>
        </p:spPr>
        <p:txBody>
          <a:bodyPr spcFirstLastPara="1" wrap="square" lIns="0" tIns="45700" rIns="91425" bIns="45700" anchor="t" anchorCtr="0">
            <a:spAutoFit/>
          </a:bodyPr>
          <a:lstStyle/>
          <a:p>
            <a:pPr marL="0" marR="0" lvl="0" indent="0" algn="l" rtl="0">
              <a:spcBef>
                <a:spcPts val="0"/>
              </a:spcBef>
              <a:spcAft>
                <a:spcPts val="0"/>
              </a:spcAft>
              <a:buNone/>
            </a:pPr>
            <a:r>
              <a:rPr lang="en-US" sz="1200" b="0" i="0" u="none" strike="noStrike" cap="none">
                <a:solidFill>
                  <a:srgbClr val="747C74"/>
                </a:solidFill>
                <a:latin typeface="Source Sans Pro"/>
                <a:ea typeface="Source Sans Pro"/>
                <a:cs typeface="Source Sans Pro"/>
                <a:sym typeface="Source Sans Pro"/>
              </a:rPr>
              <a:t>04-19 Sprint 6</a:t>
            </a:r>
            <a:r>
              <a:rPr lang="en-US" sz="1200">
                <a:solidFill>
                  <a:srgbClr val="747C74"/>
                </a:solidFill>
                <a:latin typeface="Source Sans Pro"/>
                <a:ea typeface="Source Sans Pro"/>
                <a:cs typeface="Source Sans Pro"/>
                <a:sym typeface="Source Sans Pro"/>
              </a:rPr>
              <a:t> </a:t>
            </a:r>
            <a:r>
              <a:rPr lang="en-US" sz="1200" b="0" i="0" u="none" strike="noStrike" cap="none">
                <a:solidFill>
                  <a:srgbClr val="747C74"/>
                </a:solidFill>
                <a:latin typeface="Source Sans Pro"/>
                <a:ea typeface="Source Sans Pro"/>
                <a:cs typeface="Source Sans Pro"/>
                <a:sym typeface="Source Sans Pro"/>
              </a:rPr>
              <a:t>Demo</a:t>
            </a:r>
            <a:endParaRPr sz="1200" b="0" i="0" u="none" strike="noStrike" cap="none">
              <a:solidFill>
                <a:srgbClr val="747C74"/>
              </a:solidFill>
              <a:latin typeface="Calibri"/>
              <a:ea typeface="Calibri"/>
              <a:cs typeface="Calibri"/>
              <a:sym typeface="Calibri"/>
            </a:endParaRPr>
          </a:p>
        </p:txBody>
      </p:sp>
      <p:sp>
        <p:nvSpPr>
          <p:cNvPr id="15" name="Google Shape;655;p17">
            <a:extLst>
              <a:ext uri="{FF2B5EF4-FFF2-40B4-BE49-F238E27FC236}">
                <a16:creationId xmlns:a16="http://schemas.microsoft.com/office/drawing/2014/main" id="{9C4A17CE-EF6F-4ED7-ADC1-9CEE9825B750}"/>
              </a:ext>
            </a:extLst>
          </p:cNvPr>
          <p:cNvSpPr txBox="1"/>
          <p:nvPr/>
        </p:nvSpPr>
        <p:spPr>
          <a:xfrm>
            <a:off x="419100" y="1704783"/>
            <a:ext cx="4414272" cy="1034129"/>
          </a:xfrm>
          <a:prstGeom prst="rect">
            <a:avLst/>
          </a:prstGeom>
          <a:noFill/>
          <a:ln>
            <a:noFill/>
          </a:ln>
        </p:spPr>
        <p:txBody>
          <a:bodyPr spcFirstLastPara="1" wrap="square" lIns="0" tIns="0" rIns="0" bIns="0" anchor="t" anchorCtr="0">
            <a:spAutoFit/>
          </a:bodyPr>
          <a:lstStyle/>
          <a:p>
            <a:r>
              <a:rPr lang="en-US" sz="1200">
                <a:solidFill>
                  <a:schemeClr val="bg2"/>
                </a:solidFill>
                <a:latin typeface="PT Serif"/>
                <a:ea typeface="PT Serif"/>
              </a:rPr>
              <a:t>User Story</a:t>
            </a:r>
            <a:r>
              <a:rPr lang="en-US" sz="1200">
                <a:solidFill>
                  <a:schemeClr val="tx1"/>
                </a:solidFill>
                <a:latin typeface="PT Serif"/>
                <a:ea typeface="PT Serif"/>
              </a:rPr>
              <a:t>: </a:t>
            </a:r>
            <a:r>
              <a:rPr lang="en-US" sz="1200">
                <a:solidFill>
                  <a:schemeClr val="tx1">
                    <a:lumMod val="50000"/>
                    <a:lumOff val="50000"/>
                  </a:schemeClr>
                </a:solidFill>
                <a:latin typeface="PT Serif"/>
                <a:ea typeface="PT Serif"/>
              </a:rPr>
              <a:t>Lorem</a:t>
            </a:r>
            <a:endParaRPr lang="en-US" sz="1200">
              <a:solidFill>
                <a:schemeClr val="tx1">
                  <a:lumMod val="50000"/>
                  <a:lumOff val="50000"/>
                </a:schemeClr>
              </a:solidFill>
              <a:ea typeface="PT Serif"/>
            </a:endParaRPr>
          </a:p>
          <a:p>
            <a:pPr>
              <a:lnSpc>
                <a:spcPct val="114999"/>
              </a:lnSpc>
              <a:buSzPts val="1400"/>
            </a:pPr>
            <a:r>
              <a:rPr lang="en-US" sz="1200" b="0" i="0" strike="noStrike" cap="none">
                <a:solidFill>
                  <a:schemeClr val="bg2"/>
                </a:solidFill>
                <a:latin typeface="PT Serif"/>
                <a:ea typeface="PT Serif"/>
                <a:cs typeface="PT Serif"/>
                <a:sym typeface="PT Serif"/>
              </a:rPr>
              <a:t>User Story</a:t>
            </a:r>
            <a:r>
              <a:rPr lang="en-US" sz="1200" b="0" i="0" strike="noStrike" cap="none">
                <a:solidFill>
                  <a:schemeClr val="tx1"/>
                </a:solidFill>
                <a:latin typeface="PT Serif"/>
                <a:ea typeface="PT Serif"/>
                <a:cs typeface="PT Serif"/>
                <a:sym typeface="PT Serif"/>
              </a:rPr>
              <a:t>: </a:t>
            </a:r>
            <a:r>
              <a:rPr lang="en-US" sz="1200" b="0" i="0" strike="noStrike" cap="none">
                <a:solidFill>
                  <a:schemeClr val="tx1">
                    <a:lumMod val="50000"/>
                    <a:lumOff val="50000"/>
                  </a:schemeClr>
                </a:solidFill>
                <a:latin typeface="PT Serif"/>
                <a:ea typeface="PT Serif"/>
                <a:cs typeface="PT Serif"/>
                <a:sym typeface="PT Serif"/>
              </a:rPr>
              <a:t>Lorem</a:t>
            </a:r>
            <a:endParaRPr lang="en-US" sz="1200" b="0" i="0" strike="noStrike" cap="none">
              <a:solidFill>
                <a:schemeClr val="tx1">
                  <a:lumMod val="50000"/>
                  <a:lumOff val="50000"/>
                </a:schemeClr>
              </a:solidFill>
              <a:latin typeface="PT Serif"/>
              <a:ea typeface="PT Serif"/>
              <a:cs typeface="PT Serif"/>
            </a:endParaRPr>
          </a:p>
          <a:p>
            <a:pPr>
              <a:lnSpc>
                <a:spcPct val="114999"/>
              </a:lnSpc>
              <a:buSzPts val="1400"/>
            </a:pPr>
            <a:r>
              <a:rPr lang="en-US" sz="1200" b="0" i="0" strike="noStrike" cap="none">
                <a:solidFill>
                  <a:schemeClr val="bg2"/>
                </a:solidFill>
                <a:latin typeface="PT Serif"/>
                <a:ea typeface="PT Serif"/>
                <a:cs typeface="PT Serif"/>
                <a:sym typeface="PT Serif"/>
              </a:rPr>
              <a:t>User Story</a:t>
            </a:r>
            <a:r>
              <a:rPr lang="en-US" sz="1200" b="0" i="0" strike="noStrike" cap="none">
                <a:solidFill>
                  <a:schemeClr val="tx1"/>
                </a:solidFill>
                <a:latin typeface="PT Serif"/>
                <a:ea typeface="PT Serif"/>
                <a:cs typeface="PT Serif"/>
                <a:sym typeface="PT Serif"/>
              </a:rPr>
              <a:t>: </a:t>
            </a:r>
            <a:r>
              <a:rPr lang="en-US" sz="1200" b="0" i="0" strike="noStrike" cap="none">
                <a:solidFill>
                  <a:schemeClr val="tx1">
                    <a:lumMod val="50000"/>
                    <a:lumOff val="50000"/>
                  </a:schemeClr>
                </a:solidFill>
                <a:latin typeface="PT Serif"/>
                <a:ea typeface="PT Serif"/>
                <a:cs typeface="PT Serif"/>
                <a:sym typeface="PT Serif"/>
              </a:rPr>
              <a:t>Lorem</a:t>
            </a:r>
            <a:endParaRPr lang="en-US" sz="1200" b="0" i="0" strike="noStrike" cap="none">
              <a:solidFill>
                <a:schemeClr val="tx1">
                  <a:lumMod val="50000"/>
                  <a:lumOff val="50000"/>
                </a:schemeClr>
              </a:solidFill>
              <a:latin typeface="PT Serif"/>
              <a:ea typeface="PT Serif"/>
              <a:cs typeface="PT Serif"/>
            </a:endParaRPr>
          </a:p>
          <a:p>
            <a:pPr>
              <a:lnSpc>
                <a:spcPct val="114999"/>
              </a:lnSpc>
              <a:buSzPts val="1400"/>
            </a:pPr>
            <a:r>
              <a:rPr lang="en-US" sz="1200" b="0" i="0" strike="noStrike" cap="none">
                <a:solidFill>
                  <a:schemeClr val="bg2"/>
                </a:solidFill>
                <a:latin typeface="PT Serif"/>
                <a:ea typeface="PT Serif"/>
                <a:cs typeface="PT Serif"/>
                <a:sym typeface="PT Serif"/>
              </a:rPr>
              <a:t>User Story</a:t>
            </a:r>
            <a:r>
              <a:rPr lang="en-US" sz="1200" b="0" i="0" strike="noStrike" cap="none">
                <a:solidFill>
                  <a:schemeClr val="tx1"/>
                </a:solidFill>
                <a:latin typeface="PT Serif"/>
                <a:ea typeface="PT Serif"/>
                <a:cs typeface="PT Serif"/>
                <a:sym typeface="PT Serif"/>
              </a:rPr>
              <a:t>: </a:t>
            </a:r>
            <a:r>
              <a:rPr lang="en-US" sz="1200" b="0" i="0" strike="noStrike" cap="none">
                <a:solidFill>
                  <a:srgbClr val="8F8F8F"/>
                </a:solidFill>
                <a:latin typeface="PT Serif"/>
                <a:ea typeface="PT Serif"/>
                <a:cs typeface="PT Serif"/>
                <a:sym typeface="PT Serif"/>
              </a:rPr>
              <a:t>Lorem</a:t>
            </a:r>
          </a:p>
          <a:p>
            <a:pPr>
              <a:lnSpc>
                <a:spcPct val="114999"/>
              </a:lnSpc>
              <a:buSzPts val="1400"/>
            </a:pPr>
            <a:r>
              <a:rPr lang="en-US" sz="1200" b="0" i="0" strike="noStrike" cap="none">
                <a:solidFill>
                  <a:schemeClr val="bg2"/>
                </a:solidFill>
                <a:latin typeface="PT Serif"/>
                <a:ea typeface="PT Serif"/>
                <a:cs typeface="PT Serif"/>
                <a:sym typeface="PT Serif"/>
              </a:rPr>
              <a:t>User Story</a:t>
            </a:r>
            <a:r>
              <a:rPr lang="en-US" sz="1200" b="0" i="0" strike="noStrike" cap="none">
                <a:solidFill>
                  <a:schemeClr val="tx1"/>
                </a:solidFill>
                <a:latin typeface="PT Serif"/>
                <a:ea typeface="PT Serif"/>
                <a:cs typeface="PT Serif"/>
                <a:sym typeface="PT Serif"/>
              </a:rPr>
              <a:t>: </a:t>
            </a:r>
            <a:r>
              <a:rPr lang="en-US" sz="1200" b="0" i="0" strike="noStrike" cap="none">
                <a:solidFill>
                  <a:srgbClr val="8F8F8F"/>
                </a:solidFill>
                <a:latin typeface="PT Serif"/>
                <a:ea typeface="PT Serif"/>
                <a:cs typeface="PT Serif"/>
                <a:sym typeface="PT Serif"/>
              </a:rPr>
              <a:t>Lorem</a:t>
            </a:r>
            <a:endParaRPr lang="en-US" sz="1200"/>
          </a:p>
        </p:txBody>
      </p:sp>
      <p:sp>
        <p:nvSpPr>
          <p:cNvPr id="14" name="Google Shape;641;p16">
            <a:extLst>
              <a:ext uri="{FF2B5EF4-FFF2-40B4-BE49-F238E27FC236}">
                <a16:creationId xmlns:a16="http://schemas.microsoft.com/office/drawing/2014/main" id="{D5AFD166-FDA5-49D0-9503-A4D355EE3E78}"/>
              </a:ext>
            </a:extLst>
          </p:cNvPr>
          <p:cNvSpPr txBox="1"/>
          <p:nvPr/>
        </p:nvSpPr>
        <p:spPr>
          <a:xfrm>
            <a:off x="8425546" y="6109251"/>
            <a:ext cx="3445011" cy="276959"/>
          </a:xfrm>
          <a:prstGeom prst="rect">
            <a:avLst/>
          </a:prstGeom>
          <a:noFill/>
          <a:ln>
            <a:noFill/>
          </a:ln>
        </p:spPr>
        <p:txBody>
          <a:bodyPr spcFirstLastPara="1" wrap="square" lIns="91425" tIns="45700" rIns="91425" bIns="45700" anchor="t" anchorCtr="0">
            <a:spAutoFit/>
          </a:bodyPr>
          <a:lstStyle/>
          <a:p>
            <a:pPr lvl="1" algn="r">
              <a:buSzPts val="1400"/>
            </a:pPr>
            <a:r>
              <a:rPr lang="en-US" sz="1200">
                <a:latin typeface="Source Sans Pro"/>
                <a:ea typeface="Source Sans Pro"/>
              </a:rPr>
              <a:t>Link </a:t>
            </a:r>
            <a:endParaRPr lang="en-US" sz="1200" b="0" i="0" strike="noStrike" cap="none">
              <a:solidFill>
                <a:srgbClr val="000000"/>
              </a:solidFill>
              <a:latin typeface="Source Sans Pro"/>
              <a:ea typeface="Source Sans Pro"/>
              <a:sym typeface="Arial"/>
            </a:endParaRPr>
          </a:p>
        </p:txBody>
      </p:sp>
      <p:sp>
        <p:nvSpPr>
          <p:cNvPr id="17" name="Google Shape;606;p14">
            <a:extLst>
              <a:ext uri="{FF2B5EF4-FFF2-40B4-BE49-F238E27FC236}">
                <a16:creationId xmlns:a16="http://schemas.microsoft.com/office/drawing/2014/main" id="{9B4E1B82-264F-413F-B032-EB1C242C8B8A}"/>
              </a:ext>
            </a:extLst>
          </p:cNvPr>
          <p:cNvSpPr txBox="1">
            <a:spLocks noGrp="1"/>
          </p:cNvSpPr>
          <p:nvPr/>
        </p:nvSpPr>
        <p:spPr>
          <a:xfrm>
            <a:off x="185931" y="2832385"/>
            <a:ext cx="4312968" cy="3251874"/>
          </a:xfrm>
          <a:prstGeom prst="rect">
            <a:avLst/>
          </a:prstGeom>
          <a:noFill/>
          <a:ln>
            <a:noFill/>
          </a:ln>
        </p:spPr>
        <p:txBody>
          <a:bodyPr spcFirstLastPara="1" wrap="square" lIns="91425" tIns="45700" rIns="91425" bIns="45700" anchor="t" anchorCtr="0">
            <a:normAutofit/>
          </a:bodyPr>
          <a:lstStyle>
            <a:defPPr marR="0" lvl="0" algn="l" rtl="0">
              <a:lnSpc>
                <a:spcPct val="100000"/>
              </a:lnSpc>
              <a:spcBef>
                <a:spcPts val="0"/>
              </a:spcBef>
              <a:spcAft>
                <a:spcPts val="0"/>
              </a:spcAft>
            </a:defPPr>
            <a:lvl1pPr marL="457200" marR="0" lvl="0" indent="-317500" algn="l" rtl="0">
              <a:lnSpc>
                <a:spcPct val="90000"/>
              </a:lnSpc>
              <a:spcBef>
                <a:spcPts val="1000"/>
              </a:spcBef>
              <a:spcAft>
                <a:spcPts val="0"/>
              </a:spcAft>
              <a:buClr>
                <a:schemeClr val="accent2"/>
              </a:buClr>
              <a:buSzPts val="1400"/>
              <a:buFont typeface="Noto Sans Symbols"/>
              <a:buChar char="▪"/>
              <a:defRPr sz="2000" b="0" i="0" u="none" strike="noStrike" cap="none">
                <a:solidFill>
                  <a:schemeClr val="dk2"/>
                </a:solidFill>
                <a:latin typeface="PT Serif"/>
                <a:ea typeface="PT Serif"/>
                <a:cs typeface="PT Serif"/>
                <a:sym typeface="PT Serif"/>
              </a:defRPr>
            </a:lvl1pPr>
            <a:lvl2pPr marL="914400" marR="0" lvl="1" indent="-308610" algn="l" rtl="0">
              <a:lnSpc>
                <a:spcPct val="90000"/>
              </a:lnSpc>
              <a:spcBef>
                <a:spcPts val="500"/>
              </a:spcBef>
              <a:spcAft>
                <a:spcPts val="0"/>
              </a:spcAft>
              <a:buClr>
                <a:schemeClr val="accent2"/>
              </a:buClr>
              <a:buSzPts val="1260"/>
              <a:buFont typeface="Noto Sans Symbols"/>
              <a:buChar char="▪"/>
              <a:defRPr sz="1800" b="0" i="0" u="none" strike="noStrike" cap="none">
                <a:solidFill>
                  <a:schemeClr val="dk2"/>
                </a:solidFill>
                <a:latin typeface="PT Serif"/>
                <a:ea typeface="PT Serif"/>
                <a:cs typeface="PT Serif"/>
                <a:sym typeface="PT Serif"/>
              </a:defRPr>
            </a:lvl2pPr>
            <a:lvl3pPr marL="1371600" marR="0" lvl="2" indent="-299719" algn="l" rtl="0">
              <a:lnSpc>
                <a:spcPct val="90000"/>
              </a:lnSpc>
              <a:spcBef>
                <a:spcPts val="500"/>
              </a:spcBef>
              <a:spcAft>
                <a:spcPts val="0"/>
              </a:spcAft>
              <a:buClr>
                <a:schemeClr val="accent2"/>
              </a:buClr>
              <a:buSzPts val="1120"/>
              <a:buFont typeface="Noto Sans Symbols"/>
              <a:buChar char="▪"/>
              <a:defRPr sz="1600" b="0" i="0" u="none" strike="noStrike" cap="none">
                <a:solidFill>
                  <a:schemeClr val="dk2"/>
                </a:solidFill>
                <a:latin typeface="PT Serif"/>
                <a:ea typeface="PT Serif"/>
                <a:cs typeface="PT Serif"/>
                <a:sym typeface="PT Serif"/>
              </a:defRPr>
            </a:lvl3pPr>
            <a:lvl4pPr marL="1828800" marR="0" lvl="3" indent="-290830" algn="l" rtl="0">
              <a:lnSpc>
                <a:spcPct val="90000"/>
              </a:lnSpc>
              <a:spcBef>
                <a:spcPts val="500"/>
              </a:spcBef>
              <a:spcAft>
                <a:spcPts val="0"/>
              </a:spcAft>
              <a:buClr>
                <a:schemeClr val="accent2"/>
              </a:buClr>
              <a:buSzPts val="980"/>
              <a:buFont typeface="Noto Sans Symbols"/>
              <a:buChar char="▪"/>
              <a:defRPr sz="1400" b="0" i="0" u="none" strike="noStrike" cap="none">
                <a:solidFill>
                  <a:schemeClr val="dk2"/>
                </a:solidFill>
                <a:latin typeface="PT Serif"/>
                <a:ea typeface="PT Serif"/>
                <a:cs typeface="PT Serif"/>
                <a:sym typeface="PT Serif"/>
              </a:defRPr>
            </a:lvl4pPr>
            <a:lvl5pPr marL="2286000" marR="0" lvl="4" indent="-290829" algn="l" rtl="0">
              <a:lnSpc>
                <a:spcPct val="90000"/>
              </a:lnSpc>
              <a:spcBef>
                <a:spcPts val="500"/>
              </a:spcBef>
              <a:spcAft>
                <a:spcPts val="0"/>
              </a:spcAft>
              <a:buClr>
                <a:schemeClr val="accent2"/>
              </a:buClr>
              <a:buSzPts val="980"/>
              <a:buFont typeface="Noto Sans Symbols"/>
              <a:buChar char="▪"/>
              <a:defRPr sz="1400" b="0" i="0" u="none" strike="noStrike" cap="none">
                <a:solidFill>
                  <a:schemeClr val="dk2"/>
                </a:solidFill>
                <a:latin typeface="PT Serif"/>
                <a:ea typeface="PT Serif"/>
                <a:cs typeface="PT Serif"/>
                <a:sym typeface="PT Serif"/>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pPr marL="139700" indent="0">
              <a:buNone/>
            </a:pPr>
            <a:r>
              <a:rPr lang="en-US" sz="1600"/>
              <a:t>Lorem</a:t>
            </a:r>
          </a:p>
          <a:p>
            <a:pPr lvl="1"/>
            <a:r>
              <a:rPr lang="en-US" sz="1400"/>
              <a:t>Lorem</a:t>
            </a:r>
          </a:p>
          <a:p>
            <a:pPr lvl="1"/>
            <a:r>
              <a:rPr lang="en-US" sz="1400"/>
              <a:t>Lorem</a:t>
            </a:r>
          </a:p>
          <a:p>
            <a:pPr lvl="1"/>
            <a:r>
              <a:rPr lang="en-US" sz="1400"/>
              <a:t>Lorem</a:t>
            </a:r>
            <a:endParaRPr lang="en-US"/>
          </a:p>
          <a:p>
            <a:pPr marL="139700" indent="0">
              <a:buNone/>
            </a:pPr>
            <a:r>
              <a:rPr lang="en-US" sz="1600"/>
              <a:t>Lorem</a:t>
            </a:r>
          </a:p>
          <a:p>
            <a:pPr lvl="1"/>
            <a:r>
              <a:rPr lang="en-US" sz="1400"/>
              <a:t>Lorem</a:t>
            </a:r>
          </a:p>
          <a:p>
            <a:pPr lvl="1"/>
            <a:r>
              <a:rPr lang="en-US" sz="1400"/>
              <a:t>Lorem</a:t>
            </a:r>
          </a:p>
        </p:txBody>
      </p:sp>
    </p:spTree>
    <p:extLst>
      <p:ext uri="{BB962C8B-B14F-4D97-AF65-F5344CB8AC3E}">
        <p14:creationId xmlns:p14="http://schemas.microsoft.com/office/powerpoint/2010/main" val="297562001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Shape 571"/>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710A9AC-54F5-49DC-A7BD-C965E66336EB}"/>
              </a:ext>
            </a:extLst>
          </p:cNvPr>
          <p:cNvGraphicFramePr>
            <a:graphicFrameLocks noChangeAspect="1"/>
          </p:cNvGraphicFramePr>
          <p:nvPr>
            <p:custDataLst>
              <p:tags r:id="rId2"/>
            </p:custDataLst>
            <p:extLst>
              <p:ext uri="{D42A27DB-BD31-4B8C-83A1-F6EECF244321}">
                <p14:modId xmlns:p14="http://schemas.microsoft.com/office/powerpoint/2010/main" val="27160628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8065" name="think-cell Slide" r:id="rId5" imgW="395" imgH="396" progId="TCLayout.ActiveDocument.1">
                  <p:embed/>
                </p:oleObj>
              </mc:Choice>
              <mc:Fallback>
                <p:oleObj name="think-cell Slide" r:id="rId5" imgW="395" imgH="396" progId="TCLayout.ActiveDocument.1">
                  <p:embed/>
                  <p:pic>
                    <p:nvPicPr>
                      <p:cNvPr id="5" name="Object 4" hidden="1">
                        <a:extLst>
                          <a:ext uri="{FF2B5EF4-FFF2-40B4-BE49-F238E27FC236}">
                            <a16:creationId xmlns:a16="http://schemas.microsoft.com/office/drawing/2014/main" id="{3710A9AC-54F5-49DC-A7BD-C965E66336E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72" name="Google Shape;572;p12"/>
          <p:cNvSpPr txBox="1">
            <a:spLocks noGrp="1"/>
          </p:cNvSpPr>
          <p:nvPr>
            <p:ph type="title"/>
          </p:nvPr>
        </p:nvSpPr>
        <p:spPr>
          <a:xfrm>
            <a:off x="403383" y="744237"/>
            <a:ext cx="7266195" cy="1012585"/>
          </a:xfrm>
          <a:prstGeom prst="rect">
            <a:avLst/>
          </a:prstGeom>
          <a:noFill/>
          <a:ln>
            <a:noFill/>
          </a:ln>
        </p:spPr>
        <p:txBody>
          <a:bodyPr spcFirstLastPara="1" wrap="square" lIns="0" tIns="0" rIns="0" bIns="0" anchor="t" anchorCtr="0">
            <a:noAutofit/>
          </a:bodyPr>
          <a:lstStyle/>
          <a:p>
            <a:r>
              <a:rPr lang="en-US" sz="2800"/>
              <a:t>Lorem</a:t>
            </a:r>
          </a:p>
        </p:txBody>
      </p:sp>
      <p:sp>
        <p:nvSpPr>
          <p:cNvPr id="573" name="Google Shape;573;p12"/>
          <p:cNvSpPr txBox="1"/>
          <p:nvPr/>
        </p:nvSpPr>
        <p:spPr>
          <a:xfrm>
            <a:off x="11474969" y="6356350"/>
            <a:ext cx="406052" cy="365125"/>
          </a:xfrm>
          <a:prstGeom prst="rect">
            <a:avLst/>
          </a:prstGeom>
          <a:noFill/>
          <a:ln>
            <a:noFill/>
          </a:ln>
        </p:spPr>
        <p:txBody>
          <a:bodyPr spcFirstLastPara="1" wrap="square" lIns="91425" tIns="45700" rIns="91425" bIns="45700" anchor="ctr" anchorCtr="0">
            <a:noAutofit/>
          </a:bodyPr>
          <a:lstStyle/>
          <a:p>
            <a:pPr marL="0" marR="0" lvl="0" indent="0" algn="r" rtl="0">
              <a:lnSpc>
                <a:spcPct val="100000"/>
              </a:lnSpc>
              <a:spcBef>
                <a:spcPts val="0"/>
              </a:spcBef>
              <a:spcAft>
                <a:spcPts val="0"/>
              </a:spcAft>
              <a:buClr>
                <a:srgbClr val="8A8A8A"/>
              </a:buClr>
              <a:buSzPts val="1200"/>
              <a:buFont typeface="Arial"/>
              <a:buNone/>
            </a:pPr>
            <a:fld id="{00000000-1234-1234-1234-123412341234}" type="slidenum">
              <a:rPr lang="en-US" sz="1200" b="0" i="0" u="none" strike="noStrike" cap="none">
                <a:solidFill>
                  <a:srgbClr val="8A8A8A"/>
                </a:solidFill>
                <a:latin typeface="Source Sans Pro"/>
                <a:ea typeface="Source Sans Pro"/>
                <a:cs typeface="Source Sans Pro"/>
                <a:sym typeface="Source Sans Pro"/>
              </a:rPr>
              <a:t>33</a:t>
            </a:fld>
            <a:endParaRPr sz="1200" b="0" i="0" u="none" strike="noStrike" cap="none">
              <a:solidFill>
                <a:srgbClr val="8A8A8A"/>
              </a:solidFill>
              <a:latin typeface="Source Sans Pro"/>
              <a:ea typeface="Source Sans Pro"/>
              <a:cs typeface="Source Sans Pro"/>
              <a:sym typeface="Source Sans Pro"/>
            </a:endParaRPr>
          </a:p>
        </p:txBody>
      </p:sp>
      <p:sp>
        <p:nvSpPr>
          <p:cNvPr id="579" name="Google Shape;579;p12"/>
          <p:cNvSpPr txBox="1"/>
          <p:nvPr/>
        </p:nvSpPr>
        <p:spPr>
          <a:xfrm>
            <a:off x="438912" y="1716731"/>
            <a:ext cx="4909125" cy="849463"/>
          </a:xfrm>
          <a:prstGeom prst="rect">
            <a:avLst/>
          </a:prstGeom>
          <a:noFill/>
          <a:ln>
            <a:noFill/>
          </a:ln>
        </p:spPr>
        <p:txBody>
          <a:bodyPr spcFirstLastPara="1" wrap="square" lIns="0" tIns="0" rIns="0" bIns="0" anchor="t" anchorCtr="0">
            <a:spAutoFit/>
          </a:bodyPr>
          <a:lstStyle/>
          <a:p>
            <a:pPr>
              <a:lnSpc>
                <a:spcPct val="115000"/>
              </a:lnSpc>
              <a:buClr>
                <a:schemeClr val="dk2"/>
              </a:buClr>
              <a:buSzPts val="1400"/>
            </a:pPr>
            <a:r>
              <a:rPr lang="en-US" sz="1200" b="0" i="0" strike="noStrike" cap="none">
                <a:solidFill>
                  <a:schemeClr val="tx1"/>
                </a:solidFill>
                <a:latin typeface="PT Serif"/>
                <a:ea typeface="PT Serif"/>
                <a:cs typeface="PT Serif"/>
                <a:sym typeface="PT Serif"/>
              </a:rPr>
              <a:t>User Story: </a:t>
            </a:r>
            <a:r>
              <a:rPr lang="en-US" sz="1200">
                <a:solidFill>
                  <a:srgbClr val="8F8F8F"/>
                </a:solidFill>
                <a:latin typeface="PT Serif"/>
                <a:ea typeface="PT Serif"/>
                <a:cs typeface="PT Serif"/>
                <a:sym typeface="PT Serif"/>
              </a:rPr>
              <a:t>Lorem</a:t>
            </a:r>
          </a:p>
          <a:p>
            <a:pPr>
              <a:lnSpc>
                <a:spcPct val="115000"/>
              </a:lnSpc>
              <a:buClr>
                <a:schemeClr val="dk2"/>
              </a:buClr>
              <a:buSzPts val="1400"/>
            </a:pPr>
            <a:r>
              <a:rPr lang="en-US" sz="1200" b="0" i="0" strike="noStrike" cap="none">
                <a:solidFill>
                  <a:schemeClr val="tx1"/>
                </a:solidFill>
                <a:latin typeface="PT Serif"/>
                <a:ea typeface="PT Serif"/>
                <a:cs typeface="PT Serif"/>
                <a:sym typeface="PT Serif"/>
              </a:rPr>
              <a:t>User Story: </a:t>
            </a:r>
            <a:r>
              <a:rPr lang="en-US" sz="1200">
                <a:solidFill>
                  <a:srgbClr val="8F8F8F"/>
                </a:solidFill>
                <a:latin typeface="PT Serif"/>
                <a:ea typeface="PT Serif"/>
                <a:cs typeface="PT Serif"/>
                <a:sym typeface="PT Serif"/>
              </a:rPr>
              <a:t>Lorem</a:t>
            </a:r>
            <a:endParaRPr lang="en-US" sz="1200" b="0" i="0" strike="noStrike" cap="none">
              <a:solidFill>
                <a:srgbClr val="8F8F8F"/>
              </a:solidFill>
              <a:latin typeface="PT Serif"/>
              <a:ea typeface="PT Serif"/>
              <a:cs typeface="PT Serif"/>
            </a:endParaRPr>
          </a:p>
          <a:p>
            <a:pPr>
              <a:lnSpc>
                <a:spcPct val="115000"/>
              </a:lnSpc>
              <a:buClr>
                <a:schemeClr val="dk2"/>
              </a:buClr>
              <a:buSzPts val="1400"/>
            </a:pPr>
            <a:r>
              <a:rPr lang="en-US" sz="1200" b="0" i="0" strike="noStrike" cap="none">
                <a:solidFill>
                  <a:schemeClr val="tx1"/>
                </a:solidFill>
                <a:latin typeface="PT Serif"/>
                <a:ea typeface="PT Serif"/>
                <a:cs typeface="PT Serif"/>
                <a:sym typeface="PT Serif"/>
              </a:rPr>
              <a:t>User Story: </a:t>
            </a:r>
            <a:r>
              <a:rPr lang="en-US" sz="1200" b="0" i="0" strike="noStrike" cap="none">
                <a:solidFill>
                  <a:srgbClr val="8F8F8F"/>
                </a:solidFill>
                <a:latin typeface="PT Serif"/>
                <a:ea typeface="PT Serif"/>
                <a:cs typeface="PT Serif"/>
                <a:sym typeface="PT Serif"/>
              </a:rPr>
              <a:t>Lorem</a:t>
            </a:r>
            <a:endParaRPr lang="en-US" sz="1200" b="0" i="0" strike="noStrike" cap="none">
              <a:solidFill>
                <a:srgbClr val="8F8F8F"/>
              </a:solidFill>
              <a:latin typeface="PT Serif"/>
              <a:ea typeface="PT Serif"/>
              <a:cs typeface="PT Serif"/>
            </a:endParaRPr>
          </a:p>
          <a:p>
            <a:pPr>
              <a:lnSpc>
                <a:spcPct val="115000"/>
              </a:lnSpc>
              <a:buClr>
                <a:schemeClr val="dk2"/>
              </a:buClr>
              <a:buSzPts val="1400"/>
            </a:pPr>
            <a:r>
              <a:rPr lang="en-US" sz="1200" b="0" i="0" strike="noStrike" cap="none">
                <a:solidFill>
                  <a:schemeClr val="tx1"/>
                </a:solidFill>
                <a:latin typeface="PT Serif"/>
                <a:ea typeface="PT Serif"/>
                <a:cs typeface="PT Serif"/>
                <a:sym typeface="PT Serif"/>
              </a:rPr>
              <a:t>User Story: </a:t>
            </a:r>
            <a:r>
              <a:rPr lang="en-US" sz="1200">
                <a:solidFill>
                  <a:srgbClr val="8F8F8F"/>
                </a:solidFill>
                <a:latin typeface="PT Serif"/>
                <a:ea typeface="PT Serif"/>
                <a:cs typeface="PT Serif"/>
                <a:sym typeface="PT Serif"/>
              </a:rPr>
              <a:t>Lorem</a:t>
            </a:r>
          </a:p>
        </p:txBody>
      </p:sp>
      <p:grpSp>
        <p:nvGrpSpPr>
          <p:cNvPr id="2" name="Google Shape;602;p14">
            <a:extLst>
              <a:ext uri="{FF2B5EF4-FFF2-40B4-BE49-F238E27FC236}">
                <a16:creationId xmlns:a16="http://schemas.microsoft.com/office/drawing/2014/main" id="{E445D490-D726-40C5-B04D-B87A388E9339}"/>
              </a:ext>
            </a:extLst>
          </p:cNvPr>
          <p:cNvGrpSpPr/>
          <p:nvPr/>
        </p:nvGrpSpPr>
        <p:grpSpPr>
          <a:xfrm>
            <a:off x="410431" y="309109"/>
            <a:ext cx="5150524" cy="369094"/>
            <a:chOff x="410431" y="309109"/>
            <a:chExt cx="5150524" cy="369094"/>
          </a:xfrm>
        </p:grpSpPr>
        <p:sp>
          <p:nvSpPr>
            <p:cNvPr id="13" name="Google Shape;603;p14">
              <a:extLst>
                <a:ext uri="{FF2B5EF4-FFF2-40B4-BE49-F238E27FC236}">
                  <a16:creationId xmlns:a16="http://schemas.microsoft.com/office/drawing/2014/main" id="{8589A355-6709-46C4-9E8D-20EBC64C96B2}"/>
                </a:ext>
              </a:extLst>
            </p:cNvPr>
            <p:cNvSpPr/>
            <p:nvPr/>
          </p:nvSpPr>
          <p:spPr>
            <a:xfrm>
              <a:off x="410431" y="313703"/>
              <a:ext cx="255129" cy="263129"/>
            </a:xfrm>
            <a:prstGeom prst="ellipse">
              <a:avLst/>
            </a:prstGeom>
            <a:solidFill>
              <a:srgbClr val="014479"/>
            </a:solidFill>
            <a:ln>
              <a:noFill/>
            </a:ln>
          </p:spPr>
          <p:txBody>
            <a:bodyPr spcFirstLastPara="1" wrap="square" lIns="0" tIns="0" rIns="0" bIns="0" anchor="ctr" anchorCtr="1">
              <a:noAutofit/>
            </a:bodyPr>
            <a:lstStyle/>
            <a:p>
              <a:pPr marL="0" marR="0" lvl="0" indent="0" algn="ctr" rtl="0">
                <a:lnSpc>
                  <a:spcPct val="100000"/>
                </a:lnSpc>
                <a:spcBef>
                  <a:spcPts val="0"/>
                </a:spcBef>
                <a:spcAft>
                  <a:spcPts val="0"/>
                </a:spcAft>
                <a:buClr>
                  <a:srgbClr val="FFFFFF"/>
                </a:buClr>
                <a:buSzPts val="3600"/>
                <a:buFont typeface="PT Serif"/>
                <a:buNone/>
              </a:pPr>
              <a:r>
                <a:rPr lang="en-US" sz="1200">
                  <a:solidFill>
                    <a:srgbClr val="FFFFFF"/>
                  </a:solidFill>
                  <a:latin typeface="PT Serif"/>
                </a:rPr>
                <a:t>3</a:t>
              </a:r>
              <a:endParaRPr lang="en-US" sz="1200" b="0" i="0" u="none" strike="noStrike" cap="none">
                <a:solidFill>
                  <a:srgbClr val="FFFFFF"/>
                </a:solidFill>
                <a:latin typeface="PT Serif"/>
                <a:ea typeface="Arial"/>
                <a:cs typeface="Arial"/>
              </a:endParaRPr>
            </a:p>
          </p:txBody>
        </p:sp>
        <p:sp>
          <p:nvSpPr>
            <p:cNvPr id="14" name="Google Shape;604;p14">
              <a:extLst>
                <a:ext uri="{FF2B5EF4-FFF2-40B4-BE49-F238E27FC236}">
                  <a16:creationId xmlns:a16="http://schemas.microsoft.com/office/drawing/2014/main" id="{8A017AD3-D1D6-485C-A326-F88A08E5D18A}"/>
                </a:ext>
              </a:extLst>
            </p:cNvPr>
            <p:cNvSpPr txBox="1"/>
            <p:nvPr/>
          </p:nvSpPr>
          <p:spPr>
            <a:xfrm>
              <a:off x="736498" y="309109"/>
              <a:ext cx="4824457" cy="369094"/>
            </a:xfrm>
            <a:prstGeom prst="rect">
              <a:avLst/>
            </a:prstGeom>
            <a:noFill/>
            <a:ln>
              <a:noFill/>
            </a:ln>
          </p:spPr>
          <p:txBody>
            <a:bodyPr spcFirstLastPara="1" wrap="square" lIns="0" tIns="45700" rIns="0" bIns="45700" anchor="t" anchorCtr="0">
              <a:normAutofit/>
            </a:bodyPr>
            <a:lstStyle/>
            <a:p>
              <a:pPr marL="0" marR="0" lvl="0" indent="0" algn="l">
                <a:lnSpc>
                  <a:spcPct val="100000"/>
                </a:lnSpc>
                <a:spcBef>
                  <a:spcPts val="0"/>
                </a:spcBef>
                <a:spcAft>
                  <a:spcPts val="0"/>
                </a:spcAft>
                <a:buNone/>
              </a:pPr>
              <a:r>
                <a:rPr lang="en-US">
                  <a:solidFill>
                    <a:srgbClr val="0071BF"/>
                  </a:solidFill>
                  <a:latin typeface="Source Sans Pro"/>
                  <a:ea typeface="Source Sans Pro"/>
                  <a:sym typeface="Source Sans Pro"/>
                </a:rPr>
                <a:t>PRODUCT</a:t>
              </a:r>
              <a:endParaRPr lang="en-US"/>
            </a:p>
          </p:txBody>
        </p:sp>
      </p:grpSp>
      <p:sp>
        <p:nvSpPr>
          <p:cNvPr id="3" name="Google Shape;470;p9">
            <a:extLst>
              <a:ext uri="{FF2B5EF4-FFF2-40B4-BE49-F238E27FC236}">
                <a16:creationId xmlns:a16="http://schemas.microsoft.com/office/drawing/2014/main" id="{70028C8A-C6FA-4CD2-92DD-340A37231D5E}"/>
              </a:ext>
            </a:extLst>
          </p:cNvPr>
          <p:cNvSpPr txBox="1"/>
          <p:nvPr/>
        </p:nvSpPr>
        <p:spPr>
          <a:xfrm>
            <a:off x="10862275" y="6408650"/>
            <a:ext cx="778550" cy="276959"/>
          </a:xfrm>
          <a:prstGeom prst="rect">
            <a:avLst/>
          </a:prstGeom>
          <a:noFill/>
          <a:ln>
            <a:noFill/>
          </a:ln>
        </p:spPr>
        <p:txBody>
          <a:bodyPr spcFirstLastPara="1" wrap="square" lIns="91425" tIns="45700" rIns="91425" bIns="45700" anchor="t" anchorCtr="0">
            <a:spAutoFit/>
          </a:bodyPr>
          <a:lstStyle/>
          <a:p>
            <a:pPr marL="0" marR="0" lvl="0" indent="0" algn="r">
              <a:spcBef>
                <a:spcPts val="0"/>
              </a:spcBef>
              <a:spcAft>
                <a:spcPts val="0"/>
              </a:spcAft>
              <a:buNone/>
            </a:pPr>
            <a:r>
              <a:rPr lang="en-US" sz="1200">
                <a:solidFill>
                  <a:srgbClr val="747C74"/>
                </a:solidFill>
                <a:latin typeface="Source Sans Pro"/>
                <a:ea typeface="Source Sans Pro"/>
                <a:cs typeface="Calibri"/>
                <a:sym typeface="Source Sans Pro"/>
              </a:rPr>
              <a:t>Product</a:t>
            </a:r>
            <a:endParaRPr lang="en-US"/>
          </a:p>
        </p:txBody>
      </p:sp>
      <p:sp>
        <p:nvSpPr>
          <p:cNvPr id="7" name="Google Shape;337;p6">
            <a:extLst>
              <a:ext uri="{FF2B5EF4-FFF2-40B4-BE49-F238E27FC236}">
                <a16:creationId xmlns:a16="http://schemas.microsoft.com/office/drawing/2014/main" id="{C840A1AA-DEE9-4A69-BC08-B46800497F9A}"/>
              </a:ext>
            </a:extLst>
          </p:cNvPr>
          <p:cNvSpPr txBox="1"/>
          <p:nvPr/>
        </p:nvSpPr>
        <p:spPr>
          <a:xfrm>
            <a:off x="419100" y="6408650"/>
            <a:ext cx="2723465" cy="276999"/>
          </a:xfrm>
          <a:prstGeom prst="rect">
            <a:avLst/>
          </a:prstGeom>
          <a:noFill/>
          <a:ln>
            <a:noFill/>
          </a:ln>
        </p:spPr>
        <p:txBody>
          <a:bodyPr spcFirstLastPara="1" wrap="square" lIns="0" tIns="45700" rIns="91425" bIns="45700" anchor="t" anchorCtr="0">
            <a:spAutoFit/>
          </a:bodyPr>
          <a:lstStyle/>
          <a:p>
            <a:pPr marL="0" marR="0" lvl="0" indent="0" algn="l" rtl="0">
              <a:spcBef>
                <a:spcPts val="0"/>
              </a:spcBef>
              <a:spcAft>
                <a:spcPts val="0"/>
              </a:spcAft>
              <a:buNone/>
            </a:pPr>
            <a:r>
              <a:rPr lang="en-US" sz="1200" b="0" i="0" u="none" strike="noStrike" cap="none">
                <a:solidFill>
                  <a:srgbClr val="747C74"/>
                </a:solidFill>
                <a:latin typeface="Source Sans Pro"/>
                <a:ea typeface="Source Sans Pro"/>
                <a:cs typeface="Source Sans Pro"/>
                <a:sym typeface="Source Sans Pro"/>
              </a:rPr>
              <a:t>04-19 Sprint 6 Demo</a:t>
            </a:r>
            <a:endParaRPr sz="1200" b="0" i="0" u="none" strike="noStrike" cap="none">
              <a:solidFill>
                <a:srgbClr val="747C74"/>
              </a:solidFill>
              <a:latin typeface="Calibri"/>
              <a:ea typeface="Calibri"/>
              <a:cs typeface="Calibri"/>
              <a:sym typeface="Calibri"/>
            </a:endParaRPr>
          </a:p>
        </p:txBody>
      </p:sp>
      <p:sp>
        <p:nvSpPr>
          <p:cNvPr id="17" name="Google Shape;606;p14">
            <a:extLst>
              <a:ext uri="{FF2B5EF4-FFF2-40B4-BE49-F238E27FC236}">
                <a16:creationId xmlns:a16="http://schemas.microsoft.com/office/drawing/2014/main" id="{DEF69BFC-72EE-484A-919A-8AC606BDAD96}"/>
              </a:ext>
            </a:extLst>
          </p:cNvPr>
          <p:cNvSpPr txBox="1">
            <a:spLocks noGrp="1"/>
          </p:cNvSpPr>
          <p:nvPr/>
        </p:nvSpPr>
        <p:spPr>
          <a:xfrm>
            <a:off x="185931" y="2832385"/>
            <a:ext cx="4312968" cy="3251874"/>
          </a:xfrm>
          <a:prstGeom prst="rect">
            <a:avLst/>
          </a:prstGeom>
          <a:noFill/>
          <a:ln>
            <a:noFill/>
          </a:ln>
        </p:spPr>
        <p:txBody>
          <a:bodyPr spcFirstLastPara="1" wrap="square" lIns="91425" tIns="45700" rIns="91425" bIns="45700" anchor="t" anchorCtr="0">
            <a:normAutofit/>
          </a:bodyPr>
          <a:lstStyle>
            <a:defPPr marR="0" lvl="0" algn="l" rtl="0">
              <a:lnSpc>
                <a:spcPct val="100000"/>
              </a:lnSpc>
              <a:spcBef>
                <a:spcPts val="0"/>
              </a:spcBef>
              <a:spcAft>
                <a:spcPts val="0"/>
              </a:spcAft>
            </a:defPPr>
            <a:lvl1pPr marL="457200" marR="0" lvl="0" indent="-317500" algn="l" rtl="0">
              <a:lnSpc>
                <a:spcPct val="90000"/>
              </a:lnSpc>
              <a:spcBef>
                <a:spcPts val="1000"/>
              </a:spcBef>
              <a:spcAft>
                <a:spcPts val="0"/>
              </a:spcAft>
              <a:buClr>
                <a:schemeClr val="accent2"/>
              </a:buClr>
              <a:buSzPts val="1400"/>
              <a:buFont typeface="Noto Sans Symbols"/>
              <a:buChar char="▪"/>
              <a:defRPr sz="2000" b="0" i="0" u="none" strike="noStrike" cap="none">
                <a:solidFill>
                  <a:schemeClr val="dk2"/>
                </a:solidFill>
                <a:latin typeface="PT Serif"/>
                <a:ea typeface="PT Serif"/>
                <a:cs typeface="PT Serif"/>
                <a:sym typeface="PT Serif"/>
              </a:defRPr>
            </a:lvl1pPr>
            <a:lvl2pPr marL="914400" marR="0" lvl="1" indent="-308610" algn="l" rtl="0">
              <a:lnSpc>
                <a:spcPct val="90000"/>
              </a:lnSpc>
              <a:spcBef>
                <a:spcPts val="500"/>
              </a:spcBef>
              <a:spcAft>
                <a:spcPts val="0"/>
              </a:spcAft>
              <a:buClr>
                <a:schemeClr val="accent2"/>
              </a:buClr>
              <a:buSzPts val="1260"/>
              <a:buFont typeface="Noto Sans Symbols"/>
              <a:buChar char="▪"/>
              <a:defRPr sz="1800" b="0" i="0" u="none" strike="noStrike" cap="none">
                <a:solidFill>
                  <a:schemeClr val="dk2"/>
                </a:solidFill>
                <a:latin typeface="PT Serif"/>
                <a:ea typeface="PT Serif"/>
                <a:cs typeface="PT Serif"/>
                <a:sym typeface="PT Serif"/>
              </a:defRPr>
            </a:lvl2pPr>
            <a:lvl3pPr marL="1371600" marR="0" lvl="2" indent="-299719" algn="l" rtl="0">
              <a:lnSpc>
                <a:spcPct val="90000"/>
              </a:lnSpc>
              <a:spcBef>
                <a:spcPts val="500"/>
              </a:spcBef>
              <a:spcAft>
                <a:spcPts val="0"/>
              </a:spcAft>
              <a:buClr>
                <a:schemeClr val="accent2"/>
              </a:buClr>
              <a:buSzPts val="1120"/>
              <a:buFont typeface="Noto Sans Symbols"/>
              <a:buChar char="▪"/>
              <a:defRPr sz="1600" b="0" i="0" u="none" strike="noStrike" cap="none">
                <a:solidFill>
                  <a:schemeClr val="dk2"/>
                </a:solidFill>
                <a:latin typeface="PT Serif"/>
                <a:ea typeface="PT Serif"/>
                <a:cs typeface="PT Serif"/>
                <a:sym typeface="PT Serif"/>
              </a:defRPr>
            </a:lvl3pPr>
            <a:lvl4pPr marL="1828800" marR="0" lvl="3" indent="-290830" algn="l" rtl="0">
              <a:lnSpc>
                <a:spcPct val="90000"/>
              </a:lnSpc>
              <a:spcBef>
                <a:spcPts val="500"/>
              </a:spcBef>
              <a:spcAft>
                <a:spcPts val="0"/>
              </a:spcAft>
              <a:buClr>
                <a:schemeClr val="accent2"/>
              </a:buClr>
              <a:buSzPts val="980"/>
              <a:buFont typeface="Noto Sans Symbols"/>
              <a:buChar char="▪"/>
              <a:defRPr sz="1400" b="0" i="0" u="none" strike="noStrike" cap="none">
                <a:solidFill>
                  <a:schemeClr val="dk2"/>
                </a:solidFill>
                <a:latin typeface="PT Serif"/>
                <a:ea typeface="PT Serif"/>
                <a:cs typeface="PT Serif"/>
                <a:sym typeface="PT Serif"/>
              </a:defRPr>
            </a:lvl4pPr>
            <a:lvl5pPr marL="2286000" marR="0" lvl="4" indent="-290829" algn="l" rtl="0">
              <a:lnSpc>
                <a:spcPct val="90000"/>
              </a:lnSpc>
              <a:spcBef>
                <a:spcPts val="500"/>
              </a:spcBef>
              <a:spcAft>
                <a:spcPts val="0"/>
              </a:spcAft>
              <a:buClr>
                <a:schemeClr val="accent2"/>
              </a:buClr>
              <a:buSzPts val="980"/>
              <a:buFont typeface="Noto Sans Symbols"/>
              <a:buChar char="▪"/>
              <a:defRPr sz="1400" b="0" i="0" u="none" strike="noStrike" cap="none">
                <a:solidFill>
                  <a:schemeClr val="dk2"/>
                </a:solidFill>
                <a:latin typeface="PT Serif"/>
                <a:ea typeface="PT Serif"/>
                <a:cs typeface="PT Serif"/>
                <a:sym typeface="PT Serif"/>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pPr marL="139700" indent="0">
              <a:buNone/>
            </a:pPr>
            <a:r>
              <a:rPr lang="en-US" sz="1600"/>
              <a:t>Lorem</a:t>
            </a:r>
          </a:p>
          <a:p>
            <a:pPr lvl="1"/>
            <a:r>
              <a:rPr lang="en-US" sz="1400"/>
              <a:t>Lorem</a:t>
            </a:r>
          </a:p>
          <a:p>
            <a:pPr lvl="1"/>
            <a:r>
              <a:rPr lang="en-US" sz="1400"/>
              <a:t>Lorem</a:t>
            </a:r>
          </a:p>
          <a:p>
            <a:pPr lvl="1"/>
            <a:r>
              <a:rPr lang="en-US" sz="1400"/>
              <a:t>Lorem</a:t>
            </a:r>
            <a:endParaRPr lang="en-US"/>
          </a:p>
          <a:p>
            <a:pPr marL="139700" indent="0">
              <a:buNone/>
            </a:pPr>
            <a:r>
              <a:rPr lang="en-US" sz="1600"/>
              <a:t>Lorem</a:t>
            </a:r>
          </a:p>
          <a:p>
            <a:pPr lvl="1"/>
            <a:r>
              <a:rPr lang="en-US" sz="1400"/>
              <a:t>Lorem</a:t>
            </a:r>
          </a:p>
          <a:p>
            <a:pPr lvl="1"/>
            <a:r>
              <a:rPr lang="en-US" sz="1400"/>
              <a:t>Lorem</a:t>
            </a:r>
          </a:p>
        </p:txBody>
      </p:sp>
      <p:sp>
        <p:nvSpPr>
          <p:cNvPr id="18" name="Google Shape;641;p16">
            <a:extLst>
              <a:ext uri="{FF2B5EF4-FFF2-40B4-BE49-F238E27FC236}">
                <a16:creationId xmlns:a16="http://schemas.microsoft.com/office/drawing/2014/main" id="{A4455F1E-5439-4739-93B5-E2C39007984E}"/>
              </a:ext>
            </a:extLst>
          </p:cNvPr>
          <p:cNvSpPr txBox="1"/>
          <p:nvPr/>
        </p:nvSpPr>
        <p:spPr>
          <a:xfrm>
            <a:off x="8425546" y="6109251"/>
            <a:ext cx="3445011" cy="276959"/>
          </a:xfrm>
          <a:prstGeom prst="rect">
            <a:avLst/>
          </a:prstGeom>
          <a:noFill/>
          <a:ln>
            <a:noFill/>
          </a:ln>
        </p:spPr>
        <p:txBody>
          <a:bodyPr spcFirstLastPara="1" wrap="square" lIns="91425" tIns="45700" rIns="91425" bIns="45700" anchor="t" anchorCtr="0">
            <a:spAutoFit/>
          </a:bodyPr>
          <a:lstStyle/>
          <a:p>
            <a:pPr lvl="1" algn="r">
              <a:buSzPts val="1400"/>
            </a:pPr>
            <a:r>
              <a:rPr lang="en-US" sz="1200">
                <a:latin typeface="Source Sans Pro"/>
                <a:ea typeface="Source Sans Pro"/>
              </a:rPr>
              <a:t>Link </a:t>
            </a:r>
            <a:endParaRPr lang="en-US" sz="1200" b="0" i="0" strike="noStrike" cap="none">
              <a:solidFill>
                <a:srgbClr val="000000"/>
              </a:solidFill>
              <a:latin typeface="Source Sans Pro"/>
              <a:ea typeface="Source Sans Pro"/>
              <a:sym typeface="Arial"/>
            </a:endParaRPr>
          </a:p>
        </p:txBody>
      </p:sp>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Shape 571"/>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710A9AC-54F5-49DC-A7BD-C965E66336EB}"/>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0113" name="think-cell Slide" r:id="rId5" imgW="395" imgH="396" progId="TCLayout.ActiveDocument.1">
                  <p:embed/>
                </p:oleObj>
              </mc:Choice>
              <mc:Fallback>
                <p:oleObj name="think-cell Slide" r:id="rId5" imgW="395" imgH="396" progId="TCLayout.ActiveDocument.1">
                  <p:embed/>
                  <p:pic>
                    <p:nvPicPr>
                      <p:cNvPr id="5" name="Object 4" hidden="1">
                        <a:extLst>
                          <a:ext uri="{FF2B5EF4-FFF2-40B4-BE49-F238E27FC236}">
                            <a16:creationId xmlns:a16="http://schemas.microsoft.com/office/drawing/2014/main" id="{3710A9AC-54F5-49DC-A7BD-C965E66336E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72" name="Google Shape;572;p12"/>
          <p:cNvSpPr txBox="1">
            <a:spLocks noGrp="1"/>
          </p:cNvSpPr>
          <p:nvPr>
            <p:ph type="title"/>
          </p:nvPr>
        </p:nvSpPr>
        <p:spPr>
          <a:xfrm>
            <a:off x="416755" y="750806"/>
            <a:ext cx="8979355" cy="1012585"/>
          </a:xfrm>
          <a:prstGeom prst="rect">
            <a:avLst/>
          </a:prstGeom>
          <a:noFill/>
          <a:ln>
            <a:noFill/>
          </a:ln>
        </p:spPr>
        <p:txBody>
          <a:bodyPr spcFirstLastPara="1" wrap="square" lIns="0" tIns="0" rIns="0" bIns="0" anchor="t" anchorCtr="0">
            <a:noAutofit/>
          </a:bodyPr>
          <a:lstStyle/>
          <a:p>
            <a:r>
              <a:rPr lang="en-US" sz="2800"/>
              <a:t>Lorem</a:t>
            </a:r>
            <a:endParaRPr sz="3200"/>
          </a:p>
        </p:txBody>
      </p:sp>
      <p:sp>
        <p:nvSpPr>
          <p:cNvPr id="573" name="Google Shape;573;p12"/>
          <p:cNvSpPr txBox="1"/>
          <p:nvPr/>
        </p:nvSpPr>
        <p:spPr>
          <a:xfrm>
            <a:off x="11474969" y="6356350"/>
            <a:ext cx="406052" cy="365125"/>
          </a:xfrm>
          <a:prstGeom prst="rect">
            <a:avLst/>
          </a:prstGeom>
          <a:noFill/>
          <a:ln>
            <a:noFill/>
          </a:ln>
        </p:spPr>
        <p:txBody>
          <a:bodyPr spcFirstLastPara="1" wrap="square" lIns="91425" tIns="45700" rIns="91425" bIns="45700" anchor="ctr" anchorCtr="0">
            <a:noAutofit/>
          </a:bodyPr>
          <a:lstStyle/>
          <a:p>
            <a:pPr marL="0" marR="0" lvl="0" indent="0" algn="r" rtl="0">
              <a:lnSpc>
                <a:spcPct val="100000"/>
              </a:lnSpc>
              <a:spcBef>
                <a:spcPts val="0"/>
              </a:spcBef>
              <a:spcAft>
                <a:spcPts val="0"/>
              </a:spcAft>
              <a:buClr>
                <a:srgbClr val="8A8A8A"/>
              </a:buClr>
              <a:buSzPts val="1200"/>
              <a:buFont typeface="Arial"/>
              <a:buNone/>
            </a:pPr>
            <a:fld id="{00000000-1234-1234-1234-123412341234}" type="slidenum">
              <a:rPr lang="en-US" sz="1200" b="0" i="0" u="none" strike="noStrike" cap="none">
                <a:solidFill>
                  <a:srgbClr val="8A8A8A"/>
                </a:solidFill>
                <a:latin typeface="Source Sans Pro"/>
                <a:ea typeface="Source Sans Pro"/>
                <a:cs typeface="Source Sans Pro"/>
                <a:sym typeface="Source Sans Pro"/>
              </a:rPr>
              <a:t>34</a:t>
            </a:fld>
            <a:endParaRPr sz="1200" b="0" i="0" u="none" strike="noStrike" cap="none">
              <a:solidFill>
                <a:srgbClr val="8A8A8A"/>
              </a:solidFill>
              <a:latin typeface="Source Sans Pro"/>
              <a:ea typeface="Source Sans Pro"/>
              <a:cs typeface="Source Sans Pro"/>
              <a:sym typeface="Source Sans Pro"/>
            </a:endParaRPr>
          </a:p>
        </p:txBody>
      </p:sp>
      <p:sp>
        <p:nvSpPr>
          <p:cNvPr id="579" name="Google Shape;579;p12"/>
          <p:cNvSpPr txBox="1"/>
          <p:nvPr/>
        </p:nvSpPr>
        <p:spPr>
          <a:xfrm>
            <a:off x="438912" y="1709928"/>
            <a:ext cx="11353800" cy="495520"/>
          </a:xfrm>
          <a:prstGeom prst="rect">
            <a:avLst/>
          </a:prstGeom>
          <a:noFill/>
          <a:ln>
            <a:noFill/>
          </a:ln>
        </p:spPr>
        <p:txBody>
          <a:bodyPr spcFirstLastPara="1" wrap="square" lIns="0" tIns="0" rIns="0" bIns="0" anchor="t" anchorCtr="0">
            <a:spAutoFit/>
          </a:bodyPr>
          <a:lstStyle/>
          <a:p>
            <a:pPr>
              <a:lnSpc>
                <a:spcPct val="115000"/>
              </a:lnSpc>
              <a:buClr>
                <a:schemeClr val="dk2"/>
              </a:buClr>
              <a:buSzPts val="1400"/>
            </a:pPr>
            <a:r>
              <a:rPr lang="en-US" b="0" i="0" strike="noStrike" cap="none">
                <a:solidFill>
                  <a:schemeClr val="tx1"/>
                </a:solidFill>
                <a:latin typeface="PT Serif"/>
                <a:ea typeface="PT Serif"/>
                <a:cs typeface="PT Serif"/>
                <a:sym typeface="PT Serif"/>
              </a:rPr>
              <a:t>User Story: </a:t>
            </a:r>
            <a:r>
              <a:rPr lang="en-US" b="0" i="0" strike="noStrike" cap="none">
                <a:solidFill>
                  <a:srgbClr val="8F8F8F"/>
                </a:solidFill>
                <a:latin typeface="PT Serif"/>
                <a:ea typeface="PT Serif"/>
                <a:cs typeface="PT Serif"/>
                <a:sym typeface="PT Serif"/>
              </a:rPr>
              <a:t>Lorem</a:t>
            </a:r>
            <a:endParaRPr lang="en-US">
              <a:solidFill>
                <a:srgbClr val="8F8F8F"/>
              </a:solidFill>
              <a:latin typeface="PT Serif"/>
              <a:ea typeface="PT Serif"/>
              <a:cs typeface="PT Serif"/>
              <a:sym typeface="PT Serif"/>
            </a:endParaRPr>
          </a:p>
          <a:p>
            <a:pPr>
              <a:lnSpc>
                <a:spcPct val="115000"/>
              </a:lnSpc>
              <a:buClr>
                <a:schemeClr val="dk2"/>
              </a:buClr>
              <a:buSzPts val="1400"/>
            </a:pPr>
            <a:r>
              <a:rPr lang="en-US" b="0" i="0" strike="noStrike" cap="none">
                <a:solidFill>
                  <a:schemeClr val="tx1"/>
                </a:solidFill>
                <a:latin typeface="PT Serif"/>
                <a:ea typeface="PT Serif"/>
                <a:cs typeface="PT Serif"/>
                <a:sym typeface="PT Serif"/>
              </a:rPr>
              <a:t>User Story: </a:t>
            </a:r>
            <a:r>
              <a:rPr lang="en-US">
                <a:solidFill>
                  <a:srgbClr val="8F8F8F"/>
                </a:solidFill>
                <a:latin typeface="PT Serif"/>
                <a:ea typeface="PT Serif"/>
                <a:cs typeface="PT Serif"/>
                <a:sym typeface="PT Serif"/>
              </a:rPr>
              <a:t>Lorem</a:t>
            </a:r>
          </a:p>
        </p:txBody>
      </p:sp>
      <p:grpSp>
        <p:nvGrpSpPr>
          <p:cNvPr id="2" name="Google Shape;602;p14">
            <a:extLst>
              <a:ext uri="{FF2B5EF4-FFF2-40B4-BE49-F238E27FC236}">
                <a16:creationId xmlns:a16="http://schemas.microsoft.com/office/drawing/2014/main" id="{E445D490-D726-40C5-B04D-B87A388E9339}"/>
              </a:ext>
            </a:extLst>
          </p:cNvPr>
          <p:cNvGrpSpPr/>
          <p:nvPr/>
        </p:nvGrpSpPr>
        <p:grpSpPr>
          <a:xfrm>
            <a:off x="410431" y="309109"/>
            <a:ext cx="5150524" cy="369094"/>
            <a:chOff x="410431" y="309109"/>
            <a:chExt cx="5150524" cy="369094"/>
          </a:xfrm>
        </p:grpSpPr>
        <p:sp>
          <p:nvSpPr>
            <p:cNvPr id="13" name="Google Shape;603;p14">
              <a:extLst>
                <a:ext uri="{FF2B5EF4-FFF2-40B4-BE49-F238E27FC236}">
                  <a16:creationId xmlns:a16="http://schemas.microsoft.com/office/drawing/2014/main" id="{8589A355-6709-46C4-9E8D-20EBC64C96B2}"/>
                </a:ext>
              </a:extLst>
            </p:cNvPr>
            <p:cNvSpPr/>
            <p:nvPr/>
          </p:nvSpPr>
          <p:spPr>
            <a:xfrm>
              <a:off x="410431" y="313703"/>
              <a:ext cx="255129" cy="263129"/>
            </a:xfrm>
            <a:prstGeom prst="ellipse">
              <a:avLst/>
            </a:prstGeom>
            <a:solidFill>
              <a:srgbClr val="014479"/>
            </a:solidFill>
            <a:ln>
              <a:noFill/>
            </a:ln>
          </p:spPr>
          <p:txBody>
            <a:bodyPr spcFirstLastPara="1" wrap="square" lIns="0" tIns="0" rIns="0" bIns="0" anchor="ctr" anchorCtr="1">
              <a:noAutofit/>
            </a:bodyPr>
            <a:lstStyle/>
            <a:p>
              <a:pPr marL="0" marR="0" lvl="0" indent="0" algn="ctr" rtl="0">
                <a:lnSpc>
                  <a:spcPct val="100000"/>
                </a:lnSpc>
                <a:spcBef>
                  <a:spcPts val="0"/>
                </a:spcBef>
                <a:spcAft>
                  <a:spcPts val="0"/>
                </a:spcAft>
                <a:buClr>
                  <a:srgbClr val="FFFFFF"/>
                </a:buClr>
                <a:buSzPts val="3600"/>
                <a:buFont typeface="PT Serif"/>
                <a:buNone/>
              </a:pPr>
              <a:r>
                <a:rPr lang="en-US" sz="1200">
                  <a:solidFill>
                    <a:srgbClr val="FFFFFF"/>
                  </a:solidFill>
                  <a:latin typeface="PT Serif"/>
                </a:rPr>
                <a:t>3</a:t>
              </a:r>
              <a:endParaRPr lang="en-US" sz="1200" b="0" i="0" u="none" strike="noStrike" cap="none">
                <a:solidFill>
                  <a:srgbClr val="FFFFFF"/>
                </a:solidFill>
                <a:latin typeface="PT Serif"/>
                <a:ea typeface="Arial"/>
                <a:cs typeface="Arial"/>
              </a:endParaRPr>
            </a:p>
          </p:txBody>
        </p:sp>
        <p:sp>
          <p:nvSpPr>
            <p:cNvPr id="14" name="Google Shape;604;p14">
              <a:extLst>
                <a:ext uri="{FF2B5EF4-FFF2-40B4-BE49-F238E27FC236}">
                  <a16:creationId xmlns:a16="http://schemas.microsoft.com/office/drawing/2014/main" id="{8A017AD3-D1D6-485C-A326-F88A08E5D18A}"/>
                </a:ext>
              </a:extLst>
            </p:cNvPr>
            <p:cNvSpPr txBox="1"/>
            <p:nvPr/>
          </p:nvSpPr>
          <p:spPr>
            <a:xfrm>
              <a:off x="736498" y="309109"/>
              <a:ext cx="4824457" cy="369094"/>
            </a:xfrm>
            <a:prstGeom prst="rect">
              <a:avLst/>
            </a:prstGeom>
            <a:noFill/>
            <a:ln>
              <a:noFill/>
            </a:ln>
          </p:spPr>
          <p:txBody>
            <a:bodyPr spcFirstLastPara="1" wrap="square" lIns="0" tIns="45700" rIns="0" bIns="45700" anchor="t" anchorCtr="0">
              <a:normAutofit/>
            </a:bodyPr>
            <a:lstStyle/>
            <a:p>
              <a:pPr marL="0" marR="0" lvl="0" indent="0" algn="l">
                <a:lnSpc>
                  <a:spcPct val="100000"/>
                </a:lnSpc>
                <a:spcBef>
                  <a:spcPts val="0"/>
                </a:spcBef>
                <a:spcAft>
                  <a:spcPts val="0"/>
                </a:spcAft>
                <a:buNone/>
              </a:pPr>
              <a:r>
                <a:rPr lang="en-US">
                  <a:solidFill>
                    <a:srgbClr val="0071BF"/>
                  </a:solidFill>
                  <a:latin typeface="Source Sans Pro"/>
                  <a:ea typeface="Source Sans Pro"/>
                  <a:sym typeface="Source Sans Pro"/>
                </a:rPr>
                <a:t>PRODUCT</a:t>
              </a:r>
              <a:endParaRPr lang="en-US"/>
            </a:p>
          </p:txBody>
        </p:sp>
      </p:grpSp>
      <p:sp>
        <p:nvSpPr>
          <p:cNvPr id="3" name="Google Shape;470;p9">
            <a:extLst>
              <a:ext uri="{FF2B5EF4-FFF2-40B4-BE49-F238E27FC236}">
                <a16:creationId xmlns:a16="http://schemas.microsoft.com/office/drawing/2014/main" id="{70028C8A-C6FA-4CD2-92DD-340A37231D5E}"/>
              </a:ext>
            </a:extLst>
          </p:cNvPr>
          <p:cNvSpPr txBox="1"/>
          <p:nvPr/>
        </p:nvSpPr>
        <p:spPr>
          <a:xfrm>
            <a:off x="9661358" y="6408650"/>
            <a:ext cx="1979467" cy="276959"/>
          </a:xfrm>
          <a:prstGeom prst="rect">
            <a:avLst/>
          </a:prstGeom>
          <a:noFill/>
          <a:ln>
            <a:noFill/>
          </a:ln>
        </p:spPr>
        <p:txBody>
          <a:bodyPr spcFirstLastPara="1" wrap="square" lIns="91425" tIns="45700" rIns="91425" bIns="45700" anchor="t" anchorCtr="0">
            <a:spAutoFit/>
          </a:bodyPr>
          <a:lstStyle/>
          <a:p>
            <a:pPr marL="0" marR="0" lvl="0" indent="0" algn="r">
              <a:spcBef>
                <a:spcPts val="0"/>
              </a:spcBef>
              <a:spcAft>
                <a:spcPts val="0"/>
              </a:spcAft>
              <a:buNone/>
            </a:pPr>
            <a:r>
              <a:rPr lang="en-US" sz="1200">
                <a:solidFill>
                  <a:srgbClr val="747C74"/>
                </a:solidFill>
                <a:latin typeface="Source Sans Pro"/>
                <a:ea typeface="Source Sans Pro"/>
                <a:cs typeface="Calibri"/>
                <a:sym typeface="Source Sans Pro"/>
              </a:rPr>
              <a:t>Community Care</a:t>
            </a:r>
            <a:endParaRPr lang="en-US"/>
          </a:p>
        </p:txBody>
      </p:sp>
      <p:sp>
        <p:nvSpPr>
          <p:cNvPr id="7" name="Google Shape;337;p6">
            <a:extLst>
              <a:ext uri="{FF2B5EF4-FFF2-40B4-BE49-F238E27FC236}">
                <a16:creationId xmlns:a16="http://schemas.microsoft.com/office/drawing/2014/main" id="{C840A1AA-DEE9-4A69-BC08-B46800497F9A}"/>
              </a:ext>
            </a:extLst>
          </p:cNvPr>
          <p:cNvSpPr txBox="1"/>
          <p:nvPr/>
        </p:nvSpPr>
        <p:spPr>
          <a:xfrm>
            <a:off x="419100" y="6408650"/>
            <a:ext cx="2723465" cy="276999"/>
          </a:xfrm>
          <a:prstGeom prst="rect">
            <a:avLst/>
          </a:prstGeom>
          <a:noFill/>
          <a:ln>
            <a:noFill/>
          </a:ln>
        </p:spPr>
        <p:txBody>
          <a:bodyPr spcFirstLastPara="1" wrap="square" lIns="0" tIns="45700" rIns="91425" bIns="45700" anchor="t" anchorCtr="0">
            <a:spAutoFit/>
          </a:bodyPr>
          <a:lstStyle/>
          <a:p>
            <a:pPr marL="0" marR="0" lvl="0" indent="0" algn="l" rtl="0">
              <a:spcBef>
                <a:spcPts val="0"/>
              </a:spcBef>
              <a:spcAft>
                <a:spcPts val="0"/>
              </a:spcAft>
              <a:buNone/>
            </a:pPr>
            <a:r>
              <a:rPr lang="en-US" sz="1200" b="0" i="0" u="none" strike="noStrike" cap="none">
                <a:solidFill>
                  <a:srgbClr val="747C74"/>
                </a:solidFill>
                <a:latin typeface="Source Sans Pro"/>
                <a:ea typeface="Source Sans Pro"/>
                <a:cs typeface="Source Sans Pro"/>
                <a:sym typeface="Source Sans Pro"/>
              </a:rPr>
              <a:t>04-19 Sprint 6 Demo</a:t>
            </a:r>
            <a:endParaRPr sz="1200" b="0" i="0" u="none" strike="noStrike" cap="none">
              <a:solidFill>
                <a:srgbClr val="747C74"/>
              </a:solidFill>
              <a:latin typeface="Calibri"/>
              <a:ea typeface="Calibri"/>
              <a:cs typeface="Calibri"/>
              <a:sym typeface="Calibri"/>
            </a:endParaRPr>
          </a:p>
        </p:txBody>
      </p:sp>
      <p:sp>
        <p:nvSpPr>
          <p:cNvPr id="16" name="Google Shape;641;p16">
            <a:extLst>
              <a:ext uri="{FF2B5EF4-FFF2-40B4-BE49-F238E27FC236}">
                <a16:creationId xmlns:a16="http://schemas.microsoft.com/office/drawing/2014/main" id="{65AD7A62-D7DC-4090-BACD-38307E3301E5}"/>
              </a:ext>
            </a:extLst>
          </p:cNvPr>
          <p:cNvSpPr txBox="1"/>
          <p:nvPr/>
        </p:nvSpPr>
        <p:spPr>
          <a:xfrm>
            <a:off x="8425546" y="6109251"/>
            <a:ext cx="3445011" cy="276959"/>
          </a:xfrm>
          <a:prstGeom prst="rect">
            <a:avLst/>
          </a:prstGeom>
          <a:noFill/>
          <a:ln>
            <a:noFill/>
          </a:ln>
        </p:spPr>
        <p:txBody>
          <a:bodyPr spcFirstLastPara="1" wrap="square" lIns="91425" tIns="45700" rIns="91425" bIns="45700" anchor="t" anchorCtr="0">
            <a:spAutoFit/>
          </a:bodyPr>
          <a:lstStyle/>
          <a:p>
            <a:pPr lvl="1" algn="r">
              <a:buSzPts val="1400"/>
            </a:pPr>
            <a:r>
              <a:rPr lang="en-US" sz="1200">
                <a:latin typeface="Source Sans Pro"/>
                <a:ea typeface="Source Sans Pro"/>
              </a:rPr>
              <a:t>Link </a:t>
            </a:r>
            <a:endParaRPr lang="en-US" sz="1200" b="0" i="0" strike="noStrike" cap="none">
              <a:solidFill>
                <a:srgbClr val="000000"/>
              </a:solidFill>
              <a:latin typeface="Source Sans Pro"/>
              <a:ea typeface="Source Sans Pro"/>
              <a:sym typeface="Arial"/>
            </a:endParaRPr>
          </a:p>
        </p:txBody>
      </p:sp>
    </p:spTree>
    <p:extLst>
      <p:ext uri="{BB962C8B-B14F-4D97-AF65-F5344CB8AC3E}">
        <p14:creationId xmlns:p14="http://schemas.microsoft.com/office/powerpoint/2010/main" val="271934225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Shape 571"/>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710A9AC-54F5-49DC-A7BD-C965E66336EB}"/>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61" name="think-cell Slide" r:id="rId5" imgW="395" imgH="396" progId="TCLayout.ActiveDocument.1">
                  <p:embed/>
                </p:oleObj>
              </mc:Choice>
              <mc:Fallback>
                <p:oleObj name="think-cell Slide" r:id="rId5" imgW="395" imgH="396" progId="TCLayout.ActiveDocument.1">
                  <p:embed/>
                  <p:pic>
                    <p:nvPicPr>
                      <p:cNvPr id="5" name="Object 4" hidden="1">
                        <a:extLst>
                          <a:ext uri="{FF2B5EF4-FFF2-40B4-BE49-F238E27FC236}">
                            <a16:creationId xmlns:a16="http://schemas.microsoft.com/office/drawing/2014/main" id="{3710A9AC-54F5-49DC-A7BD-C965E66336E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72" name="Google Shape;572;p12"/>
          <p:cNvSpPr txBox="1">
            <a:spLocks noGrp="1"/>
          </p:cNvSpPr>
          <p:nvPr>
            <p:ph type="title"/>
          </p:nvPr>
        </p:nvSpPr>
        <p:spPr>
          <a:xfrm>
            <a:off x="416755" y="750806"/>
            <a:ext cx="8979355" cy="1012585"/>
          </a:xfrm>
          <a:prstGeom prst="rect">
            <a:avLst/>
          </a:prstGeom>
          <a:noFill/>
          <a:ln>
            <a:noFill/>
          </a:ln>
        </p:spPr>
        <p:txBody>
          <a:bodyPr spcFirstLastPara="1" wrap="square" lIns="0" tIns="0" rIns="0" bIns="0" anchor="t" anchorCtr="0">
            <a:noAutofit/>
          </a:bodyPr>
          <a:lstStyle/>
          <a:p>
            <a:r>
              <a:rPr lang="en-US" sz="2800"/>
              <a:t>Lorem</a:t>
            </a:r>
            <a:endParaRPr sz="3200"/>
          </a:p>
        </p:txBody>
      </p:sp>
      <p:sp>
        <p:nvSpPr>
          <p:cNvPr id="573" name="Google Shape;573;p12"/>
          <p:cNvSpPr txBox="1"/>
          <p:nvPr/>
        </p:nvSpPr>
        <p:spPr>
          <a:xfrm>
            <a:off x="11474969" y="6356350"/>
            <a:ext cx="406052" cy="365125"/>
          </a:xfrm>
          <a:prstGeom prst="rect">
            <a:avLst/>
          </a:prstGeom>
          <a:noFill/>
          <a:ln>
            <a:noFill/>
          </a:ln>
        </p:spPr>
        <p:txBody>
          <a:bodyPr spcFirstLastPara="1" wrap="square" lIns="91425" tIns="45700" rIns="91425" bIns="45700" anchor="ctr" anchorCtr="0">
            <a:noAutofit/>
          </a:bodyPr>
          <a:lstStyle/>
          <a:p>
            <a:pPr marL="0" marR="0" lvl="0" indent="0" algn="r" rtl="0">
              <a:lnSpc>
                <a:spcPct val="100000"/>
              </a:lnSpc>
              <a:spcBef>
                <a:spcPts val="0"/>
              </a:spcBef>
              <a:spcAft>
                <a:spcPts val="0"/>
              </a:spcAft>
              <a:buClr>
                <a:srgbClr val="8A8A8A"/>
              </a:buClr>
              <a:buSzPts val="1200"/>
              <a:buFont typeface="Arial"/>
              <a:buNone/>
            </a:pPr>
            <a:fld id="{00000000-1234-1234-1234-123412341234}" type="slidenum">
              <a:rPr lang="en-US" sz="1200" b="0" i="0" u="none" strike="noStrike" cap="none">
                <a:solidFill>
                  <a:srgbClr val="8A8A8A"/>
                </a:solidFill>
                <a:latin typeface="Source Sans Pro"/>
                <a:ea typeface="Source Sans Pro"/>
                <a:cs typeface="Source Sans Pro"/>
                <a:sym typeface="Source Sans Pro"/>
              </a:rPr>
              <a:t>35</a:t>
            </a:fld>
            <a:endParaRPr sz="1200" b="0" i="0" u="none" strike="noStrike" cap="none">
              <a:solidFill>
                <a:srgbClr val="8A8A8A"/>
              </a:solidFill>
              <a:latin typeface="Source Sans Pro"/>
              <a:ea typeface="Source Sans Pro"/>
              <a:cs typeface="Source Sans Pro"/>
              <a:sym typeface="Source Sans Pro"/>
            </a:endParaRPr>
          </a:p>
        </p:txBody>
      </p:sp>
      <p:sp>
        <p:nvSpPr>
          <p:cNvPr id="579" name="Google Shape;579;p12"/>
          <p:cNvSpPr txBox="1"/>
          <p:nvPr/>
        </p:nvSpPr>
        <p:spPr>
          <a:xfrm>
            <a:off x="438912" y="1709928"/>
            <a:ext cx="11353800" cy="495520"/>
          </a:xfrm>
          <a:prstGeom prst="rect">
            <a:avLst/>
          </a:prstGeom>
          <a:noFill/>
          <a:ln>
            <a:noFill/>
          </a:ln>
        </p:spPr>
        <p:txBody>
          <a:bodyPr spcFirstLastPara="1" wrap="square" lIns="0" tIns="0" rIns="0" bIns="0" anchor="t" anchorCtr="0">
            <a:spAutoFit/>
          </a:bodyPr>
          <a:lstStyle/>
          <a:p>
            <a:pPr>
              <a:lnSpc>
                <a:spcPct val="115000"/>
              </a:lnSpc>
              <a:buClr>
                <a:schemeClr val="dk2"/>
              </a:buClr>
              <a:buSzPts val="1400"/>
            </a:pPr>
            <a:r>
              <a:rPr lang="en-US" b="0" i="0" strike="noStrike" cap="none">
                <a:solidFill>
                  <a:schemeClr val="tx1"/>
                </a:solidFill>
                <a:latin typeface="PT Serif"/>
                <a:ea typeface="PT Serif"/>
                <a:cs typeface="PT Serif"/>
                <a:sym typeface="PT Serif"/>
              </a:rPr>
              <a:t>User Story: </a:t>
            </a:r>
            <a:r>
              <a:rPr lang="en-US" b="0" i="0" strike="noStrike" cap="none">
                <a:solidFill>
                  <a:srgbClr val="8F8F8F"/>
                </a:solidFill>
                <a:latin typeface="PT Serif"/>
                <a:ea typeface="PT Serif"/>
                <a:cs typeface="PT Serif"/>
                <a:sym typeface="PT Serif"/>
              </a:rPr>
              <a:t>Lorem</a:t>
            </a:r>
            <a:endParaRPr lang="en-US">
              <a:solidFill>
                <a:srgbClr val="8F8F8F"/>
              </a:solidFill>
              <a:latin typeface="PT Serif"/>
              <a:ea typeface="PT Serif"/>
              <a:cs typeface="PT Serif"/>
              <a:sym typeface="PT Serif"/>
            </a:endParaRPr>
          </a:p>
          <a:p>
            <a:pPr>
              <a:lnSpc>
                <a:spcPct val="115000"/>
              </a:lnSpc>
              <a:buClr>
                <a:schemeClr val="dk2"/>
              </a:buClr>
              <a:buSzPts val="1400"/>
            </a:pPr>
            <a:r>
              <a:rPr lang="en-US" b="0" i="0" strike="noStrike" cap="none">
                <a:solidFill>
                  <a:schemeClr val="tx1"/>
                </a:solidFill>
                <a:latin typeface="PT Serif"/>
                <a:ea typeface="PT Serif"/>
                <a:cs typeface="PT Serif"/>
                <a:sym typeface="PT Serif"/>
              </a:rPr>
              <a:t>User Story: </a:t>
            </a:r>
            <a:r>
              <a:rPr lang="en-US">
                <a:solidFill>
                  <a:srgbClr val="8F8F8F"/>
                </a:solidFill>
                <a:latin typeface="PT Serif"/>
                <a:ea typeface="PT Serif"/>
                <a:cs typeface="PT Serif"/>
                <a:sym typeface="PT Serif"/>
              </a:rPr>
              <a:t>Lorem</a:t>
            </a:r>
          </a:p>
        </p:txBody>
      </p:sp>
      <p:grpSp>
        <p:nvGrpSpPr>
          <p:cNvPr id="2" name="Google Shape;602;p14">
            <a:extLst>
              <a:ext uri="{FF2B5EF4-FFF2-40B4-BE49-F238E27FC236}">
                <a16:creationId xmlns:a16="http://schemas.microsoft.com/office/drawing/2014/main" id="{E445D490-D726-40C5-B04D-B87A388E9339}"/>
              </a:ext>
            </a:extLst>
          </p:cNvPr>
          <p:cNvGrpSpPr/>
          <p:nvPr/>
        </p:nvGrpSpPr>
        <p:grpSpPr>
          <a:xfrm>
            <a:off x="410431" y="309109"/>
            <a:ext cx="5150524" cy="369094"/>
            <a:chOff x="410431" y="309109"/>
            <a:chExt cx="5150524" cy="369094"/>
          </a:xfrm>
        </p:grpSpPr>
        <p:sp>
          <p:nvSpPr>
            <p:cNvPr id="13" name="Google Shape;603;p14">
              <a:extLst>
                <a:ext uri="{FF2B5EF4-FFF2-40B4-BE49-F238E27FC236}">
                  <a16:creationId xmlns:a16="http://schemas.microsoft.com/office/drawing/2014/main" id="{8589A355-6709-46C4-9E8D-20EBC64C96B2}"/>
                </a:ext>
              </a:extLst>
            </p:cNvPr>
            <p:cNvSpPr/>
            <p:nvPr/>
          </p:nvSpPr>
          <p:spPr>
            <a:xfrm>
              <a:off x="410431" y="313703"/>
              <a:ext cx="255129" cy="263129"/>
            </a:xfrm>
            <a:prstGeom prst="ellipse">
              <a:avLst/>
            </a:prstGeom>
            <a:solidFill>
              <a:srgbClr val="014479"/>
            </a:solidFill>
            <a:ln>
              <a:noFill/>
            </a:ln>
          </p:spPr>
          <p:txBody>
            <a:bodyPr spcFirstLastPara="1" wrap="square" lIns="0" tIns="0" rIns="0" bIns="0" anchor="ctr" anchorCtr="1">
              <a:noAutofit/>
            </a:bodyPr>
            <a:lstStyle/>
            <a:p>
              <a:pPr marL="0" marR="0" lvl="0" indent="0" algn="ctr" rtl="0">
                <a:lnSpc>
                  <a:spcPct val="100000"/>
                </a:lnSpc>
                <a:spcBef>
                  <a:spcPts val="0"/>
                </a:spcBef>
                <a:spcAft>
                  <a:spcPts val="0"/>
                </a:spcAft>
                <a:buClr>
                  <a:srgbClr val="FFFFFF"/>
                </a:buClr>
                <a:buSzPts val="3600"/>
                <a:buFont typeface="PT Serif"/>
                <a:buNone/>
              </a:pPr>
              <a:r>
                <a:rPr lang="en-US" sz="1200">
                  <a:solidFill>
                    <a:srgbClr val="FFFFFF"/>
                  </a:solidFill>
                  <a:latin typeface="PT Serif"/>
                </a:rPr>
                <a:t>3</a:t>
              </a:r>
              <a:endParaRPr lang="en-US" sz="1200" b="0" i="0" u="none" strike="noStrike" cap="none">
                <a:solidFill>
                  <a:srgbClr val="FFFFFF"/>
                </a:solidFill>
                <a:latin typeface="PT Serif"/>
                <a:ea typeface="Arial"/>
                <a:cs typeface="Arial"/>
              </a:endParaRPr>
            </a:p>
          </p:txBody>
        </p:sp>
        <p:sp>
          <p:nvSpPr>
            <p:cNvPr id="14" name="Google Shape;604;p14">
              <a:extLst>
                <a:ext uri="{FF2B5EF4-FFF2-40B4-BE49-F238E27FC236}">
                  <a16:creationId xmlns:a16="http://schemas.microsoft.com/office/drawing/2014/main" id="{8A017AD3-D1D6-485C-A326-F88A08E5D18A}"/>
                </a:ext>
              </a:extLst>
            </p:cNvPr>
            <p:cNvSpPr txBox="1"/>
            <p:nvPr/>
          </p:nvSpPr>
          <p:spPr>
            <a:xfrm>
              <a:off x="736498" y="309109"/>
              <a:ext cx="4824457" cy="369094"/>
            </a:xfrm>
            <a:prstGeom prst="rect">
              <a:avLst/>
            </a:prstGeom>
            <a:noFill/>
            <a:ln>
              <a:noFill/>
            </a:ln>
          </p:spPr>
          <p:txBody>
            <a:bodyPr spcFirstLastPara="1" wrap="square" lIns="0" tIns="45700" rIns="0" bIns="45700" anchor="t" anchorCtr="0">
              <a:normAutofit/>
            </a:bodyPr>
            <a:lstStyle/>
            <a:p>
              <a:pPr marL="0" marR="0" lvl="0" indent="0" algn="l">
                <a:lnSpc>
                  <a:spcPct val="100000"/>
                </a:lnSpc>
                <a:spcBef>
                  <a:spcPts val="0"/>
                </a:spcBef>
                <a:spcAft>
                  <a:spcPts val="0"/>
                </a:spcAft>
                <a:buNone/>
              </a:pPr>
              <a:r>
                <a:rPr lang="en-US">
                  <a:solidFill>
                    <a:srgbClr val="0071BF"/>
                  </a:solidFill>
                  <a:latin typeface="Source Sans Pro"/>
                  <a:ea typeface="Source Sans Pro"/>
                  <a:sym typeface="Source Sans Pro"/>
                </a:rPr>
                <a:t>PRODUCT</a:t>
              </a:r>
              <a:endParaRPr lang="en-US"/>
            </a:p>
          </p:txBody>
        </p:sp>
      </p:grpSp>
      <p:sp>
        <p:nvSpPr>
          <p:cNvPr id="3" name="Google Shape;470;p9">
            <a:extLst>
              <a:ext uri="{FF2B5EF4-FFF2-40B4-BE49-F238E27FC236}">
                <a16:creationId xmlns:a16="http://schemas.microsoft.com/office/drawing/2014/main" id="{70028C8A-C6FA-4CD2-92DD-340A37231D5E}"/>
              </a:ext>
            </a:extLst>
          </p:cNvPr>
          <p:cNvSpPr txBox="1"/>
          <p:nvPr/>
        </p:nvSpPr>
        <p:spPr>
          <a:xfrm>
            <a:off x="10862275" y="6408650"/>
            <a:ext cx="778550" cy="276959"/>
          </a:xfrm>
          <a:prstGeom prst="rect">
            <a:avLst/>
          </a:prstGeom>
          <a:noFill/>
          <a:ln>
            <a:noFill/>
          </a:ln>
        </p:spPr>
        <p:txBody>
          <a:bodyPr spcFirstLastPara="1" wrap="square" lIns="91425" tIns="45700" rIns="91425" bIns="45700" anchor="t" anchorCtr="0">
            <a:spAutoFit/>
          </a:bodyPr>
          <a:lstStyle/>
          <a:p>
            <a:pPr marL="0" marR="0" lvl="0" indent="0" algn="r">
              <a:spcBef>
                <a:spcPts val="0"/>
              </a:spcBef>
              <a:spcAft>
                <a:spcPts val="0"/>
              </a:spcAft>
              <a:buNone/>
            </a:pPr>
            <a:r>
              <a:rPr lang="en-US" sz="1200">
                <a:solidFill>
                  <a:srgbClr val="747C74"/>
                </a:solidFill>
                <a:latin typeface="Source Sans Pro"/>
                <a:ea typeface="Source Sans Pro"/>
                <a:cs typeface="Calibri"/>
                <a:sym typeface="Source Sans Pro"/>
              </a:rPr>
              <a:t>Product</a:t>
            </a:r>
            <a:endParaRPr lang="en-US"/>
          </a:p>
        </p:txBody>
      </p:sp>
      <p:sp>
        <p:nvSpPr>
          <p:cNvPr id="7" name="Google Shape;337;p6">
            <a:extLst>
              <a:ext uri="{FF2B5EF4-FFF2-40B4-BE49-F238E27FC236}">
                <a16:creationId xmlns:a16="http://schemas.microsoft.com/office/drawing/2014/main" id="{C840A1AA-DEE9-4A69-BC08-B46800497F9A}"/>
              </a:ext>
            </a:extLst>
          </p:cNvPr>
          <p:cNvSpPr txBox="1"/>
          <p:nvPr/>
        </p:nvSpPr>
        <p:spPr>
          <a:xfrm>
            <a:off x="419100" y="6408650"/>
            <a:ext cx="2723465" cy="276999"/>
          </a:xfrm>
          <a:prstGeom prst="rect">
            <a:avLst/>
          </a:prstGeom>
          <a:noFill/>
          <a:ln>
            <a:noFill/>
          </a:ln>
        </p:spPr>
        <p:txBody>
          <a:bodyPr spcFirstLastPara="1" wrap="square" lIns="0" tIns="45700" rIns="91425" bIns="45700" anchor="t" anchorCtr="0">
            <a:spAutoFit/>
          </a:bodyPr>
          <a:lstStyle/>
          <a:p>
            <a:pPr marL="0" marR="0" lvl="0" indent="0" algn="l" rtl="0">
              <a:spcBef>
                <a:spcPts val="0"/>
              </a:spcBef>
              <a:spcAft>
                <a:spcPts val="0"/>
              </a:spcAft>
              <a:buNone/>
            </a:pPr>
            <a:r>
              <a:rPr lang="en-US" sz="1200" b="0" i="0" u="none" strike="noStrike" cap="none">
                <a:solidFill>
                  <a:srgbClr val="747C74"/>
                </a:solidFill>
                <a:latin typeface="Source Sans Pro"/>
                <a:ea typeface="Source Sans Pro"/>
                <a:cs typeface="Source Sans Pro"/>
                <a:sym typeface="Source Sans Pro"/>
              </a:rPr>
              <a:t>04-19 Sprint 6 Demo</a:t>
            </a:r>
            <a:endParaRPr sz="1200" b="0" i="0" u="none" strike="noStrike" cap="none">
              <a:solidFill>
                <a:srgbClr val="747C74"/>
              </a:solidFill>
              <a:latin typeface="Calibri"/>
              <a:ea typeface="Calibri"/>
              <a:cs typeface="Calibri"/>
              <a:sym typeface="Calibri"/>
            </a:endParaRPr>
          </a:p>
        </p:txBody>
      </p:sp>
      <p:sp>
        <p:nvSpPr>
          <p:cNvPr id="16" name="Google Shape;641;p16">
            <a:extLst>
              <a:ext uri="{FF2B5EF4-FFF2-40B4-BE49-F238E27FC236}">
                <a16:creationId xmlns:a16="http://schemas.microsoft.com/office/drawing/2014/main" id="{65AD7A62-D7DC-4090-BACD-38307E3301E5}"/>
              </a:ext>
            </a:extLst>
          </p:cNvPr>
          <p:cNvSpPr txBox="1"/>
          <p:nvPr/>
        </p:nvSpPr>
        <p:spPr>
          <a:xfrm>
            <a:off x="8425546" y="6109251"/>
            <a:ext cx="3445011" cy="276959"/>
          </a:xfrm>
          <a:prstGeom prst="rect">
            <a:avLst/>
          </a:prstGeom>
          <a:noFill/>
          <a:ln>
            <a:noFill/>
          </a:ln>
        </p:spPr>
        <p:txBody>
          <a:bodyPr spcFirstLastPara="1" wrap="square" lIns="91425" tIns="45700" rIns="91425" bIns="45700" anchor="t" anchorCtr="0">
            <a:spAutoFit/>
          </a:bodyPr>
          <a:lstStyle/>
          <a:p>
            <a:pPr lvl="1" algn="r">
              <a:buSzPts val="1400"/>
            </a:pPr>
            <a:r>
              <a:rPr lang="en-US" sz="1200">
                <a:latin typeface="Source Sans Pro"/>
                <a:ea typeface="Source Sans Pro"/>
              </a:rPr>
              <a:t>Link </a:t>
            </a:r>
            <a:endParaRPr lang="en-US" sz="1200" b="0" i="0" strike="noStrike" cap="none">
              <a:solidFill>
                <a:srgbClr val="000000"/>
              </a:solidFill>
              <a:latin typeface="Source Sans Pro"/>
              <a:ea typeface="Source Sans Pro"/>
              <a:sym typeface="Arial"/>
            </a:endParaRPr>
          </a:p>
        </p:txBody>
      </p:sp>
    </p:spTree>
    <p:extLst>
      <p:ext uri="{BB962C8B-B14F-4D97-AF65-F5344CB8AC3E}">
        <p14:creationId xmlns:p14="http://schemas.microsoft.com/office/powerpoint/2010/main" val="87457334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EF30D916-BF44-FCC1-0C2B-6AE80D374176}"/>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US"/>
              <a:t>36</a:t>
            </a:fld>
            <a:endParaRPr lang="en-US"/>
          </a:p>
        </p:txBody>
      </p:sp>
      <p:grpSp>
        <p:nvGrpSpPr>
          <p:cNvPr id="6" name="Google Shape;602;p14">
            <a:extLst>
              <a:ext uri="{FF2B5EF4-FFF2-40B4-BE49-F238E27FC236}">
                <a16:creationId xmlns:a16="http://schemas.microsoft.com/office/drawing/2014/main" id="{E77083C8-F76C-4F07-B275-7CDA0DAD89E4}"/>
              </a:ext>
            </a:extLst>
          </p:cNvPr>
          <p:cNvGrpSpPr/>
          <p:nvPr/>
        </p:nvGrpSpPr>
        <p:grpSpPr>
          <a:xfrm>
            <a:off x="410431" y="273015"/>
            <a:ext cx="5150524" cy="369094"/>
            <a:chOff x="410431" y="309109"/>
            <a:chExt cx="5150524" cy="369094"/>
          </a:xfrm>
        </p:grpSpPr>
        <p:sp>
          <p:nvSpPr>
            <p:cNvPr id="7" name="Google Shape;603;p14">
              <a:extLst>
                <a:ext uri="{FF2B5EF4-FFF2-40B4-BE49-F238E27FC236}">
                  <a16:creationId xmlns:a16="http://schemas.microsoft.com/office/drawing/2014/main" id="{8D8EC8C6-E4D1-4DBB-983D-FE47EF3371A4}"/>
                </a:ext>
              </a:extLst>
            </p:cNvPr>
            <p:cNvSpPr/>
            <p:nvPr/>
          </p:nvSpPr>
          <p:spPr>
            <a:xfrm>
              <a:off x="410431" y="313703"/>
              <a:ext cx="255129" cy="263129"/>
            </a:xfrm>
            <a:prstGeom prst="ellipse">
              <a:avLst/>
            </a:prstGeom>
            <a:solidFill>
              <a:srgbClr val="014479"/>
            </a:solidFill>
            <a:ln>
              <a:noFill/>
            </a:ln>
          </p:spPr>
          <p:txBody>
            <a:bodyPr spcFirstLastPara="1" wrap="square" lIns="0" tIns="0" rIns="0" bIns="0" anchor="ctr" anchorCtr="1">
              <a:noAutofit/>
            </a:bodyPr>
            <a:lstStyle/>
            <a:p>
              <a:pPr marL="0" marR="0" lvl="0" indent="0" algn="ctr" rtl="0">
                <a:lnSpc>
                  <a:spcPct val="100000"/>
                </a:lnSpc>
                <a:spcBef>
                  <a:spcPts val="0"/>
                </a:spcBef>
                <a:spcAft>
                  <a:spcPts val="0"/>
                </a:spcAft>
                <a:buClr>
                  <a:srgbClr val="FFFFFF"/>
                </a:buClr>
                <a:buSzPts val="3600"/>
                <a:buFont typeface="PT Serif"/>
                <a:buNone/>
              </a:pPr>
              <a:r>
                <a:rPr lang="en-US" sz="1200">
                  <a:solidFill>
                    <a:srgbClr val="FFFFFF"/>
                  </a:solidFill>
                  <a:latin typeface="PT Serif"/>
                  <a:sym typeface="PT Serif"/>
                </a:rPr>
                <a:t>1</a:t>
              </a:r>
              <a:endParaRPr sz="1200" b="0" i="0" u="none" strike="noStrike" cap="none">
                <a:solidFill>
                  <a:srgbClr val="000000"/>
                </a:solidFill>
                <a:latin typeface="Arial"/>
                <a:ea typeface="Arial"/>
                <a:cs typeface="Arial"/>
                <a:sym typeface="Arial"/>
              </a:endParaRPr>
            </a:p>
          </p:txBody>
        </p:sp>
        <p:sp>
          <p:nvSpPr>
            <p:cNvPr id="8" name="Google Shape;604;p14">
              <a:extLst>
                <a:ext uri="{FF2B5EF4-FFF2-40B4-BE49-F238E27FC236}">
                  <a16:creationId xmlns:a16="http://schemas.microsoft.com/office/drawing/2014/main" id="{0C428FE0-CEA6-4B06-818A-B15A33773397}"/>
                </a:ext>
              </a:extLst>
            </p:cNvPr>
            <p:cNvSpPr txBox="1"/>
            <p:nvPr/>
          </p:nvSpPr>
          <p:spPr>
            <a:xfrm>
              <a:off x="736498" y="309109"/>
              <a:ext cx="4824457" cy="369094"/>
            </a:xfrm>
            <a:prstGeom prst="rect">
              <a:avLst/>
            </a:prstGeom>
            <a:noFill/>
            <a:ln>
              <a:noFill/>
            </a:ln>
          </p:spPr>
          <p:txBody>
            <a:bodyPr spcFirstLastPara="1" wrap="square" lIns="0" tIns="45700" rIns="0" bIns="45700" anchor="t" anchorCtr="0">
              <a:normAutofit/>
            </a:bodyPr>
            <a:lstStyle/>
            <a:p>
              <a:pPr marL="0" marR="0" lvl="0" indent="0" algn="l" rtl="0">
                <a:lnSpc>
                  <a:spcPct val="100000"/>
                </a:lnSpc>
                <a:spcBef>
                  <a:spcPts val="0"/>
                </a:spcBef>
                <a:spcAft>
                  <a:spcPts val="0"/>
                </a:spcAft>
                <a:buClr>
                  <a:srgbClr val="000000"/>
                </a:buClr>
                <a:buSzPts val="1400"/>
                <a:buFont typeface="Arial"/>
                <a:buNone/>
              </a:pPr>
              <a:r>
                <a:rPr lang="en-US" sz="1400" b="0" i="0" u="none" strike="noStrike" cap="none">
                  <a:solidFill>
                    <a:srgbClr val="0071BF"/>
                  </a:solidFill>
                  <a:latin typeface="Source Sans Pro"/>
                  <a:ea typeface="Source Sans Pro"/>
                  <a:cs typeface="Source Sans Pro"/>
                  <a:sym typeface="Source Sans Pro"/>
                </a:rPr>
                <a:t>DESIGN</a:t>
              </a:r>
              <a:endParaRPr sz="1400" b="0" i="0" u="none" strike="noStrike" cap="none">
                <a:solidFill>
                  <a:srgbClr val="000000"/>
                </a:solidFill>
                <a:latin typeface="Arial"/>
                <a:ea typeface="Arial"/>
                <a:cs typeface="Arial"/>
                <a:sym typeface="Arial"/>
              </a:endParaRPr>
            </a:p>
          </p:txBody>
        </p:sp>
      </p:grpSp>
      <p:sp>
        <p:nvSpPr>
          <p:cNvPr id="10" name="Google Shape;337;p6">
            <a:extLst>
              <a:ext uri="{FF2B5EF4-FFF2-40B4-BE49-F238E27FC236}">
                <a16:creationId xmlns:a16="http://schemas.microsoft.com/office/drawing/2014/main" id="{1F441183-42F9-8DED-0F26-2ADE8FD64C41}"/>
              </a:ext>
            </a:extLst>
          </p:cNvPr>
          <p:cNvSpPr txBox="1"/>
          <p:nvPr/>
        </p:nvSpPr>
        <p:spPr>
          <a:xfrm>
            <a:off x="419100" y="6408650"/>
            <a:ext cx="2723465" cy="276999"/>
          </a:xfrm>
          <a:prstGeom prst="rect">
            <a:avLst/>
          </a:prstGeom>
          <a:noFill/>
          <a:ln>
            <a:noFill/>
          </a:ln>
        </p:spPr>
        <p:txBody>
          <a:bodyPr spcFirstLastPara="1" wrap="square" lIns="0" tIns="45700" rIns="91425" bIns="45700" anchor="t" anchorCtr="0">
            <a:spAutoFit/>
          </a:bodyPr>
          <a:lstStyle/>
          <a:p>
            <a:pPr marL="0" marR="0" lvl="0" indent="0" algn="l" rtl="0">
              <a:spcBef>
                <a:spcPts val="0"/>
              </a:spcBef>
              <a:spcAft>
                <a:spcPts val="0"/>
              </a:spcAft>
              <a:buNone/>
            </a:pPr>
            <a:r>
              <a:rPr lang="en-US" sz="1200" b="0" i="0" u="none" strike="noStrike" cap="none">
                <a:solidFill>
                  <a:srgbClr val="747C74"/>
                </a:solidFill>
                <a:latin typeface="Source Sans Pro"/>
                <a:ea typeface="Source Sans Pro"/>
                <a:cs typeface="Source Sans Pro"/>
                <a:sym typeface="Source Sans Pro"/>
              </a:rPr>
              <a:t>04-19 Sprint 6 Demo</a:t>
            </a:r>
            <a:endParaRPr sz="1200" b="0" i="0" u="none" strike="noStrike" cap="none">
              <a:solidFill>
                <a:srgbClr val="747C74"/>
              </a:solidFill>
              <a:latin typeface="Calibri"/>
              <a:ea typeface="Calibri"/>
              <a:cs typeface="Calibri"/>
              <a:sym typeface="Calibri"/>
            </a:endParaRPr>
          </a:p>
        </p:txBody>
      </p:sp>
      <p:sp>
        <p:nvSpPr>
          <p:cNvPr id="20" name="Google Shape;264;p4">
            <a:extLst>
              <a:ext uri="{FF2B5EF4-FFF2-40B4-BE49-F238E27FC236}">
                <a16:creationId xmlns:a16="http://schemas.microsoft.com/office/drawing/2014/main" id="{A58EAE1F-F0F4-469B-9399-E85D31E11982}"/>
              </a:ext>
            </a:extLst>
          </p:cNvPr>
          <p:cNvSpPr txBox="1"/>
          <p:nvPr/>
        </p:nvSpPr>
        <p:spPr>
          <a:xfrm>
            <a:off x="8917360" y="6408650"/>
            <a:ext cx="2723465" cy="276999"/>
          </a:xfrm>
          <a:prstGeom prst="rect">
            <a:avLst/>
          </a:prstGeom>
          <a:noFill/>
          <a:ln>
            <a:noFill/>
          </a:ln>
        </p:spPr>
        <p:txBody>
          <a:bodyPr spcFirstLastPara="1" wrap="square" lIns="91425" tIns="45700" rIns="91425" bIns="45700" anchor="t" anchorCtr="0">
            <a:spAutoFit/>
          </a:bodyPr>
          <a:lstStyle/>
          <a:p>
            <a:pPr algn="r"/>
            <a:r>
              <a:rPr lang="en-US" sz="1200">
                <a:solidFill>
                  <a:srgbClr val="747C74"/>
                </a:solidFill>
                <a:latin typeface="Source Sans Pro"/>
                <a:ea typeface="Source Sans Pro"/>
                <a:sym typeface="Source Sans Pro"/>
              </a:rPr>
              <a:t>Community Care</a:t>
            </a:r>
            <a:endParaRPr lang="en-US"/>
          </a:p>
        </p:txBody>
      </p:sp>
      <p:sp>
        <p:nvSpPr>
          <p:cNvPr id="14" name="Google Shape;605;p14">
            <a:extLst>
              <a:ext uri="{FF2B5EF4-FFF2-40B4-BE49-F238E27FC236}">
                <a16:creationId xmlns:a16="http://schemas.microsoft.com/office/drawing/2014/main" id="{00E09E9C-85D0-457B-93B2-D03B3C829190}"/>
              </a:ext>
            </a:extLst>
          </p:cNvPr>
          <p:cNvSpPr txBox="1"/>
          <p:nvPr/>
        </p:nvSpPr>
        <p:spPr>
          <a:xfrm>
            <a:off x="414195" y="1926807"/>
            <a:ext cx="5248996" cy="495520"/>
          </a:xfrm>
          <a:prstGeom prst="rect">
            <a:avLst/>
          </a:prstGeom>
          <a:noFill/>
          <a:ln>
            <a:noFill/>
          </a:ln>
        </p:spPr>
        <p:txBody>
          <a:bodyPr spcFirstLastPara="1" wrap="square" lIns="0" tIns="0" rIns="0" bIns="0" anchor="t" anchorCtr="0">
            <a:spAutoFit/>
          </a:bodyPr>
          <a:lstStyle/>
          <a:p>
            <a:pPr>
              <a:lnSpc>
                <a:spcPct val="115000"/>
              </a:lnSpc>
              <a:buSzPts val="1400"/>
            </a:pPr>
            <a:r>
              <a:rPr lang="en-US" b="0" i="0" strike="noStrike" cap="none">
                <a:solidFill>
                  <a:schemeClr val="tx1"/>
                </a:solidFill>
                <a:latin typeface="PT Serif"/>
                <a:ea typeface="PT Serif"/>
                <a:cs typeface="PT Serif"/>
                <a:sym typeface="PT Serif"/>
              </a:rPr>
              <a:t>User Story: </a:t>
            </a:r>
            <a:r>
              <a:rPr lang="en-US" b="0" i="0" strike="noStrike" cap="none">
                <a:solidFill>
                  <a:schemeClr val="tx1">
                    <a:lumMod val="50000"/>
                    <a:lumOff val="50000"/>
                  </a:schemeClr>
                </a:solidFill>
                <a:latin typeface="PT Serif"/>
                <a:ea typeface="PT Serif"/>
                <a:cs typeface="PT Serif"/>
                <a:sym typeface="PT Serif"/>
              </a:rPr>
              <a:t>Lorem</a:t>
            </a:r>
          </a:p>
          <a:p>
            <a:pPr>
              <a:lnSpc>
                <a:spcPct val="115000"/>
              </a:lnSpc>
              <a:buSzPts val="1400"/>
            </a:pPr>
            <a:r>
              <a:rPr lang="en-US" b="0" i="0" strike="noStrike" cap="none">
                <a:solidFill>
                  <a:schemeClr val="tx1"/>
                </a:solidFill>
                <a:latin typeface="PT Serif"/>
                <a:ea typeface="PT Serif"/>
                <a:cs typeface="PT Serif"/>
                <a:sym typeface="PT Serif"/>
              </a:rPr>
              <a:t>User Story: </a:t>
            </a:r>
            <a:r>
              <a:rPr lang="en-US" b="0" i="0" strike="noStrike" cap="none">
                <a:solidFill>
                  <a:schemeClr val="tx1">
                    <a:lumMod val="50000"/>
                    <a:lumOff val="50000"/>
                  </a:schemeClr>
                </a:solidFill>
                <a:latin typeface="PT Serif"/>
                <a:ea typeface="PT Serif"/>
                <a:cs typeface="PT Serif"/>
                <a:sym typeface="PT Serif"/>
              </a:rPr>
              <a:t>Lorem</a:t>
            </a:r>
            <a:endParaRPr lang="en-US">
              <a:solidFill>
                <a:schemeClr val="tx1">
                  <a:lumMod val="50000"/>
                  <a:lumOff val="50000"/>
                </a:schemeClr>
              </a:solidFill>
            </a:endParaRPr>
          </a:p>
        </p:txBody>
      </p:sp>
      <p:sp>
        <p:nvSpPr>
          <p:cNvPr id="18" name="Text Placeholder 2">
            <a:extLst>
              <a:ext uri="{FF2B5EF4-FFF2-40B4-BE49-F238E27FC236}">
                <a16:creationId xmlns:a16="http://schemas.microsoft.com/office/drawing/2014/main" id="{4535289F-971B-4B7A-B900-C2E41FDD93BD}"/>
              </a:ext>
            </a:extLst>
          </p:cNvPr>
          <p:cNvSpPr>
            <a:spLocks noGrp="1"/>
          </p:cNvSpPr>
          <p:nvPr>
            <p:ph type="body" idx="1"/>
          </p:nvPr>
        </p:nvSpPr>
        <p:spPr>
          <a:xfrm>
            <a:off x="321244" y="2646947"/>
            <a:ext cx="10791593" cy="3493564"/>
          </a:xfrm>
        </p:spPr>
        <p:txBody>
          <a:bodyPr>
            <a:normAutofit/>
          </a:bodyPr>
          <a:lstStyle/>
          <a:p>
            <a:pPr marL="139700" indent="0">
              <a:buNone/>
            </a:pPr>
            <a:r>
              <a:rPr lang="en-US" sz="1200"/>
              <a:t>Lorem</a:t>
            </a:r>
          </a:p>
          <a:p>
            <a:r>
              <a:rPr lang="en-US" sz="1200"/>
              <a:t>Lorem</a:t>
            </a:r>
          </a:p>
          <a:p>
            <a:pPr lvl="1"/>
            <a:r>
              <a:rPr lang="en-US" sz="1200"/>
              <a:t>Lorem</a:t>
            </a:r>
          </a:p>
          <a:p>
            <a:pPr lvl="1"/>
            <a:r>
              <a:rPr lang="en-US" sz="1200"/>
              <a:t>Lorem</a:t>
            </a:r>
          </a:p>
          <a:p>
            <a:r>
              <a:rPr lang="en-US" sz="1200"/>
              <a:t>Lorem</a:t>
            </a:r>
          </a:p>
          <a:p>
            <a:pPr lvl="1">
              <a:buSzPts val="1400"/>
            </a:pPr>
            <a:r>
              <a:rPr lang="en-US" sz="1200"/>
              <a:t>Lorem</a:t>
            </a:r>
            <a:endParaRPr lang="en-US" sz="1200" i="1"/>
          </a:p>
          <a:p>
            <a:pPr lvl="1"/>
            <a:r>
              <a:rPr lang="en-US" sz="1200"/>
              <a:t>Lorem</a:t>
            </a:r>
          </a:p>
          <a:p>
            <a:pPr lvl="1"/>
            <a:r>
              <a:rPr lang="en-US" sz="1200"/>
              <a:t>Lorem</a:t>
            </a:r>
          </a:p>
          <a:p>
            <a:pPr marL="139700" indent="0">
              <a:buNone/>
            </a:pPr>
            <a:r>
              <a:rPr lang="en-US" sz="1200"/>
              <a:t>Lorem</a:t>
            </a:r>
          </a:p>
          <a:p>
            <a:r>
              <a:rPr lang="en-US" sz="1200"/>
              <a:t>Lorem</a:t>
            </a:r>
          </a:p>
          <a:p>
            <a:pPr lvl="1"/>
            <a:r>
              <a:rPr lang="en-US" sz="1200"/>
              <a:t>Lorem</a:t>
            </a:r>
          </a:p>
          <a:p>
            <a:pPr lvl="1"/>
            <a:r>
              <a:rPr lang="en-US" sz="1200"/>
              <a:t>Lorem</a:t>
            </a:r>
          </a:p>
        </p:txBody>
      </p:sp>
      <p:sp>
        <p:nvSpPr>
          <p:cNvPr id="21" name="Title 1">
            <a:extLst>
              <a:ext uri="{FF2B5EF4-FFF2-40B4-BE49-F238E27FC236}">
                <a16:creationId xmlns:a16="http://schemas.microsoft.com/office/drawing/2014/main" id="{48EAB9FF-CE7A-4A15-89A8-BF44229B0A69}"/>
              </a:ext>
            </a:extLst>
          </p:cNvPr>
          <p:cNvSpPr>
            <a:spLocks noGrp="1"/>
          </p:cNvSpPr>
          <p:nvPr>
            <p:ph type="title"/>
          </p:nvPr>
        </p:nvSpPr>
        <p:spPr>
          <a:xfrm>
            <a:off x="320246" y="721837"/>
            <a:ext cx="9041525" cy="746983"/>
          </a:xfrm>
        </p:spPr>
        <p:txBody>
          <a:bodyPr>
            <a:normAutofit/>
          </a:bodyPr>
          <a:lstStyle/>
          <a:p>
            <a:r>
              <a:rPr lang="en-US"/>
              <a:t>Lorem</a:t>
            </a:r>
          </a:p>
        </p:txBody>
      </p:sp>
      <p:sp>
        <p:nvSpPr>
          <p:cNvPr id="22" name="Google Shape;609;p14">
            <a:extLst>
              <a:ext uri="{FF2B5EF4-FFF2-40B4-BE49-F238E27FC236}">
                <a16:creationId xmlns:a16="http://schemas.microsoft.com/office/drawing/2014/main" id="{8F92F833-9C8D-4F2A-9EA4-7A7A9775834B}"/>
              </a:ext>
            </a:extLst>
          </p:cNvPr>
          <p:cNvSpPr txBox="1"/>
          <p:nvPr/>
        </p:nvSpPr>
        <p:spPr>
          <a:xfrm>
            <a:off x="9131193" y="6122168"/>
            <a:ext cx="2743200" cy="276959"/>
          </a:xfrm>
          <a:prstGeom prst="rect">
            <a:avLst/>
          </a:prstGeom>
          <a:noFill/>
          <a:ln>
            <a:noFill/>
          </a:ln>
        </p:spPr>
        <p:txBody>
          <a:bodyPr spcFirstLastPara="1" wrap="square" lIns="91425" tIns="45700" rIns="91425" bIns="45700" anchor="t" anchorCtr="0">
            <a:spAutoFit/>
          </a:bodyPr>
          <a:lstStyle/>
          <a:p>
            <a:pPr marL="0" marR="0" lvl="0" indent="0" algn="r" rtl="0">
              <a:lnSpc>
                <a:spcPct val="100000"/>
              </a:lnSpc>
              <a:spcBef>
                <a:spcPts val="0"/>
              </a:spcBef>
              <a:spcAft>
                <a:spcPts val="0"/>
              </a:spcAft>
              <a:buClr>
                <a:srgbClr val="000000"/>
              </a:buClr>
              <a:buSzPts val="1400"/>
              <a:buFont typeface="Arial"/>
              <a:buNone/>
            </a:pPr>
            <a:r>
              <a:rPr lang="en-US" sz="1200">
                <a:solidFill>
                  <a:srgbClr val="000000"/>
                </a:solidFill>
                <a:latin typeface="Source Sans Pro"/>
                <a:ea typeface="Source Sans Pro"/>
                <a:sym typeface="Arial"/>
              </a:rPr>
              <a:t>Link</a:t>
            </a:r>
            <a:endParaRPr lang="en-US" sz="1200" b="0" i="0" strike="noStrike" cap="none">
              <a:solidFill>
                <a:srgbClr val="000000"/>
              </a:solidFill>
              <a:latin typeface="Source Sans Pro"/>
              <a:ea typeface="Source Sans Pro"/>
              <a:sym typeface="Arial"/>
            </a:endParaRPr>
          </a:p>
        </p:txBody>
      </p:sp>
    </p:spTree>
    <p:extLst>
      <p:ext uri="{BB962C8B-B14F-4D97-AF65-F5344CB8AC3E}">
        <p14:creationId xmlns:p14="http://schemas.microsoft.com/office/powerpoint/2010/main" val="311705084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Shape 261"/>
        <p:cNvGrpSpPr/>
        <p:nvPr/>
      </p:nvGrpSpPr>
      <p:grpSpPr>
        <a:xfrm>
          <a:off x="0" y="0"/>
          <a:ext cx="0" cy="0"/>
          <a:chOff x="0" y="0"/>
          <a:chExt cx="0" cy="0"/>
        </a:xfrm>
      </p:grpSpPr>
      <p:sp>
        <p:nvSpPr>
          <p:cNvPr id="60" name="Google Shape;312;p4">
            <a:extLst>
              <a:ext uri="{FF2B5EF4-FFF2-40B4-BE49-F238E27FC236}">
                <a16:creationId xmlns:a16="http://schemas.microsoft.com/office/drawing/2014/main" id="{95952E1E-7F78-EB4E-C8DB-6C613AD4FCEC}"/>
              </a:ext>
            </a:extLst>
          </p:cNvPr>
          <p:cNvSpPr txBox="1"/>
          <p:nvPr/>
        </p:nvSpPr>
        <p:spPr>
          <a:xfrm>
            <a:off x="7836748" y="5788710"/>
            <a:ext cx="3642541" cy="430847"/>
          </a:xfrm>
          <a:prstGeom prst="rect">
            <a:avLst/>
          </a:prstGeom>
          <a:solidFill>
            <a:schemeClr val="accent6"/>
          </a:solidFill>
          <a:ln>
            <a:noFill/>
          </a:ln>
        </p:spPr>
        <p:txBody>
          <a:bodyPr spcFirstLastPara="1" wrap="square" lIns="121900" tIns="121900" rIns="121900" bIns="121900" anchor="t" anchorCtr="0">
            <a:spAutoFit/>
          </a:bodyPr>
          <a:lstStyle/>
          <a:p>
            <a:r>
              <a:rPr lang="en-US" sz="1200" b="1">
                <a:solidFill>
                  <a:schemeClr val="dk2"/>
                </a:solidFill>
                <a:latin typeface="Source Sans Pro"/>
                <a:ea typeface="Source Sans Pro"/>
                <a:sym typeface="Source Sans Pro"/>
              </a:rPr>
              <a:t>Health Hub</a:t>
            </a:r>
            <a:endParaRPr lang="en-US"/>
          </a:p>
        </p:txBody>
      </p:sp>
      <p:sp>
        <p:nvSpPr>
          <p:cNvPr id="262" name="Google Shape;262;p4"/>
          <p:cNvSpPr txBox="1">
            <a:spLocks noGrp="1"/>
          </p:cNvSpPr>
          <p:nvPr>
            <p:ph type="title"/>
          </p:nvPr>
        </p:nvSpPr>
        <p:spPr>
          <a:xfrm>
            <a:off x="312812" y="373491"/>
            <a:ext cx="11353800" cy="746983"/>
          </a:xfrm>
          <a:prstGeom prst="rect">
            <a:avLst/>
          </a:prstGeom>
          <a:noFill/>
          <a:ln>
            <a:noFill/>
          </a:ln>
        </p:spPr>
        <p:txBody>
          <a:bodyPr spcFirstLastPara="1" wrap="square" lIns="91425" tIns="45700" rIns="91425" bIns="45700" anchor="t" anchorCtr="0">
            <a:normAutofit/>
          </a:bodyPr>
          <a:lstStyle/>
          <a:p>
            <a:pPr marL="0" lvl="0" indent="0" algn="l" rtl="0">
              <a:lnSpc>
                <a:spcPct val="90000"/>
              </a:lnSpc>
              <a:spcBef>
                <a:spcPts val="0"/>
              </a:spcBef>
              <a:spcAft>
                <a:spcPts val="0"/>
              </a:spcAft>
              <a:buClr>
                <a:schemeClr val="dk1"/>
              </a:buClr>
              <a:buSzPts val="3600"/>
              <a:buFont typeface="PT Serif"/>
              <a:buNone/>
            </a:pPr>
            <a:r>
              <a:rPr lang="en-US"/>
              <a:t>Roadmap overview</a:t>
            </a:r>
            <a:endParaRPr/>
          </a:p>
        </p:txBody>
      </p:sp>
      <p:sp>
        <p:nvSpPr>
          <p:cNvPr id="263" name="Google Shape;263;p4"/>
          <p:cNvSpPr txBox="1">
            <a:spLocks noGrp="1"/>
          </p:cNvSpPr>
          <p:nvPr>
            <p:ph type="sldNum" idx="12"/>
          </p:nvPr>
        </p:nvSpPr>
        <p:spPr>
          <a:xfrm>
            <a:off x="11474969" y="6363970"/>
            <a:ext cx="406052" cy="365125"/>
          </a:xfrm>
          <a:prstGeom prst="rect">
            <a:avLst/>
          </a:prstGeom>
          <a:noFill/>
          <a:ln>
            <a:noFill/>
          </a:ln>
        </p:spPr>
        <p:txBody>
          <a:bodyPr spcFirstLastPara="1" wrap="square" lIns="91425" tIns="45700" rIns="91425" bIns="45700" anchor="ctr" anchorCtr="0">
            <a:noAutofit/>
          </a:bodyPr>
          <a:lstStyle/>
          <a:p>
            <a:pPr marL="0" lvl="0" indent="0" algn="r" rtl="0">
              <a:spcBef>
                <a:spcPts val="0"/>
              </a:spcBef>
              <a:spcAft>
                <a:spcPts val="0"/>
              </a:spcAft>
              <a:buNone/>
            </a:pPr>
            <a:fld id="{00000000-1234-1234-1234-123412341234}" type="slidenum">
              <a:rPr lang="en-US">
                <a:latin typeface="Source Sans Pro"/>
                <a:ea typeface="Source Sans Pro"/>
                <a:cs typeface="Source Sans Pro"/>
                <a:sym typeface="Source Sans Pro"/>
              </a:rPr>
              <a:t>4</a:t>
            </a:fld>
            <a:endParaRPr>
              <a:latin typeface="Source Sans Pro"/>
              <a:ea typeface="Source Sans Pro"/>
              <a:cs typeface="Source Sans Pro"/>
              <a:sym typeface="Source Sans Pro"/>
            </a:endParaRPr>
          </a:p>
        </p:txBody>
      </p:sp>
      <p:sp>
        <p:nvSpPr>
          <p:cNvPr id="264" name="Google Shape;264;p4"/>
          <p:cNvSpPr txBox="1"/>
          <p:nvPr/>
        </p:nvSpPr>
        <p:spPr>
          <a:xfrm>
            <a:off x="8917360" y="6408650"/>
            <a:ext cx="2723465" cy="276999"/>
          </a:xfrm>
          <a:prstGeom prst="rect">
            <a:avLst/>
          </a:prstGeom>
          <a:noFill/>
          <a:ln>
            <a:noFill/>
          </a:ln>
        </p:spPr>
        <p:txBody>
          <a:bodyPr spcFirstLastPara="1" wrap="square" lIns="91425" tIns="45700" rIns="91425" bIns="45700" anchor="t" anchorCtr="0">
            <a:spAutoFit/>
          </a:bodyPr>
          <a:lstStyle/>
          <a:p>
            <a:pPr marL="0" marR="0" lvl="0" indent="0" algn="r" rtl="0">
              <a:spcBef>
                <a:spcPts val="0"/>
              </a:spcBef>
              <a:spcAft>
                <a:spcPts val="0"/>
              </a:spcAft>
              <a:buClr>
                <a:srgbClr val="747C74"/>
              </a:buClr>
              <a:buSzPts val="1200"/>
              <a:buFont typeface="Source Sans Pro"/>
              <a:buNone/>
            </a:pPr>
            <a:r>
              <a:rPr lang="en-US" sz="1200" b="0" i="0" u="none" strike="noStrike" cap="none">
                <a:solidFill>
                  <a:srgbClr val="747C74"/>
                </a:solidFill>
                <a:latin typeface="Source Sans Pro"/>
                <a:ea typeface="Source Sans Pro"/>
                <a:cs typeface="Source Sans Pro"/>
                <a:sym typeface="Source Sans Pro"/>
              </a:rPr>
              <a:t>Introduction</a:t>
            </a:r>
            <a:endParaRPr sz="1800" b="0" i="0" u="none" strike="noStrike" cap="none">
              <a:solidFill>
                <a:schemeClr val="dk1"/>
              </a:solidFill>
              <a:latin typeface="Calibri"/>
              <a:ea typeface="Calibri"/>
              <a:cs typeface="Calibri"/>
              <a:sym typeface="Calibri"/>
            </a:endParaRPr>
          </a:p>
        </p:txBody>
      </p:sp>
      <p:sp>
        <p:nvSpPr>
          <p:cNvPr id="265" name="Google Shape;265;p4"/>
          <p:cNvSpPr txBox="1"/>
          <p:nvPr/>
        </p:nvSpPr>
        <p:spPr>
          <a:xfrm>
            <a:off x="419100" y="6408650"/>
            <a:ext cx="2723465" cy="276999"/>
          </a:xfrm>
          <a:prstGeom prst="rect">
            <a:avLst/>
          </a:prstGeom>
          <a:noFill/>
          <a:ln>
            <a:noFill/>
          </a:ln>
        </p:spPr>
        <p:txBody>
          <a:bodyPr spcFirstLastPara="1" wrap="square" lIns="0" tIns="45700" rIns="91425" bIns="45700" anchor="t" anchorCtr="0">
            <a:spAutoFit/>
          </a:bodyPr>
          <a:lstStyle/>
          <a:p>
            <a:pPr marL="0" marR="0" lvl="0" indent="0" algn="l" rtl="0">
              <a:spcBef>
                <a:spcPts val="0"/>
              </a:spcBef>
              <a:spcAft>
                <a:spcPts val="0"/>
              </a:spcAft>
              <a:buNone/>
            </a:pPr>
            <a:r>
              <a:rPr lang="en-US" sz="1200" b="0" i="0" u="none" strike="noStrike" cap="none">
                <a:solidFill>
                  <a:srgbClr val="747C74"/>
                </a:solidFill>
                <a:latin typeface="Source Sans Pro"/>
                <a:ea typeface="Source Sans Pro"/>
                <a:cs typeface="Source Sans Pro"/>
                <a:sym typeface="Source Sans Pro"/>
              </a:rPr>
              <a:t>04-19 Sprint 6 Demo</a:t>
            </a:r>
            <a:endParaRPr sz="1800" b="0" i="0" u="none" strike="noStrike" cap="none">
              <a:solidFill>
                <a:srgbClr val="747C74"/>
              </a:solidFill>
              <a:latin typeface="Calibri"/>
              <a:ea typeface="Calibri"/>
              <a:cs typeface="Calibri"/>
              <a:sym typeface="Calibri"/>
            </a:endParaRPr>
          </a:p>
        </p:txBody>
      </p:sp>
      <p:cxnSp>
        <p:nvCxnSpPr>
          <p:cNvPr id="266" name="Google Shape;266;p4"/>
          <p:cNvCxnSpPr/>
          <p:nvPr/>
        </p:nvCxnSpPr>
        <p:spPr>
          <a:xfrm>
            <a:off x="1360982" y="2495550"/>
            <a:ext cx="3581400" cy="7257"/>
          </a:xfrm>
          <a:prstGeom prst="straightConnector1">
            <a:avLst/>
          </a:prstGeom>
          <a:noFill/>
          <a:ln w="9525" cap="flat" cmpd="sng">
            <a:solidFill>
              <a:srgbClr val="232B34"/>
            </a:solidFill>
            <a:prstDash val="solid"/>
            <a:round/>
            <a:headEnd type="none" w="sm" len="sm"/>
            <a:tailEnd type="none" w="sm" len="sm"/>
          </a:ln>
        </p:spPr>
      </p:cxnSp>
      <p:cxnSp>
        <p:nvCxnSpPr>
          <p:cNvPr id="267" name="Google Shape;267;p4"/>
          <p:cNvCxnSpPr/>
          <p:nvPr/>
        </p:nvCxnSpPr>
        <p:spPr>
          <a:xfrm>
            <a:off x="4991368" y="2495550"/>
            <a:ext cx="6775450" cy="6350"/>
          </a:xfrm>
          <a:prstGeom prst="straightConnector1">
            <a:avLst/>
          </a:prstGeom>
          <a:noFill/>
          <a:ln w="9525" cap="flat" cmpd="sng">
            <a:solidFill>
              <a:srgbClr val="232B34"/>
            </a:solidFill>
            <a:prstDash val="solid"/>
            <a:round/>
            <a:headEnd type="none" w="sm" len="sm"/>
            <a:tailEnd type="none" w="sm" len="sm"/>
          </a:ln>
        </p:spPr>
      </p:cxnSp>
      <p:sp>
        <p:nvSpPr>
          <p:cNvPr id="268" name="Google Shape;268;p4"/>
          <p:cNvSpPr txBox="1"/>
          <p:nvPr/>
        </p:nvSpPr>
        <p:spPr>
          <a:xfrm>
            <a:off x="1364903" y="2838067"/>
            <a:ext cx="357592" cy="233842"/>
          </a:xfrm>
          <a:prstGeom prst="rect">
            <a:avLst/>
          </a:prstGeom>
          <a:solidFill>
            <a:srgbClr val="CED5E0"/>
          </a:solidFill>
          <a:ln w="9525" cap="flat" cmpd="sng">
            <a:solidFill>
              <a:schemeClr val="lt2"/>
            </a:solidFill>
            <a:prstDash val="solid"/>
            <a:round/>
            <a:headEnd type="none" w="sm" len="sm"/>
            <a:tailEnd type="none" w="sm" len="sm"/>
          </a:ln>
        </p:spPr>
        <p:txBody>
          <a:bodyPr spcFirstLastPara="1" wrap="square" lIns="24350" tIns="24350" rIns="24350" bIns="24350" anchor="t" anchorCtr="0">
            <a:spAutoFit/>
          </a:bodyPr>
          <a:lstStyle/>
          <a:p>
            <a:pPr marL="0" marR="0" lvl="0" indent="0" algn="ctr" rtl="0">
              <a:lnSpc>
                <a:spcPct val="100000"/>
              </a:lnSpc>
              <a:spcBef>
                <a:spcPts val="0"/>
              </a:spcBef>
              <a:spcAft>
                <a:spcPts val="0"/>
              </a:spcAft>
              <a:buClr>
                <a:srgbClr val="000000"/>
              </a:buClr>
              <a:buSzPts val="900"/>
              <a:buFont typeface="PT Serif"/>
              <a:buNone/>
            </a:pPr>
            <a:r>
              <a:rPr lang="en-US" sz="1200" b="0" i="0" u="none" strike="noStrike" cap="none">
                <a:solidFill>
                  <a:schemeClr val="dk2"/>
                </a:solidFill>
                <a:latin typeface="Source Sans Pro"/>
                <a:ea typeface="Source Sans Pro"/>
                <a:cs typeface="Source Sans Pro"/>
                <a:sym typeface="Source Sans Pro"/>
              </a:rPr>
              <a:t>0</a:t>
            </a:r>
            <a:endParaRPr sz="1200" b="0" i="0" u="none" strike="noStrike" cap="none">
              <a:solidFill>
                <a:schemeClr val="dk2"/>
              </a:solidFill>
              <a:latin typeface="Source Sans Pro"/>
              <a:ea typeface="Source Sans Pro"/>
              <a:cs typeface="Source Sans Pro"/>
              <a:sym typeface="Source Sans Pro"/>
            </a:endParaRPr>
          </a:p>
        </p:txBody>
      </p:sp>
      <p:sp>
        <p:nvSpPr>
          <p:cNvPr id="269" name="Google Shape;269;p4"/>
          <p:cNvSpPr txBox="1"/>
          <p:nvPr/>
        </p:nvSpPr>
        <p:spPr>
          <a:xfrm>
            <a:off x="1767320" y="2838067"/>
            <a:ext cx="357592" cy="233842"/>
          </a:xfrm>
          <a:prstGeom prst="rect">
            <a:avLst/>
          </a:prstGeom>
          <a:solidFill>
            <a:srgbClr val="CED5E0"/>
          </a:solidFill>
          <a:ln w="9525" cap="flat" cmpd="sng">
            <a:solidFill>
              <a:schemeClr val="lt2"/>
            </a:solidFill>
            <a:prstDash val="solid"/>
            <a:round/>
            <a:headEnd type="none" w="sm" len="sm"/>
            <a:tailEnd type="none" w="sm" len="sm"/>
          </a:ln>
        </p:spPr>
        <p:txBody>
          <a:bodyPr spcFirstLastPara="1" wrap="square" lIns="24350" tIns="24350" rIns="24350" bIns="24350" anchor="t" anchorCtr="0">
            <a:spAutoFit/>
          </a:bodyPr>
          <a:lstStyle/>
          <a:p>
            <a:pPr marL="0" marR="0" lvl="0" indent="0" algn="ctr" rtl="0">
              <a:lnSpc>
                <a:spcPct val="100000"/>
              </a:lnSpc>
              <a:spcBef>
                <a:spcPts val="0"/>
              </a:spcBef>
              <a:spcAft>
                <a:spcPts val="0"/>
              </a:spcAft>
              <a:buClr>
                <a:srgbClr val="000000"/>
              </a:buClr>
              <a:buSzPts val="900"/>
              <a:buFont typeface="PT Serif"/>
              <a:buNone/>
            </a:pPr>
            <a:r>
              <a:rPr lang="en-US" sz="1200" b="0" i="0" u="none" strike="noStrike" cap="none">
                <a:solidFill>
                  <a:schemeClr val="dk2"/>
                </a:solidFill>
                <a:latin typeface="Source Sans Pro"/>
                <a:ea typeface="Source Sans Pro"/>
                <a:cs typeface="Source Sans Pro"/>
                <a:sym typeface="Source Sans Pro"/>
              </a:rPr>
              <a:t>1</a:t>
            </a:r>
            <a:endParaRPr sz="1200" b="0" i="0" u="none" strike="noStrike" cap="none">
              <a:solidFill>
                <a:schemeClr val="dk2"/>
              </a:solidFill>
              <a:latin typeface="Source Sans Pro"/>
              <a:ea typeface="Source Sans Pro"/>
              <a:cs typeface="Source Sans Pro"/>
              <a:sym typeface="Source Sans Pro"/>
            </a:endParaRPr>
          </a:p>
        </p:txBody>
      </p:sp>
      <p:sp>
        <p:nvSpPr>
          <p:cNvPr id="270" name="Google Shape;270;p4"/>
          <p:cNvSpPr txBox="1"/>
          <p:nvPr/>
        </p:nvSpPr>
        <p:spPr>
          <a:xfrm>
            <a:off x="2169737" y="2838067"/>
            <a:ext cx="357592" cy="233842"/>
          </a:xfrm>
          <a:prstGeom prst="rect">
            <a:avLst/>
          </a:prstGeom>
          <a:solidFill>
            <a:srgbClr val="CED5E0"/>
          </a:solidFill>
          <a:ln w="9525" cap="flat" cmpd="sng">
            <a:solidFill>
              <a:schemeClr val="lt2"/>
            </a:solidFill>
            <a:prstDash val="solid"/>
            <a:round/>
            <a:headEnd type="none" w="sm" len="sm"/>
            <a:tailEnd type="none" w="sm" len="sm"/>
          </a:ln>
        </p:spPr>
        <p:txBody>
          <a:bodyPr spcFirstLastPara="1" wrap="square" lIns="24350" tIns="24350" rIns="24350" bIns="24350" anchor="t" anchorCtr="0">
            <a:spAutoFit/>
          </a:bodyPr>
          <a:lstStyle/>
          <a:p>
            <a:pPr marL="0" marR="0" lvl="0" indent="0" algn="ctr" rtl="0">
              <a:lnSpc>
                <a:spcPct val="100000"/>
              </a:lnSpc>
              <a:spcBef>
                <a:spcPts val="0"/>
              </a:spcBef>
              <a:spcAft>
                <a:spcPts val="0"/>
              </a:spcAft>
              <a:buClr>
                <a:srgbClr val="000000"/>
              </a:buClr>
              <a:buSzPts val="900"/>
              <a:buFont typeface="PT Serif"/>
              <a:buNone/>
            </a:pPr>
            <a:r>
              <a:rPr lang="en-US" sz="1200" b="0" i="0" u="none" strike="noStrike" cap="none">
                <a:solidFill>
                  <a:schemeClr val="dk2"/>
                </a:solidFill>
                <a:latin typeface="Source Sans Pro"/>
                <a:ea typeface="Source Sans Pro"/>
                <a:cs typeface="Source Sans Pro"/>
                <a:sym typeface="Source Sans Pro"/>
              </a:rPr>
              <a:t>2</a:t>
            </a:r>
            <a:endParaRPr sz="1200" b="0" i="0" u="none" strike="noStrike" cap="none">
              <a:solidFill>
                <a:schemeClr val="dk2"/>
              </a:solidFill>
              <a:latin typeface="Source Sans Pro"/>
              <a:ea typeface="Source Sans Pro"/>
              <a:cs typeface="Source Sans Pro"/>
              <a:sym typeface="Source Sans Pro"/>
            </a:endParaRPr>
          </a:p>
        </p:txBody>
      </p:sp>
      <p:sp>
        <p:nvSpPr>
          <p:cNvPr id="271" name="Google Shape;271;p4"/>
          <p:cNvSpPr txBox="1"/>
          <p:nvPr/>
        </p:nvSpPr>
        <p:spPr>
          <a:xfrm>
            <a:off x="2572154" y="2838067"/>
            <a:ext cx="357592" cy="233842"/>
          </a:xfrm>
          <a:prstGeom prst="rect">
            <a:avLst/>
          </a:prstGeom>
          <a:solidFill>
            <a:srgbClr val="CED5E0"/>
          </a:solidFill>
          <a:ln w="9525" cap="flat" cmpd="sng">
            <a:solidFill>
              <a:schemeClr val="lt2"/>
            </a:solidFill>
            <a:prstDash val="solid"/>
            <a:round/>
            <a:headEnd type="none" w="sm" len="sm"/>
            <a:tailEnd type="none" w="sm" len="sm"/>
          </a:ln>
        </p:spPr>
        <p:txBody>
          <a:bodyPr spcFirstLastPara="1" wrap="square" lIns="24350" tIns="24350" rIns="24350" bIns="24350" anchor="t" anchorCtr="0">
            <a:spAutoFit/>
          </a:bodyPr>
          <a:lstStyle/>
          <a:p>
            <a:pPr marL="0" marR="0" lvl="0" indent="0" algn="ctr" rtl="0">
              <a:lnSpc>
                <a:spcPct val="100000"/>
              </a:lnSpc>
              <a:spcBef>
                <a:spcPts val="0"/>
              </a:spcBef>
              <a:spcAft>
                <a:spcPts val="0"/>
              </a:spcAft>
              <a:buClr>
                <a:srgbClr val="000000"/>
              </a:buClr>
              <a:buSzPts val="900"/>
              <a:buFont typeface="PT Serif"/>
              <a:buNone/>
            </a:pPr>
            <a:r>
              <a:rPr lang="en-US" sz="1200" b="0" i="0" u="none" strike="noStrike" cap="none">
                <a:solidFill>
                  <a:schemeClr val="dk2"/>
                </a:solidFill>
                <a:latin typeface="Source Sans Pro"/>
                <a:ea typeface="Source Sans Pro"/>
                <a:cs typeface="Source Sans Pro"/>
                <a:sym typeface="Source Sans Pro"/>
              </a:rPr>
              <a:t>3</a:t>
            </a:r>
            <a:endParaRPr sz="1200" b="0" i="0" u="none" strike="noStrike" cap="none">
              <a:solidFill>
                <a:schemeClr val="dk2"/>
              </a:solidFill>
              <a:latin typeface="Source Sans Pro"/>
              <a:ea typeface="Source Sans Pro"/>
              <a:cs typeface="Source Sans Pro"/>
              <a:sym typeface="Source Sans Pro"/>
            </a:endParaRPr>
          </a:p>
        </p:txBody>
      </p:sp>
      <p:sp>
        <p:nvSpPr>
          <p:cNvPr id="272" name="Google Shape;272;p4"/>
          <p:cNvSpPr txBox="1"/>
          <p:nvPr/>
        </p:nvSpPr>
        <p:spPr>
          <a:xfrm>
            <a:off x="2974571" y="2838067"/>
            <a:ext cx="357592" cy="233842"/>
          </a:xfrm>
          <a:prstGeom prst="rect">
            <a:avLst/>
          </a:prstGeom>
          <a:solidFill>
            <a:srgbClr val="CED5E0"/>
          </a:solidFill>
          <a:ln w="9525" cap="flat" cmpd="sng">
            <a:solidFill>
              <a:schemeClr val="lt2"/>
            </a:solidFill>
            <a:prstDash val="solid"/>
            <a:round/>
            <a:headEnd type="none" w="sm" len="sm"/>
            <a:tailEnd type="none" w="sm" len="sm"/>
          </a:ln>
        </p:spPr>
        <p:txBody>
          <a:bodyPr spcFirstLastPara="1" wrap="square" lIns="24350" tIns="24350" rIns="24350" bIns="24350" anchor="t" anchorCtr="0">
            <a:spAutoFit/>
          </a:bodyPr>
          <a:lstStyle/>
          <a:p>
            <a:pPr marL="0" marR="0" lvl="0" indent="0" algn="ctr" rtl="0">
              <a:lnSpc>
                <a:spcPct val="100000"/>
              </a:lnSpc>
              <a:spcBef>
                <a:spcPts val="0"/>
              </a:spcBef>
              <a:spcAft>
                <a:spcPts val="0"/>
              </a:spcAft>
              <a:buClr>
                <a:srgbClr val="000000"/>
              </a:buClr>
              <a:buSzPts val="900"/>
              <a:buFont typeface="PT Serif"/>
              <a:buNone/>
            </a:pPr>
            <a:r>
              <a:rPr lang="en-US" sz="1200" b="0" i="0" u="none" strike="noStrike" cap="none">
                <a:solidFill>
                  <a:schemeClr val="dk2"/>
                </a:solidFill>
                <a:latin typeface="Source Sans Pro"/>
                <a:ea typeface="Source Sans Pro"/>
                <a:cs typeface="Source Sans Pro"/>
                <a:sym typeface="Source Sans Pro"/>
              </a:rPr>
              <a:t>4</a:t>
            </a:r>
            <a:endParaRPr sz="1200" b="0" i="0" u="none" strike="noStrike" cap="none">
              <a:solidFill>
                <a:schemeClr val="dk2"/>
              </a:solidFill>
              <a:latin typeface="Source Sans Pro"/>
              <a:ea typeface="Source Sans Pro"/>
              <a:cs typeface="Source Sans Pro"/>
              <a:sym typeface="Source Sans Pro"/>
            </a:endParaRPr>
          </a:p>
        </p:txBody>
      </p:sp>
      <p:sp>
        <p:nvSpPr>
          <p:cNvPr id="273" name="Google Shape;273;p4"/>
          <p:cNvSpPr txBox="1"/>
          <p:nvPr/>
        </p:nvSpPr>
        <p:spPr>
          <a:xfrm>
            <a:off x="3376988" y="2838067"/>
            <a:ext cx="357592" cy="233842"/>
          </a:xfrm>
          <a:prstGeom prst="rect">
            <a:avLst/>
          </a:prstGeom>
          <a:solidFill>
            <a:srgbClr val="CED5E0"/>
          </a:solidFill>
          <a:ln w="9525" cap="flat" cmpd="sng">
            <a:solidFill>
              <a:schemeClr val="lt2"/>
            </a:solidFill>
            <a:prstDash val="solid"/>
            <a:round/>
            <a:headEnd type="none" w="sm" len="sm"/>
            <a:tailEnd type="none" w="sm" len="sm"/>
          </a:ln>
        </p:spPr>
        <p:txBody>
          <a:bodyPr spcFirstLastPara="1" wrap="square" lIns="24350" tIns="24350" rIns="24350" bIns="24350" anchor="t" anchorCtr="0">
            <a:spAutoFit/>
          </a:bodyPr>
          <a:lstStyle/>
          <a:p>
            <a:pPr marL="0" marR="0" lvl="0" indent="0" algn="ctr" rtl="0">
              <a:lnSpc>
                <a:spcPct val="100000"/>
              </a:lnSpc>
              <a:spcBef>
                <a:spcPts val="0"/>
              </a:spcBef>
              <a:spcAft>
                <a:spcPts val="0"/>
              </a:spcAft>
              <a:buClr>
                <a:srgbClr val="000000"/>
              </a:buClr>
              <a:buSzPts val="900"/>
              <a:buFont typeface="PT Serif"/>
              <a:buNone/>
            </a:pPr>
            <a:r>
              <a:rPr lang="en-US" sz="1200" b="0" i="0" u="none" strike="noStrike" cap="none">
                <a:solidFill>
                  <a:schemeClr val="dk2"/>
                </a:solidFill>
                <a:latin typeface="Source Sans Pro"/>
                <a:ea typeface="Source Sans Pro"/>
                <a:cs typeface="Source Sans Pro"/>
                <a:sym typeface="Source Sans Pro"/>
              </a:rPr>
              <a:t>5</a:t>
            </a:r>
            <a:endParaRPr sz="1200" b="0" i="0" u="none" strike="noStrike" cap="none">
              <a:solidFill>
                <a:schemeClr val="dk2"/>
              </a:solidFill>
              <a:latin typeface="Source Sans Pro"/>
              <a:ea typeface="Source Sans Pro"/>
              <a:cs typeface="Source Sans Pro"/>
              <a:sym typeface="Source Sans Pro"/>
            </a:endParaRPr>
          </a:p>
        </p:txBody>
      </p:sp>
      <p:sp>
        <p:nvSpPr>
          <p:cNvPr id="274" name="Google Shape;274;p4"/>
          <p:cNvSpPr txBox="1"/>
          <p:nvPr/>
        </p:nvSpPr>
        <p:spPr>
          <a:xfrm>
            <a:off x="3779405" y="2838067"/>
            <a:ext cx="357592" cy="233842"/>
          </a:xfrm>
          <a:prstGeom prst="rect">
            <a:avLst/>
          </a:prstGeom>
          <a:solidFill>
            <a:srgbClr val="CED5E0"/>
          </a:solidFill>
          <a:ln w="9525" cap="flat" cmpd="sng">
            <a:solidFill>
              <a:schemeClr val="lt2"/>
            </a:solidFill>
            <a:prstDash val="solid"/>
            <a:round/>
            <a:headEnd type="none" w="sm" len="sm"/>
            <a:tailEnd type="none" w="sm" len="sm"/>
          </a:ln>
        </p:spPr>
        <p:txBody>
          <a:bodyPr spcFirstLastPara="1" wrap="square" lIns="24350" tIns="24350" rIns="24350" bIns="24350" anchor="t" anchorCtr="0">
            <a:spAutoFit/>
          </a:bodyPr>
          <a:lstStyle/>
          <a:p>
            <a:pPr marL="0" marR="0" lvl="0" indent="0" algn="ctr" rtl="0">
              <a:lnSpc>
                <a:spcPct val="100000"/>
              </a:lnSpc>
              <a:spcBef>
                <a:spcPts val="0"/>
              </a:spcBef>
              <a:spcAft>
                <a:spcPts val="0"/>
              </a:spcAft>
              <a:buClr>
                <a:srgbClr val="000000"/>
              </a:buClr>
              <a:buSzPts val="900"/>
              <a:buFont typeface="PT Serif"/>
              <a:buNone/>
            </a:pPr>
            <a:r>
              <a:rPr lang="en-US" sz="1200" b="0" i="0" u="none" strike="noStrike" cap="none">
                <a:solidFill>
                  <a:schemeClr val="dk2"/>
                </a:solidFill>
                <a:latin typeface="Source Sans Pro"/>
                <a:ea typeface="Source Sans Pro"/>
                <a:cs typeface="Source Sans Pro"/>
                <a:sym typeface="Source Sans Pro"/>
              </a:rPr>
              <a:t>6</a:t>
            </a:r>
            <a:endParaRPr sz="1200" b="0" i="0" u="none" strike="noStrike" cap="none">
              <a:solidFill>
                <a:schemeClr val="dk2"/>
              </a:solidFill>
              <a:latin typeface="Source Sans Pro"/>
              <a:ea typeface="Source Sans Pro"/>
              <a:cs typeface="Source Sans Pro"/>
              <a:sym typeface="Source Sans Pro"/>
            </a:endParaRPr>
          </a:p>
        </p:txBody>
      </p:sp>
      <p:sp>
        <p:nvSpPr>
          <p:cNvPr id="275" name="Google Shape;275;p4"/>
          <p:cNvSpPr txBox="1"/>
          <p:nvPr/>
        </p:nvSpPr>
        <p:spPr>
          <a:xfrm>
            <a:off x="4181822" y="2838067"/>
            <a:ext cx="357592" cy="233842"/>
          </a:xfrm>
          <a:prstGeom prst="rect">
            <a:avLst/>
          </a:prstGeom>
          <a:solidFill>
            <a:srgbClr val="CED5E0"/>
          </a:solidFill>
          <a:ln w="9525" cap="flat" cmpd="sng">
            <a:solidFill>
              <a:schemeClr val="lt2"/>
            </a:solidFill>
            <a:prstDash val="solid"/>
            <a:round/>
            <a:headEnd type="none" w="sm" len="sm"/>
            <a:tailEnd type="none" w="sm" len="sm"/>
          </a:ln>
        </p:spPr>
        <p:txBody>
          <a:bodyPr spcFirstLastPara="1" wrap="square" lIns="24350" tIns="24350" rIns="24350" bIns="24350" anchor="t" anchorCtr="0">
            <a:spAutoFit/>
          </a:bodyPr>
          <a:lstStyle/>
          <a:p>
            <a:pPr marL="0" marR="0" lvl="0" indent="0" algn="ctr" rtl="0">
              <a:lnSpc>
                <a:spcPct val="100000"/>
              </a:lnSpc>
              <a:spcBef>
                <a:spcPts val="0"/>
              </a:spcBef>
              <a:spcAft>
                <a:spcPts val="0"/>
              </a:spcAft>
              <a:buClr>
                <a:srgbClr val="000000"/>
              </a:buClr>
              <a:buSzPts val="900"/>
              <a:buFont typeface="PT Serif"/>
              <a:buNone/>
            </a:pPr>
            <a:r>
              <a:rPr lang="en-US" sz="1200" b="0" i="0" u="none" strike="noStrike" cap="none">
                <a:solidFill>
                  <a:schemeClr val="dk2"/>
                </a:solidFill>
                <a:latin typeface="Source Sans Pro"/>
                <a:ea typeface="Source Sans Pro"/>
                <a:cs typeface="Source Sans Pro"/>
                <a:sym typeface="Source Sans Pro"/>
              </a:rPr>
              <a:t>7</a:t>
            </a:r>
            <a:endParaRPr sz="1200" b="0" i="0" u="none" strike="noStrike" cap="none">
              <a:solidFill>
                <a:schemeClr val="dk2"/>
              </a:solidFill>
              <a:latin typeface="Source Sans Pro"/>
              <a:ea typeface="Source Sans Pro"/>
              <a:cs typeface="Source Sans Pro"/>
              <a:sym typeface="Source Sans Pro"/>
            </a:endParaRPr>
          </a:p>
        </p:txBody>
      </p:sp>
      <p:sp>
        <p:nvSpPr>
          <p:cNvPr id="276" name="Google Shape;276;p4"/>
          <p:cNvSpPr txBox="1"/>
          <p:nvPr/>
        </p:nvSpPr>
        <p:spPr>
          <a:xfrm>
            <a:off x="1362550" y="3318148"/>
            <a:ext cx="709686" cy="233842"/>
          </a:xfrm>
          <a:prstGeom prst="rect">
            <a:avLst/>
          </a:prstGeom>
          <a:solidFill>
            <a:schemeClr val="accent1"/>
          </a:solidFill>
          <a:ln>
            <a:noFill/>
          </a:ln>
        </p:spPr>
        <p:txBody>
          <a:bodyPr spcFirstLastPara="1" wrap="square" lIns="24350" tIns="24350" rIns="24350" bIns="24350" anchor="t" anchorCtr="0">
            <a:spAutoFit/>
          </a:bodyPr>
          <a:lstStyle/>
          <a:p>
            <a:pPr marL="0" marR="0" lvl="0" indent="0" algn="ctr" rtl="0">
              <a:lnSpc>
                <a:spcPct val="100000"/>
              </a:lnSpc>
              <a:spcBef>
                <a:spcPts val="0"/>
              </a:spcBef>
              <a:spcAft>
                <a:spcPts val="0"/>
              </a:spcAft>
              <a:buClr>
                <a:srgbClr val="000000"/>
              </a:buClr>
              <a:buSzPts val="900"/>
              <a:buFont typeface="PT Serif"/>
              <a:buNone/>
            </a:pPr>
            <a:r>
              <a:rPr lang="en-US" sz="1200" b="0" i="0" u="none" strike="noStrike" cap="none">
                <a:solidFill>
                  <a:schemeClr val="lt1"/>
                </a:solidFill>
                <a:latin typeface="Source Sans Pro"/>
                <a:ea typeface="Source Sans Pro"/>
                <a:cs typeface="Source Sans Pro"/>
                <a:sym typeface="Source Sans Pro"/>
              </a:rPr>
              <a:t>Sep</a:t>
            </a:r>
            <a:endParaRPr sz="1200" b="0" i="0" u="none" strike="noStrike" cap="none">
              <a:solidFill>
                <a:schemeClr val="lt1"/>
              </a:solidFill>
              <a:latin typeface="Source Sans Pro"/>
              <a:ea typeface="Source Sans Pro"/>
              <a:cs typeface="Source Sans Pro"/>
              <a:sym typeface="Source Sans Pro"/>
            </a:endParaRPr>
          </a:p>
        </p:txBody>
      </p:sp>
      <p:sp>
        <p:nvSpPr>
          <p:cNvPr id="277" name="Google Shape;277;p4"/>
          <p:cNvSpPr txBox="1"/>
          <p:nvPr/>
        </p:nvSpPr>
        <p:spPr>
          <a:xfrm>
            <a:off x="2099771" y="3311798"/>
            <a:ext cx="950564" cy="233842"/>
          </a:xfrm>
          <a:prstGeom prst="rect">
            <a:avLst/>
          </a:prstGeom>
          <a:solidFill>
            <a:schemeClr val="accent1"/>
          </a:solidFill>
          <a:ln>
            <a:noFill/>
          </a:ln>
        </p:spPr>
        <p:txBody>
          <a:bodyPr spcFirstLastPara="1" wrap="square" lIns="24350" tIns="24350" rIns="24350" bIns="24350" anchor="t" anchorCtr="0">
            <a:spAutoFit/>
          </a:bodyPr>
          <a:lstStyle/>
          <a:p>
            <a:pPr marL="0" marR="0" lvl="0" indent="0" algn="ctr" rtl="0">
              <a:lnSpc>
                <a:spcPct val="100000"/>
              </a:lnSpc>
              <a:spcBef>
                <a:spcPts val="0"/>
              </a:spcBef>
              <a:spcAft>
                <a:spcPts val="0"/>
              </a:spcAft>
              <a:buClr>
                <a:srgbClr val="000000"/>
              </a:buClr>
              <a:buSzPts val="900"/>
              <a:buFont typeface="PT Serif"/>
              <a:buNone/>
            </a:pPr>
            <a:r>
              <a:rPr lang="en-US" sz="1200" b="0" i="0" u="none" strike="noStrike" cap="none">
                <a:solidFill>
                  <a:schemeClr val="lt1"/>
                </a:solidFill>
                <a:latin typeface="Source Sans Pro"/>
                <a:ea typeface="Source Sans Pro"/>
                <a:cs typeface="Source Sans Pro"/>
                <a:sym typeface="Source Sans Pro"/>
              </a:rPr>
              <a:t>Oct</a:t>
            </a:r>
            <a:endParaRPr sz="1200" b="0" i="0" u="none" strike="noStrike" cap="none">
              <a:solidFill>
                <a:schemeClr val="lt1"/>
              </a:solidFill>
              <a:latin typeface="Source Sans Pro"/>
              <a:ea typeface="Source Sans Pro"/>
              <a:cs typeface="Source Sans Pro"/>
              <a:sym typeface="Source Sans Pro"/>
            </a:endParaRPr>
          </a:p>
        </p:txBody>
      </p:sp>
      <p:sp>
        <p:nvSpPr>
          <p:cNvPr id="278" name="Google Shape;278;p4"/>
          <p:cNvSpPr txBox="1"/>
          <p:nvPr/>
        </p:nvSpPr>
        <p:spPr>
          <a:xfrm>
            <a:off x="3077871" y="3311798"/>
            <a:ext cx="674234" cy="233842"/>
          </a:xfrm>
          <a:prstGeom prst="rect">
            <a:avLst/>
          </a:prstGeom>
          <a:solidFill>
            <a:schemeClr val="accent1"/>
          </a:solidFill>
          <a:ln>
            <a:noFill/>
          </a:ln>
        </p:spPr>
        <p:txBody>
          <a:bodyPr spcFirstLastPara="1" wrap="square" lIns="24350" tIns="24350" rIns="24350" bIns="24350" anchor="t" anchorCtr="0">
            <a:spAutoFit/>
          </a:bodyPr>
          <a:lstStyle/>
          <a:p>
            <a:pPr marL="0" marR="0" lvl="0" indent="0" algn="ctr" rtl="0">
              <a:lnSpc>
                <a:spcPct val="100000"/>
              </a:lnSpc>
              <a:spcBef>
                <a:spcPts val="0"/>
              </a:spcBef>
              <a:spcAft>
                <a:spcPts val="0"/>
              </a:spcAft>
              <a:buClr>
                <a:srgbClr val="000000"/>
              </a:buClr>
              <a:buSzPts val="900"/>
              <a:buFont typeface="PT Serif"/>
              <a:buNone/>
            </a:pPr>
            <a:r>
              <a:rPr lang="en-US" sz="1200" b="0" i="0" u="none" strike="noStrike" cap="none">
                <a:solidFill>
                  <a:schemeClr val="lt1"/>
                </a:solidFill>
                <a:latin typeface="Source Sans Pro"/>
                <a:ea typeface="Source Sans Pro"/>
                <a:cs typeface="Source Sans Pro"/>
                <a:sym typeface="Source Sans Pro"/>
              </a:rPr>
              <a:t>Nov</a:t>
            </a:r>
            <a:endParaRPr sz="1200" b="0" i="0" u="none" strike="noStrike" cap="none">
              <a:solidFill>
                <a:schemeClr val="lt1"/>
              </a:solidFill>
              <a:latin typeface="Source Sans Pro"/>
              <a:ea typeface="Source Sans Pro"/>
              <a:cs typeface="Source Sans Pro"/>
              <a:sym typeface="Source Sans Pro"/>
            </a:endParaRPr>
          </a:p>
        </p:txBody>
      </p:sp>
      <p:sp>
        <p:nvSpPr>
          <p:cNvPr id="279" name="Google Shape;279;p4"/>
          <p:cNvSpPr txBox="1"/>
          <p:nvPr/>
        </p:nvSpPr>
        <p:spPr>
          <a:xfrm>
            <a:off x="3779640" y="3311798"/>
            <a:ext cx="872471" cy="233842"/>
          </a:xfrm>
          <a:prstGeom prst="rect">
            <a:avLst/>
          </a:prstGeom>
          <a:solidFill>
            <a:schemeClr val="accent1"/>
          </a:solidFill>
          <a:ln>
            <a:noFill/>
          </a:ln>
        </p:spPr>
        <p:txBody>
          <a:bodyPr spcFirstLastPara="1" wrap="square" lIns="24350" tIns="24350" rIns="24350" bIns="24350" anchor="t" anchorCtr="0">
            <a:spAutoFit/>
          </a:bodyPr>
          <a:lstStyle/>
          <a:p>
            <a:pPr marL="0" marR="0" lvl="0" indent="0" algn="ctr" rtl="0">
              <a:lnSpc>
                <a:spcPct val="100000"/>
              </a:lnSpc>
              <a:spcBef>
                <a:spcPts val="0"/>
              </a:spcBef>
              <a:spcAft>
                <a:spcPts val="0"/>
              </a:spcAft>
              <a:buClr>
                <a:srgbClr val="000000"/>
              </a:buClr>
              <a:buSzPts val="900"/>
              <a:buFont typeface="PT Serif"/>
              <a:buNone/>
            </a:pPr>
            <a:r>
              <a:rPr lang="en-US" sz="1200" b="0" i="0" u="none" strike="noStrike" cap="none">
                <a:solidFill>
                  <a:schemeClr val="lt1"/>
                </a:solidFill>
                <a:latin typeface="Source Sans Pro"/>
                <a:ea typeface="Source Sans Pro"/>
                <a:cs typeface="Source Sans Pro"/>
                <a:sym typeface="Source Sans Pro"/>
              </a:rPr>
              <a:t>Dec</a:t>
            </a:r>
            <a:endParaRPr sz="1200" b="0" i="0" u="none" strike="noStrike" cap="none">
              <a:solidFill>
                <a:schemeClr val="lt1"/>
              </a:solidFill>
              <a:latin typeface="Source Sans Pro"/>
              <a:ea typeface="Source Sans Pro"/>
              <a:cs typeface="Source Sans Pro"/>
              <a:sym typeface="Source Sans Pro"/>
            </a:endParaRPr>
          </a:p>
        </p:txBody>
      </p:sp>
      <p:sp>
        <p:nvSpPr>
          <p:cNvPr id="280" name="Google Shape;280;p4"/>
          <p:cNvSpPr txBox="1"/>
          <p:nvPr/>
        </p:nvSpPr>
        <p:spPr>
          <a:xfrm>
            <a:off x="4584239" y="2838067"/>
            <a:ext cx="357592" cy="233842"/>
          </a:xfrm>
          <a:prstGeom prst="rect">
            <a:avLst/>
          </a:prstGeom>
          <a:solidFill>
            <a:srgbClr val="CED5E0"/>
          </a:solidFill>
          <a:ln w="9525" cap="flat" cmpd="sng">
            <a:solidFill>
              <a:schemeClr val="lt2"/>
            </a:solidFill>
            <a:prstDash val="solid"/>
            <a:round/>
            <a:headEnd type="none" w="sm" len="sm"/>
            <a:tailEnd type="none" w="sm" len="sm"/>
          </a:ln>
        </p:spPr>
        <p:txBody>
          <a:bodyPr spcFirstLastPara="1" wrap="square" lIns="24350" tIns="24350" rIns="24350" bIns="24350" anchor="t" anchorCtr="0">
            <a:spAutoFit/>
          </a:bodyPr>
          <a:lstStyle/>
          <a:p>
            <a:pPr marL="0" marR="0" lvl="0" indent="0" algn="ctr" rtl="0">
              <a:lnSpc>
                <a:spcPct val="100000"/>
              </a:lnSpc>
              <a:spcBef>
                <a:spcPts val="0"/>
              </a:spcBef>
              <a:spcAft>
                <a:spcPts val="0"/>
              </a:spcAft>
              <a:buClr>
                <a:srgbClr val="000000"/>
              </a:buClr>
              <a:buSzPts val="900"/>
              <a:buFont typeface="PT Serif"/>
              <a:buNone/>
            </a:pPr>
            <a:r>
              <a:rPr lang="en-US" sz="1200" b="0" i="0" u="none" strike="noStrike" cap="none">
                <a:solidFill>
                  <a:schemeClr val="dk2"/>
                </a:solidFill>
                <a:latin typeface="Source Sans Pro"/>
                <a:ea typeface="Source Sans Pro"/>
                <a:cs typeface="Source Sans Pro"/>
                <a:sym typeface="Source Sans Pro"/>
              </a:rPr>
              <a:t>8</a:t>
            </a:r>
            <a:endParaRPr sz="1200" b="0" i="0" u="none" strike="noStrike" cap="none">
              <a:solidFill>
                <a:schemeClr val="dk2"/>
              </a:solidFill>
              <a:latin typeface="Source Sans Pro"/>
              <a:ea typeface="Source Sans Pro"/>
              <a:cs typeface="Source Sans Pro"/>
              <a:sym typeface="Source Sans Pro"/>
            </a:endParaRPr>
          </a:p>
        </p:txBody>
      </p:sp>
      <p:sp>
        <p:nvSpPr>
          <p:cNvPr id="281" name="Google Shape;281;p4"/>
          <p:cNvSpPr txBox="1"/>
          <p:nvPr/>
        </p:nvSpPr>
        <p:spPr>
          <a:xfrm>
            <a:off x="4986656" y="2838067"/>
            <a:ext cx="357592" cy="233842"/>
          </a:xfrm>
          <a:prstGeom prst="rect">
            <a:avLst/>
          </a:prstGeom>
          <a:solidFill>
            <a:srgbClr val="CED5E0"/>
          </a:solidFill>
          <a:ln w="9525" cap="flat" cmpd="sng">
            <a:solidFill>
              <a:schemeClr val="lt2"/>
            </a:solidFill>
            <a:prstDash val="solid"/>
            <a:round/>
            <a:headEnd type="none" w="sm" len="sm"/>
            <a:tailEnd type="none" w="sm" len="sm"/>
          </a:ln>
        </p:spPr>
        <p:txBody>
          <a:bodyPr spcFirstLastPara="1" wrap="square" lIns="24350" tIns="24350" rIns="24350" bIns="24350" anchor="t" anchorCtr="0">
            <a:spAutoFit/>
          </a:bodyPr>
          <a:lstStyle/>
          <a:p>
            <a:pPr marL="0" marR="0" lvl="0" indent="0" algn="ctr" rtl="0">
              <a:lnSpc>
                <a:spcPct val="100000"/>
              </a:lnSpc>
              <a:spcBef>
                <a:spcPts val="0"/>
              </a:spcBef>
              <a:spcAft>
                <a:spcPts val="0"/>
              </a:spcAft>
              <a:buClr>
                <a:srgbClr val="000000"/>
              </a:buClr>
              <a:buSzPts val="900"/>
              <a:buFont typeface="PT Serif"/>
              <a:buNone/>
            </a:pPr>
            <a:r>
              <a:rPr lang="en-US" sz="1200" b="0" i="0" u="none" strike="noStrike" cap="none">
                <a:solidFill>
                  <a:schemeClr val="dk2"/>
                </a:solidFill>
                <a:latin typeface="Source Sans Pro"/>
                <a:ea typeface="Source Sans Pro"/>
                <a:cs typeface="Source Sans Pro"/>
                <a:sym typeface="Source Sans Pro"/>
              </a:rPr>
              <a:t>9</a:t>
            </a:r>
            <a:endParaRPr sz="1200" b="0" i="0" u="none" strike="noStrike" cap="none">
              <a:solidFill>
                <a:schemeClr val="dk2"/>
              </a:solidFill>
              <a:latin typeface="Source Sans Pro"/>
              <a:ea typeface="Source Sans Pro"/>
              <a:cs typeface="Source Sans Pro"/>
              <a:sym typeface="Source Sans Pro"/>
            </a:endParaRPr>
          </a:p>
        </p:txBody>
      </p:sp>
      <p:sp>
        <p:nvSpPr>
          <p:cNvPr id="282" name="Google Shape;282;p4"/>
          <p:cNvSpPr txBox="1"/>
          <p:nvPr/>
        </p:nvSpPr>
        <p:spPr>
          <a:xfrm>
            <a:off x="5389073" y="2838067"/>
            <a:ext cx="357592" cy="233842"/>
          </a:xfrm>
          <a:prstGeom prst="rect">
            <a:avLst/>
          </a:prstGeom>
          <a:solidFill>
            <a:srgbClr val="CED5E0"/>
          </a:solidFill>
          <a:ln w="9525" cap="flat" cmpd="sng">
            <a:solidFill>
              <a:schemeClr val="lt2"/>
            </a:solidFill>
            <a:prstDash val="solid"/>
            <a:round/>
            <a:headEnd type="none" w="sm" len="sm"/>
            <a:tailEnd type="none" w="sm" len="sm"/>
          </a:ln>
        </p:spPr>
        <p:txBody>
          <a:bodyPr spcFirstLastPara="1" wrap="square" lIns="24350" tIns="24350" rIns="24350" bIns="24350" anchor="t" anchorCtr="0">
            <a:spAutoFit/>
          </a:bodyPr>
          <a:lstStyle/>
          <a:p>
            <a:pPr marL="0" marR="0" lvl="0" indent="0" algn="ctr" rtl="0">
              <a:lnSpc>
                <a:spcPct val="100000"/>
              </a:lnSpc>
              <a:spcBef>
                <a:spcPts val="0"/>
              </a:spcBef>
              <a:spcAft>
                <a:spcPts val="0"/>
              </a:spcAft>
              <a:buClr>
                <a:srgbClr val="000000"/>
              </a:buClr>
              <a:buSzPts val="900"/>
              <a:buFont typeface="PT Serif"/>
              <a:buNone/>
            </a:pPr>
            <a:r>
              <a:rPr lang="en-US" sz="1200" b="0" i="0" u="none" strike="noStrike" cap="none">
                <a:solidFill>
                  <a:schemeClr val="dk2"/>
                </a:solidFill>
                <a:latin typeface="Source Sans Pro"/>
                <a:ea typeface="Source Sans Pro"/>
                <a:cs typeface="Source Sans Pro"/>
                <a:sym typeface="Source Sans Pro"/>
              </a:rPr>
              <a:t>10</a:t>
            </a:r>
            <a:endParaRPr sz="1200" b="0" i="0" u="none" strike="noStrike" cap="none">
              <a:solidFill>
                <a:schemeClr val="dk2"/>
              </a:solidFill>
              <a:latin typeface="Source Sans Pro"/>
              <a:ea typeface="Source Sans Pro"/>
              <a:cs typeface="Source Sans Pro"/>
              <a:sym typeface="Source Sans Pro"/>
            </a:endParaRPr>
          </a:p>
        </p:txBody>
      </p:sp>
      <p:sp>
        <p:nvSpPr>
          <p:cNvPr id="283" name="Google Shape;283;p4"/>
          <p:cNvSpPr txBox="1"/>
          <p:nvPr/>
        </p:nvSpPr>
        <p:spPr>
          <a:xfrm>
            <a:off x="5791490" y="2838067"/>
            <a:ext cx="357592" cy="233842"/>
          </a:xfrm>
          <a:prstGeom prst="rect">
            <a:avLst/>
          </a:prstGeom>
          <a:solidFill>
            <a:schemeClr val="accent6"/>
          </a:solidFill>
          <a:ln>
            <a:noFill/>
          </a:ln>
        </p:spPr>
        <p:txBody>
          <a:bodyPr spcFirstLastPara="1" wrap="square" lIns="24350" tIns="24350" rIns="24350" bIns="24350" anchor="t" anchorCtr="0">
            <a:spAutoFit/>
          </a:bodyPr>
          <a:lstStyle/>
          <a:p>
            <a:pPr marL="0" marR="0" lvl="0" indent="0" algn="ctr" rtl="0">
              <a:lnSpc>
                <a:spcPct val="100000"/>
              </a:lnSpc>
              <a:spcBef>
                <a:spcPts val="0"/>
              </a:spcBef>
              <a:spcAft>
                <a:spcPts val="0"/>
              </a:spcAft>
              <a:buClr>
                <a:srgbClr val="000000"/>
              </a:buClr>
              <a:buSzPts val="900"/>
              <a:buFont typeface="PT Serif"/>
              <a:buNone/>
            </a:pPr>
            <a:r>
              <a:rPr lang="en-US" sz="1200" b="0" i="0" u="none" strike="noStrike" cap="none">
                <a:solidFill>
                  <a:schemeClr val="dk2"/>
                </a:solidFill>
                <a:latin typeface="Source Sans Pro"/>
                <a:ea typeface="Source Sans Pro"/>
                <a:cs typeface="Source Sans Pro"/>
                <a:sym typeface="Source Sans Pro"/>
              </a:rPr>
              <a:t>11</a:t>
            </a:r>
            <a:endParaRPr sz="1200" b="0" i="0" u="none" strike="noStrike" cap="none">
              <a:solidFill>
                <a:schemeClr val="dk2"/>
              </a:solidFill>
              <a:latin typeface="Source Sans Pro"/>
              <a:ea typeface="Source Sans Pro"/>
              <a:cs typeface="Source Sans Pro"/>
              <a:sym typeface="Source Sans Pro"/>
            </a:endParaRPr>
          </a:p>
        </p:txBody>
      </p:sp>
      <p:sp>
        <p:nvSpPr>
          <p:cNvPr id="284" name="Google Shape;284;p4"/>
          <p:cNvSpPr txBox="1"/>
          <p:nvPr/>
        </p:nvSpPr>
        <p:spPr>
          <a:xfrm>
            <a:off x="4679648" y="3318148"/>
            <a:ext cx="1014301" cy="233842"/>
          </a:xfrm>
          <a:prstGeom prst="rect">
            <a:avLst/>
          </a:prstGeom>
          <a:solidFill>
            <a:schemeClr val="accent1"/>
          </a:solidFill>
          <a:ln>
            <a:noFill/>
          </a:ln>
        </p:spPr>
        <p:txBody>
          <a:bodyPr spcFirstLastPara="1" wrap="square" lIns="24350" tIns="24350" rIns="24350" bIns="24350" anchor="t" anchorCtr="0">
            <a:spAutoFit/>
          </a:bodyPr>
          <a:lstStyle/>
          <a:p>
            <a:pPr marL="0" marR="0" lvl="0" indent="0" algn="ctr" rtl="0">
              <a:lnSpc>
                <a:spcPct val="100000"/>
              </a:lnSpc>
              <a:spcBef>
                <a:spcPts val="0"/>
              </a:spcBef>
              <a:spcAft>
                <a:spcPts val="0"/>
              </a:spcAft>
              <a:buClr>
                <a:srgbClr val="000000"/>
              </a:buClr>
              <a:buSzPts val="900"/>
              <a:buFont typeface="PT Serif"/>
              <a:buNone/>
            </a:pPr>
            <a:r>
              <a:rPr lang="en-US" sz="1200" b="0" i="0" u="none" strike="noStrike" cap="none">
                <a:solidFill>
                  <a:schemeClr val="lt1"/>
                </a:solidFill>
                <a:latin typeface="Source Sans Pro"/>
                <a:ea typeface="Source Sans Pro"/>
                <a:cs typeface="Source Sans Pro"/>
                <a:sym typeface="Source Sans Pro"/>
              </a:rPr>
              <a:t>Jan</a:t>
            </a:r>
            <a:endParaRPr sz="1200" b="0" i="0" u="none" strike="noStrike" cap="none">
              <a:solidFill>
                <a:schemeClr val="lt1"/>
              </a:solidFill>
              <a:latin typeface="Source Sans Pro"/>
              <a:ea typeface="Source Sans Pro"/>
              <a:cs typeface="Source Sans Pro"/>
              <a:sym typeface="Source Sans Pro"/>
            </a:endParaRPr>
          </a:p>
        </p:txBody>
      </p:sp>
      <p:sp>
        <p:nvSpPr>
          <p:cNvPr id="285" name="Google Shape;285;p4"/>
          <p:cNvSpPr txBox="1"/>
          <p:nvPr/>
        </p:nvSpPr>
        <p:spPr>
          <a:xfrm>
            <a:off x="5727836" y="3311798"/>
            <a:ext cx="689588" cy="240192"/>
          </a:xfrm>
          <a:prstGeom prst="rect">
            <a:avLst/>
          </a:prstGeom>
          <a:solidFill>
            <a:srgbClr val="0365B9"/>
          </a:solidFill>
          <a:ln>
            <a:noFill/>
          </a:ln>
        </p:spPr>
        <p:txBody>
          <a:bodyPr spcFirstLastPara="1" wrap="square" lIns="24350" tIns="24350" rIns="24350" bIns="24350" anchor="t" anchorCtr="0">
            <a:spAutoFit/>
          </a:bodyPr>
          <a:lstStyle/>
          <a:p>
            <a:pPr marL="0" marR="0" lvl="0" indent="0" algn="ctr" rtl="0">
              <a:lnSpc>
                <a:spcPct val="100000"/>
              </a:lnSpc>
              <a:spcBef>
                <a:spcPts val="0"/>
              </a:spcBef>
              <a:spcAft>
                <a:spcPts val="0"/>
              </a:spcAft>
              <a:buClr>
                <a:srgbClr val="000000"/>
              </a:buClr>
              <a:buSzPts val="900"/>
              <a:buFont typeface="PT Serif"/>
              <a:buNone/>
            </a:pPr>
            <a:r>
              <a:rPr lang="en-US" sz="1200" b="0" i="0" u="none" strike="noStrike" cap="none">
                <a:solidFill>
                  <a:srgbClr val="FDFFFD"/>
                </a:solidFill>
                <a:latin typeface="Source Sans Pro"/>
                <a:ea typeface="Source Sans Pro"/>
                <a:cs typeface="Source Sans Pro"/>
                <a:sym typeface="Source Sans Pro"/>
              </a:rPr>
              <a:t>Feb</a:t>
            </a:r>
            <a:endParaRPr sz="1200" b="0" i="0" u="none" strike="noStrike" cap="none">
              <a:solidFill>
                <a:srgbClr val="FDFFFD"/>
              </a:solidFill>
              <a:latin typeface="Source Sans Pro"/>
              <a:ea typeface="Source Sans Pro"/>
              <a:cs typeface="Source Sans Pro"/>
              <a:sym typeface="Source Sans Pro"/>
            </a:endParaRPr>
          </a:p>
        </p:txBody>
      </p:sp>
      <p:sp>
        <p:nvSpPr>
          <p:cNvPr id="286" name="Google Shape;286;p4"/>
          <p:cNvSpPr txBox="1"/>
          <p:nvPr/>
        </p:nvSpPr>
        <p:spPr>
          <a:xfrm>
            <a:off x="1364903" y="3874067"/>
            <a:ext cx="3801217" cy="458547"/>
          </a:xfrm>
          <a:prstGeom prst="rect">
            <a:avLst/>
          </a:prstGeom>
          <a:solidFill>
            <a:srgbClr val="7185A0"/>
          </a:solidFill>
          <a:ln>
            <a:noFill/>
          </a:ln>
        </p:spPr>
        <p:txBody>
          <a:bodyPr spcFirstLastPara="1" wrap="square" lIns="121900" tIns="121900" rIns="121900" bIns="121900" anchor="t" anchorCtr="0">
            <a:spAutoFit/>
          </a:bodyPr>
          <a:lstStyle/>
          <a:p>
            <a:pPr marL="0" marR="0" lvl="0" indent="0" algn="l" rtl="0">
              <a:lnSpc>
                <a:spcPct val="115000"/>
              </a:lnSpc>
              <a:spcBef>
                <a:spcPts val="0"/>
              </a:spcBef>
              <a:spcAft>
                <a:spcPts val="0"/>
              </a:spcAft>
              <a:buClr>
                <a:srgbClr val="FFFFFF"/>
              </a:buClr>
              <a:buSzPts val="1400"/>
              <a:buFont typeface="PT Serif"/>
              <a:buNone/>
            </a:pPr>
            <a:r>
              <a:rPr lang="en-US" sz="1200" b="1" i="0" u="none" strike="noStrike" cap="none">
                <a:solidFill>
                  <a:srgbClr val="FFFFFF"/>
                </a:solidFill>
                <a:latin typeface="Source Sans Pro"/>
                <a:ea typeface="Source Sans Pro"/>
                <a:cs typeface="Source Sans Pro"/>
                <a:sym typeface="Source Sans Pro"/>
              </a:rPr>
              <a:t>DHM - Health Apartment</a:t>
            </a:r>
            <a:endParaRPr sz="1200" b="1" i="0" u="none" strike="noStrike" cap="none">
              <a:solidFill>
                <a:srgbClr val="FFFFFF"/>
              </a:solidFill>
              <a:latin typeface="Source Sans Pro"/>
              <a:ea typeface="Source Sans Pro"/>
              <a:cs typeface="Source Sans Pro"/>
              <a:sym typeface="Source Sans Pro"/>
            </a:endParaRPr>
          </a:p>
        </p:txBody>
      </p:sp>
      <p:sp>
        <p:nvSpPr>
          <p:cNvPr id="287" name="Google Shape;287;p4"/>
          <p:cNvSpPr txBox="1"/>
          <p:nvPr/>
        </p:nvSpPr>
        <p:spPr>
          <a:xfrm>
            <a:off x="429120" y="2237023"/>
            <a:ext cx="711729" cy="184666"/>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000000"/>
              </a:buClr>
              <a:buSzPts val="1200"/>
              <a:buFont typeface="Arial"/>
              <a:buNone/>
            </a:pPr>
            <a:r>
              <a:rPr lang="en-US" sz="1200" b="0" i="0" u="none" strike="noStrike" cap="none">
                <a:solidFill>
                  <a:srgbClr val="0467B8"/>
                </a:solidFill>
                <a:latin typeface="Source Sans Pro"/>
                <a:ea typeface="Source Sans Pro"/>
                <a:cs typeface="Source Sans Pro"/>
                <a:sym typeface="Source Sans Pro"/>
              </a:rPr>
              <a:t>PHASE</a:t>
            </a:r>
            <a:endParaRPr sz="1400" b="0" i="0" u="none" strike="noStrike" cap="none">
              <a:solidFill>
                <a:srgbClr val="000000"/>
              </a:solidFill>
              <a:latin typeface="Arial"/>
              <a:ea typeface="Arial"/>
              <a:cs typeface="Arial"/>
              <a:sym typeface="Arial"/>
            </a:endParaRPr>
          </a:p>
        </p:txBody>
      </p:sp>
      <p:sp>
        <p:nvSpPr>
          <p:cNvPr id="288" name="Google Shape;288;p4"/>
          <p:cNvSpPr txBox="1"/>
          <p:nvPr/>
        </p:nvSpPr>
        <p:spPr>
          <a:xfrm>
            <a:off x="429120" y="2900772"/>
            <a:ext cx="711729" cy="184666"/>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000000"/>
              </a:buClr>
              <a:buSzPts val="1200"/>
              <a:buFont typeface="Arial"/>
              <a:buNone/>
            </a:pPr>
            <a:r>
              <a:rPr lang="en-US" sz="1200" b="0" i="0" u="none" strike="noStrike" cap="none">
                <a:solidFill>
                  <a:srgbClr val="0467B8"/>
                </a:solidFill>
                <a:latin typeface="Source Sans Pro"/>
                <a:ea typeface="Source Sans Pro"/>
                <a:cs typeface="Source Sans Pro"/>
                <a:sym typeface="Source Sans Pro"/>
              </a:rPr>
              <a:t>SPRINT</a:t>
            </a:r>
            <a:endParaRPr sz="1400" b="0" i="0" u="none" strike="noStrike" cap="none">
              <a:solidFill>
                <a:srgbClr val="000000"/>
              </a:solidFill>
              <a:latin typeface="Arial"/>
              <a:ea typeface="Arial"/>
              <a:cs typeface="Arial"/>
              <a:sym typeface="Arial"/>
            </a:endParaRPr>
          </a:p>
        </p:txBody>
      </p:sp>
      <p:sp>
        <p:nvSpPr>
          <p:cNvPr id="289" name="Google Shape;289;p4"/>
          <p:cNvSpPr txBox="1"/>
          <p:nvPr/>
        </p:nvSpPr>
        <p:spPr>
          <a:xfrm>
            <a:off x="429120" y="3342753"/>
            <a:ext cx="711729" cy="184666"/>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000000"/>
              </a:buClr>
              <a:buSzPts val="900"/>
              <a:buFont typeface="PT Serif"/>
              <a:buNone/>
            </a:pPr>
            <a:r>
              <a:rPr lang="en-US" sz="1200" b="0" i="0" u="none" strike="noStrike" cap="none">
                <a:solidFill>
                  <a:srgbClr val="0467B8"/>
                </a:solidFill>
                <a:latin typeface="Source Sans Pro"/>
                <a:ea typeface="Source Sans Pro"/>
                <a:cs typeface="Source Sans Pro"/>
                <a:sym typeface="Source Sans Pro"/>
              </a:rPr>
              <a:t>MONTH</a:t>
            </a:r>
            <a:endParaRPr sz="1200" b="0" i="0" u="none" strike="noStrike" cap="none">
              <a:solidFill>
                <a:srgbClr val="0467B8"/>
              </a:solidFill>
              <a:latin typeface="Source Sans Pro"/>
              <a:ea typeface="Source Sans Pro"/>
              <a:cs typeface="Source Sans Pro"/>
              <a:sym typeface="Source Sans Pro"/>
            </a:endParaRPr>
          </a:p>
        </p:txBody>
      </p:sp>
      <p:sp>
        <p:nvSpPr>
          <p:cNvPr id="290" name="Google Shape;290;p4"/>
          <p:cNvSpPr txBox="1"/>
          <p:nvPr/>
        </p:nvSpPr>
        <p:spPr>
          <a:xfrm>
            <a:off x="429120" y="4006965"/>
            <a:ext cx="711729" cy="184666"/>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000000"/>
              </a:buClr>
              <a:buSzPts val="900"/>
              <a:buFont typeface="PT Serif"/>
              <a:buNone/>
            </a:pPr>
            <a:r>
              <a:rPr lang="en-US" sz="1200" b="0" i="0" u="none" strike="noStrike" cap="none">
                <a:solidFill>
                  <a:srgbClr val="0467B8"/>
                </a:solidFill>
                <a:latin typeface="Source Sans Pro"/>
                <a:ea typeface="Source Sans Pro"/>
                <a:cs typeface="Source Sans Pro"/>
                <a:sym typeface="Source Sans Pro"/>
              </a:rPr>
              <a:t>FOCUS</a:t>
            </a:r>
            <a:endParaRPr sz="1200" b="0" i="0" u="none" strike="noStrike" cap="none">
              <a:solidFill>
                <a:srgbClr val="0467B8"/>
              </a:solidFill>
              <a:latin typeface="Source Sans Pro"/>
              <a:ea typeface="Source Sans Pro"/>
              <a:cs typeface="Source Sans Pro"/>
              <a:sym typeface="Source Sans Pro"/>
            </a:endParaRPr>
          </a:p>
        </p:txBody>
      </p:sp>
      <p:sp>
        <p:nvSpPr>
          <p:cNvPr id="291" name="Google Shape;291;p4"/>
          <p:cNvSpPr txBox="1"/>
          <p:nvPr/>
        </p:nvSpPr>
        <p:spPr>
          <a:xfrm>
            <a:off x="6193907" y="2838067"/>
            <a:ext cx="357592" cy="233842"/>
          </a:xfrm>
          <a:prstGeom prst="rect">
            <a:avLst/>
          </a:prstGeom>
          <a:solidFill>
            <a:schemeClr val="accent6"/>
          </a:solidFill>
          <a:ln>
            <a:noFill/>
          </a:ln>
        </p:spPr>
        <p:txBody>
          <a:bodyPr spcFirstLastPara="1" wrap="square" lIns="24350" tIns="24350" rIns="24350" bIns="24350" anchor="t" anchorCtr="0">
            <a:spAutoFit/>
          </a:bodyPr>
          <a:lstStyle/>
          <a:p>
            <a:pPr marL="0" marR="0" lvl="0" indent="0" algn="ctr" rtl="0">
              <a:lnSpc>
                <a:spcPct val="100000"/>
              </a:lnSpc>
              <a:spcBef>
                <a:spcPts val="0"/>
              </a:spcBef>
              <a:spcAft>
                <a:spcPts val="0"/>
              </a:spcAft>
              <a:buClr>
                <a:srgbClr val="000000"/>
              </a:buClr>
              <a:buSzPts val="900"/>
              <a:buFont typeface="PT Serif"/>
              <a:buNone/>
            </a:pPr>
            <a:r>
              <a:rPr lang="en-US" sz="1200" b="0" i="0" u="none" strike="noStrike" cap="none">
                <a:solidFill>
                  <a:schemeClr val="dk2"/>
                </a:solidFill>
                <a:latin typeface="Source Sans Pro"/>
                <a:ea typeface="Source Sans Pro"/>
                <a:cs typeface="Source Sans Pro"/>
                <a:sym typeface="Source Sans Pro"/>
              </a:rPr>
              <a:t>12</a:t>
            </a:r>
            <a:endParaRPr sz="1200" b="0" i="0" u="none" strike="noStrike" cap="none">
              <a:solidFill>
                <a:schemeClr val="dk2"/>
              </a:solidFill>
              <a:latin typeface="Source Sans Pro"/>
              <a:ea typeface="Source Sans Pro"/>
              <a:cs typeface="Source Sans Pro"/>
              <a:sym typeface="Source Sans Pro"/>
            </a:endParaRPr>
          </a:p>
        </p:txBody>
      </p:sp>
      <p:sp>
        <p:nvSpPr>
          <p:cNvPr id="292" name="Google Shape;292;p4"/>
          <p:cNvSpPr txBox="1"/>
          <p:nvPr/>
        </p:nvSpPr>
        <p:spPr>
          <a:xfrm>
            <a:off x="6596324" y="2838067"/>
            <a:ext cx="357592" cy="233842"/>
          </a:xfrm>
          <a:prstGeom prst="rect">
            <a:avLst/>
          </a:prstGeom>
          <a:solidFill>
            <a:schemeClr val="accent6"/>
          </a:solidFill>
          <a:ln>
            <a:noFill/>
          </a:ln>
        </p:spPr>
        <p:txBody>
          <a:bodyPr spcFirstLastPara="1" wrap="square" lIns="24350" tIns="24350" rIns="24350" bIns="24350" anchor="t" anchorCtr="0">
            <a:spAutoFit/>
          </a:bodyPr>
          <a:lstStyle/>
          <a:p>
            <a:pPr marL="0" marR="0" lvl="0" indent="0" algn="ctr" rtl="0">
              <a:lnSpc>
                <a:spcPct val="100000"/>
              </a:lnSpc>
              <a:spcBef>
                <a:spcPts val="0"/>
              </a:spcBef>
              <a:spcAft>
                <a:spcPts val="0"/>
              </a:spcAft>
              <a:buClr>
                <a:srgbClr val="000000"/>
              </a:buClr>
              <a:buSzPts val="900"/>
              <a:buFont typeface="PT Serif"/>
              <a:buNone/>
            </a:pPr>
            <a:r>
              <a:rPr lang="en-US" sz="1200" b="0" i="0" u="none" strike="noStrike" cap="none">
                <a:solidFill>
                  <a:schemeClr val="dk2"/>
                </a:solidFill>
                <a:latin typeface="Source Sans Pro"/>
                <a:ea typeface="Source Sans Pro"/>
                <a:cs typeface="Source Sans Pro"/>
                <a:sym typeface="Source Sans Pro"/>
              </a:rPr>
              <a:t>13</a:t>
            </a:r>
            <a:endParaRPr sz="1200" b="0" i="0" u="none" strike="noStrike" cap="none">
              <a:solidFill>
                <a:schemeClr val="dk2"/>
              </a:solidFill>
              <a:latin typeface="Source Sans Pro"/>
              <a:ea typeface="Source Sans Pro"/>
              <a:cs typeface="Source Sans Pro"/>
              <a:sym typeface="Source Sans Pro"/>
            </a:endParaRPr>
          </a:p>
        </p:txBody>
      </p:sp>
      <p:sp>
        <p:nvSpPr>
          <p:cNvPr id="293" name="Google Shape;293;p4"/>
          <p:cNvSpPr txBox="1"/>
          <p:nvPr/>
        </p:nvSpPr>
        <p:spPr>
          <a:xfrm>
            <a:off x="6998741" y="2838067"/>
            <a:ext cx="357592" cy="233842"/>
          </a:xfrm>
          <a:prstGeom prst="rect">
            <a:avLst/>
          </a:prstGeom>
          <a:solidFill>
            <a:schemeClr val="accent6"/>
          </a:solidFill>
          <a:ln>
            <a:noFill/>
          </a:ln>
        </p:spPr>
        <p:txBody>
          <a:bodyPr spcFirstLastPara="1" wrap="square" lIns="24350" tIns="24350" rIns="24350" bIns="24350" anchor="t" anchorCtr="0">
            <a:spAutoFit/>
          </a:bodyPr>
          <a:lstStyle/>
          <a:p>
            <a:pPr marL="0" marR="0" lvl="0" indent="0" algn="ctr" rtl="0">
              <a:lnSpc>
                <a:spcPct val="100000"/>
              </a:lnSpc>
              <a:spcBef>
                <a:spcPts val="0"/>
              </a:spcBef>
              <a:spcAft>
                <a:spcPts val="0"/>
              </a:spcAft>
              <a:buClr>
                <a:srgbClr val="000000"/>
              </a:buClr>
              <a:buSzPts val="900"/>
              <a:buFont typeface="PT Serif"/>
              <a:buNone/>
            </a:pPr>
            <a:r>
              <a:rPr lang="en-US" sz="1200" b="0" i="0" u="none" strike="noStrike" cap="none">
                <a:solidFill>
                  <a:schemeClr val="dk2"/>
                </a:solidFill>
                <a:latin typeface="Source Sans Pro"/>
                <a:ea typeface="Source Sans Pro"/>
                <a:cs typeface="Source Sans Pro"/>
                <a:sym typeface="Source Sans Pro"/>
              </a:rPr>
              <a:t>14</a:t>
            </a:r>
            <a:endParaRPr sz="1200" b="0" i="0" u="none" strike="noStrike" cap="none">
              <a:solidFill>
                <a:schemeClr val="dk2"/>
              </a:solidFill>
              <a:latin typeface="Source Sans Pro"/>
              <a:ea typeface="Source Sans Pro"/>
              <a:cs typeface="Source Sans Pro"/>
              <a:sym typeface="Source Sans Pro"/>
            </a:endParaRPr>
          </a:p>
        </p:txBody>
      </p:sp>
      <p:sp>
        <p:nvSpPr>
          <p:cNvPr id="294" name="Google Shape;294;p4"/>
          <p:cNvSpPr txBox="1"/>
          <p:nvPr/>
        </p:nvSpPr>
        <p:spPr>
          <a:xfrm>
            <a:off x="7401158" y="2838067"/>
            <a:ext cx="357592" cy="233842"/>
          </a:xfrm>
          <a:prstGeom prst="rect">
            <a:avLst/>
          </a:prstGeom>
          <a:solidFill>
            <a:schemeClr val="accent6"/>
          </a:solidFill>
          <a:ln>
            <a:noFill/>
          </a:ln>
        </p:spPr>
        <p:txBody>
          <a:bodyPr spcFirstLastPara="1" wrap="square" lIns="24350" tIns="24350" rIns="24350" bIns="24350" anchor="t" anchorCtr="0">
            <a:spAutoFit/>
          </a:bodyPr>
          <a:lstStyle/>
          <a:p>
            <a:pPr marL="0" marR="0" lvl="0" indent="0" algn="ctr" rtl="0">
              <a:lnSpc>
                <a:spcPct val="100000"/>
              </a:lnSpc>
              <a:spcBef>
                <a:spcPts val="0"/>
              </a:spcBef>
              <a:spcAft>
                <a:spcPts val="0"/>
              </a:spcAft>
              <a:buClr>
                <a:srgbClr val="000000"/>
              </a:buClr>
              <a:buSzPts val="900"/>
              <a:buFont typeface="PT Serif"/>
              <a:buNone/>
            </a:pPr>
            <a:r>
              <a:rPr lang="en-US" sz="1200" b="0" i="0" u="none" strike="noStrike" cap="none">
                <a:solidFill>
                  <a:schemeClr val="dk2"/>
                </a:solidFill>
                <a:latin typeface="Source Sans Pro"/>
                <a:ea typeface="Source Sans Pro"/>
                <a:cs typeface="Source Sans Pro"/>
                <a:sym typeface="Source Sans Pro"/>
              </a:rPr>
              <a:t>15</a:t>
            </a:r>
            <a:endParaRPr sz="1200" b="0" i="0" u="none" strike="noStrike" cap="none">
              <a:solidFill>
                <a:schemeClr val="dk2"/>
              </a:solidFill>
              <a:latin typeface="Source Sans Pro"/>
              <a:ea typeface="Source Sans Pro"/>
              <a:cs typeface="Source Sans Pro"/>
              <a:sym typeface="Source Sans Pro"/>
            </a:endParaRPr>
          </a:p>
        </p:txBody>
      </p:sp>
      <p:sp>
        <p:nvSpPr>
          <p:cNvPr id="295" name="Google Shape;295;p4"/>
          <p:cNvSpPr txBox="1"/>
          <p:nvPr/>
        </p:nvSpPr>
        <p:spPr>
          <a:xfrm>
            <a:off x="6458879" y="3318148"/>
            <a:ext cx="709687" cy="240192"/>
          </a:xfrm>
          <a:prstGeom prst="rect">
            <a:avLst/>
          </a:prstGeom>
          <a:solidFill>
            <a:schemeClr val="accent2"/>
          </a:solidFill>
          <a:ln>
            <a:noFill/>
          </a:ln>
        </p:spPr>
        <p:txBody>
          <a:bodyPr spcFirstLastPara="1" wrap="square" lIns="24350" tIns="24350" rIns="24350" bIns="24350" anchor="t" anchorCtr="0">
            <a:spAutoFit/>
          </a:bodyPr>
          <a:lstStyle/>
          <a:p>
            <a:pPr marL="0" marR="0" lvl="0" indent="0" algn="ctr" rtl="0">
              <a:lnSpc>
                <a:spcPct val="100000"/>
              </a:lnSpc>
              <a:spcBef>
                <a:spcPts val="0"/>
              </a:spcBef>
              <a:spcAft>
                <a:spcPts val="0"/>
              </a:spcAft>
              <a:buClr>
                <a:srgbClr val="000000"/>
              </a:buClr>
              <a:buSzPts val="900"/>
              <a:buFont typeface="PT Serif"/>
              <a:buNone/>
            </a:pPr>
            <a:r>
              <a:rPr lang="en-US" sz="1200" b="0" i="0" u="none" strike="noStrike" cap="none">
                <a:solidFill>
                  <a:srgbClr val="FDFFFD"/>
                </a:solidFill>
                <a:latin typeface="Source Sans Pro"/>
                <a:ea typeface="Source Sans Pro"/>
                <a:cs typeface="Source Sans Pro"/>
                <a:sym typeface="Source Sans Pro"/>
              </a:rPr>
              <a:t>Mar</a:t>
            </a:r>
            <a:endParaRPr sz="1200" b="0" i="0" u="none" strike="noStrike" cap="none">
              <a:solidFill>
                <a:srgbClr val="FDFFFD"/>
              </a:solidFill>
              <a:latin typeface="Source Sans Pro"/>
              <a:ea typeface="Source Sans Pro"/>
              <a:cs typeface="Source Sans Pro"/>
              <a:sym typeface="Source Sans Pro"/>
            </a:endParaRPr>
          </a:p>
        </p:txBody>
      </p:sp>
      <p:sp>
        <p:nvSpPr>
          <p:cNvPr id="296" name="Google Shape;296;p4"/>
          <p:cNvSpPr txBox="1"/>
          <p:nvPr/>
        </p:nvSpPr>
        <p:spPr>
          <a:xfrm>
            <a:off x="7215219" y="3324497"/>
            <a:ext cx="823894" cy="233843"/>
          </a:xfrm>
          <a:prstGeom prst="rect">
            <a:avLst/>
          </a:prstGeom>
          <a:solidFill>
            <a:schemeClr val="accent6"/>
          </a:solidFill>
          <a:ln>
            <a:noFill/>
          </a:ln>
        </p:spPr>
        <p:txBody>
          <a:bodyPr spcFirstLastPara="1" wrap="square" lIns="24350" tIns="24350" rIns="24350" bIns="24350" anchor="t" anchorCtr="0">
            <a:spAutoFit/>
          </a:bodyPr>
          <a:lstStyle/>
          <a:p>
            <a:pPr marL="0" marR="0" lvl="0" indent="0" algn="ctr" rtl="0">
              <a:lnSpc>
                <a:spcPct val="100000"/>
              </a:lnSpc>
              <a:spcBef>
                <a:spcPts val="0"/>
              </a:spcBef>
              <a:spcAft>
                <a:spcPts val="0"/>
              </a:spcAft>
              <a:buClr>
                <a:srgbClr val="000000"/>
              </a:buClr>
              <a:buSzPts val="900"/>
              <a:buFont typeface="PT Serif"/>
              <a:buNone/>
            </a:pPr>
            <a:r>
              <a:rPr lang="en-US" sz="1200" b="0" i="0" u="none" strike="noStrike" cap="none">
                <a:solidFill>
                  <a:schemeClr val="dk2"/>
                </a:solidFill>
                <a:latin typeface="Source Sans Pro"/>
                <a:ea typeface="Source Sans Pro"/>
                <a:cs typeface="Source Sans Pro"/>
                <a:sym typeface="Source Sans Pro"/>
              </a:rPr>
              <a:t>Apr</a:t>
            </a:r>
            <a:endParaRPr sz="1200" b="0" i="0" u="none" strike="noStrike" cap="none">
              <a:solidFill>
                <a:schemeClr val="dk2"/>
              </a:solidFill>
              <a:latin typeface="Source Sans Pro"/>
              <a:ea typeface="Source Sans Pro"/>
              <a:cs typeface="Source Sans Pro"/>
              <a:sym typeface="Source Sans Pro"/>
            </a:endParaRPr>
          </a:p>
        </p:txBody>
      </p:sp>
      <p:sp>
        <p:nvSpPr>
          <p:cNvPr id="297" name="Google Shape;297;p4"/>
          <p:cNvSpPr txBox="1"/>
          <p:nvPr/>
        </p:nvSpPr>
        <p:spPr>
          <a:xfrm>
            <a:off x="7803575" y="2838067"/>
            <a:ext cx="357592" cy="233842"/>
          </a:xfrm>
          <a:prstGeom prst="rect">
            <a:avLst/>
          </a:prstGeom>
          <a:solidFill>
            <a:schemeClr val="accent6"/>
          </a:solidFill>
          <a:ln>
            <a:noFill/>
          </a:ln>
        </p:spPr>
        <p:txBody>
          <a:bodyPr spcFirstLastPara="1" wrap="square" lIns="24350" tIns="24350" rIns="24350" bIns="24350" anchor="t" anchorCtr="0">
            <a:spAutoFit/>
          </a:bodyPr>
          <a:lstStyle/>
          <a:p>
            <a:pPr marL="0" marR="0" lvl="0" indent="0" algn="ctr" rtl="0">
              <a:lnSpc>
                <a:spcPct val="100000"/>
              </a:lnSpc>
              <a:spcBef>
                <a:spcPts val="0"/>
              </a:spcBef>
              <a:spcAft>
                <a:spcPts val="0"/>
              </a:spcAft>
              <a:buClr>
                <a:srgbClr val="000000"/>
              </a:buClr>
              <a:buSzPts val="900"/>
              <a:buFont typeface="PT Serif"/>
              <a:buNone/>
            </a:pPr>
            <a:r>
              <a:rPr lang="en-US" sz="1200" b="0" i="0" u="none" strike="noStrike" cap="none">
                <a:solidFill>
                  <a:schemeClr val="dk2"/>
                </a:solidFill>
                <a:latin typeface="Source Sans Pro"/>
                <a:ea typeface="Source Sans Pro"/>
                <a:cs typeface="Source Sans Pro"/>
                <a:sym typeface="Source Sans Pro"/>
              </a:rPr>
              <a:t>16</a:t>
            </a:r>
            <a:endParaRPr sz="1200" b="0" i="0" u="none" strike="noStrike" cap="none">
              <a:solidFill>
                <a:schemeClr val="dk2"/>
              </a:solidFill>
              <a:latin typeface="Source Sans Pro"/>
              <a:ea typeface="Source Sans Pro"/>
              <a:cs typeface="Source Sans Pro"/>
              <a:sym typeface="Source Sans Pro"/>
            </a:endParaRPr>
          </a:p>
        </p:txBody>
      </p:sp>
      <p:sp>
        <p:nvSpPr>
          <p:cNvPr id="298" name="Google Shape;298;p4"/>
          <p:cNvSpPr txBox="1"/>
          <p:nvPr/>
        </p:nvSpPr>
        <p:spPr>
          <a:xfrm>
            <a:off x="8205992" y="2838067"/>
            <a:ext cx="357592" cy="233842"/>
          </a:xfrm>
          <a:prstGeom prst="rect">
            <a:avLst/>
          </a:prstGeom>
          <a:solidFill>
            <a:schemeClr val="accent6"/>
          </a:solidFill>
          <a:ln>
            <a:noFill/>
          </a:ln>
        </p:spPr>
        <p:txBody>
          <a:bodyPr spcFirstLastPara="1" wrap="square" lIns="24350" tIns="24350" rIns="24350" bIns="24350" anchor="t" anchorCtr="0">
            <a:spAutoFit/>
          </a:bodyPr>
          <a:lstStyle/>
          <a:p>
            <a:pPr marL="0" marR="0" lvl="0" indent="0" algn="ctr" rtl="0">
              <a:lnSpc>
                <a:spcPct val="100000"/>
              </a:lnSpc>
              <a:spcBef>
                <a:spcPts val="0"/>
              </a:spcBef>
              <a:spcAft>
                <a:spcPts val="0"/>
              </a:spcAft>
              <a:buClr>
                <a:srgbClr val="000000"/>
              </a:buClr>
              <a:buSzPts val="900"/>
              <a:buFont typeface="PT Serif"/>
              <a:buNone/>
            </a:pPr>
            <a:r>
              <a:rPr lang="en-US" sz="1200" b="0" i="0" u="none" strike="noStrike" cap="none">
                <a:solidFill>
                  <a:schemeClr val="dk2"/>
                </a:solidFill>
                <a:latin typeface="Source Sans Pro"/>
                <a:ea typeface="Source Sans Pro"/>
                <a:cs typeface="Source Sans Pro"/>
                <a:sym typeface="Source Sans Pro"/>
              </a:rPr>
              <a:t>17</a:t>
            </a:r>
            <a:endParaRPr sz="1200" b="0" i="0" u="none" strike="noStrike" cap="none">
              <a:solidFill>
                <a:schemeClr val="dk2"/>
              </a:solidFill>
              <a:latin typeface="Source Sans Pro"/>
              <a:ea typeface="Source Sans Pro"/>
              <a:cs typeface="Source Sans Pro"/>
              <a:sym typeface="Source Sans Pro"/>
            </a:endParaRPr>
          </a:p>
        </p:txBody>
      </p:sp>
      <p:sp>
        <p:nvSpPr>
          <p:cNvPr id="299" name="Google Shape;299;p4"/>
          <p:cNvSpPr txBox="1"/>
          <p:nvPr/>
        </p:nvSpPr>
        <p:spPr>
          <a:xfrm>
            <a:off x="8608409" y="2838067"/>
            <a:ext cx="357592" cy="233842"/>
          </a:xfrm>
          <a:prstGeom prst="rect">
            <a:avLst/>
          </a:prstGeom>
          <a:solidFill>
            <a:schemeClr val="accent6"/>
          </a:solidFill>
          <a:ln>
            <a:noFill/>
          </a:ln>
        </p:spPr>
        <p:txBody>
          <a:bodyPr spcFirstLastPara="1" wrap="square" lIns="24350" tIns="24350" rIns="24350" bIns="24350" anchor="t" anchorCtr="0">
            <a:spAutoFit/>
          </a:bodyPr>
          <a:lstStyle/>
          <a:p>
            <a:pPr marL="0" marR="0" lvl="0" indent="0" algn="ctr" rtl="0">
              <a:lnSpc>
                <a:spcPct val="100000"/>
              </a:lnSpc>
              <a:spcBef>
                <a:spcPts val="0"/>
              </a:spcBef>
              <a:spcAft>
                <a:spcPts val="0"/>
              </a:spcAft>
              <a:buClr>
                <a:srgbClr val="000000"/>
              </a:buClr>
              <a:buSzPts val="900"/>
              <a:buFont typeface="PT Serif"/>
              <a:buNone/>
            </a:pPr>
            <a:r>
              <a:rPr lang="en-US" sz="1200" b="0" i="0" u="none" strike="noStrike" cap="none">
                <a:solidFill>
                  <a:schemeClr val="dk2"/>
                </a:solidFill>
                <a:latin typeface="Source Sans Pro"/>
                <a:ea typeface="Source Sans Pro"/>
                <a:cs typeface="Source Sans Pro"/>
                <a:sym typeface="Source Sans Pro"/>
              </a:rPr>
              <a:t>18</a:t>
            </a:r>
            <a:endParaRPr sz="1200" b="0" i="0" u="none" strike="noStrike" cap="none">
              <a:solidFill>
                <a:schemeClr val="dk2"/>
              </a:solidFill>
              <a:latin typeface="Source Sans Pro"/>
              <a:ea typeface="Source Sans Pro"/>
              <a:cs typeface="Source Sans Pro"/>
              <a:sym typeface="Source Sans Pro"/>
            </a:endParaRPr>
          </a:p>
        </p:txBody>
      </p:sp>
      <p:sp>
        <p:nvSpPr>
          <p:cNvPr id="300" name="Google Shape;300;p4"/>
          <p:cNvSpPr txBox="1"/>
          <p:nvPr/>
        </p:nvSpPr>
        <p:spPr>
          <a:xfrm>
            <a:off x="9010826" y="2838067"/>
            <a:ext cx="357592" cy="233842"/>
          </a:xfrm>
          <a:prstGeom prst="rect">
            <a:avLst/>
          </a:prstGeom>
          <a:solidFill>
            <a:schemeClr val="accent6"/>
          </a:solidFill>
          <a:ln>
            <a:noFill/>
          </a:ln>
        </p:spPr>
        <p:txBody>
          <a:bodyPr spcFirstLastPara="1" wrap="square" lIns="24350" tIns="24350" rIns="24350" bIns="24350" anchor="t" anchorCtr="0">
            <a:spAutoFit/>
          </a:bodyPr>
          <a:lstStyle/>
          <a:p>
            <a:pPr marL="0" marR="0" lvl="0" indent="0" algn="ctr" rtl="0">
              <a:lnSpc>
                <a:spcPct val="100000"/>
              </a:lnSpc>
              <a:spcBef>
                <a:spcPts val="0"/>
              </a:spcBef>
              <a:spcAft>
                <a:spcPts val="0"/>
              </a:spcAft>
              <a:buClr>
                <a:srgbClr val="000000"/>
              </a:buClr>
              <a:buSzPts val="900"/>
              <a:buFont typeface="PT Serif"/>
              <a:buNone/>
            </a:pPr>
            <a:r>
              <a:rPr lang="en-US" sz="1200" b="0" i="0" u="none" strike="noStrike" cap="none">
                <a:solidFill>
                  <a:schemeClr val="dk2"/>
                </a:solidFill>
                <a:latin typeface="Source Sans Pro"/>
                <a:ea typeface="Source Sans Pro"/>
                <a:cs typeface="Source Sans Pro"/>
                <a:sym typeface="Source Sans Pro"/>
              </a:rPr>
              <a:t>19</a:t>
            </a:r>
            <a:endParaRPr sz="1200" b="0" i="0" u="none" strike="noStrike" cap="none">
              <a:solidFill>
                <a:schemeClr val="dk2"/>
              </a:solidFill>
              <a:latin typeface="Source Sans Pro"/>
              <a:ea typeface="Source Sans Pro"/>
              <a:cs typeface="Source Sans Pro"/>
              <a:sym typeface="Source Sans Pro"/>
            </a:endParaRPr>
          </a:p>
        </p:txBody>
      </p:sp>
      <p:sp>
        <p:nvSpPr>
          <p:cNvPr id="301" name="Google Shape;301;p4"/>
          <p:cNvSpPr txBox="1"/>
          <p:nvPr/>
        </p:nvSpPr>
        <p:spPr>
          <a:xfrm>
            <a:off x="9413243" y="2838067"/>
            <a:ext cx="357592" cy="233842"/>
          </a:xfrm>
          <a:prstGeom prst="rect">
            <a:avLst/>
          </a:prstGeom>
          <a:solidFill>
            <a:schemeClr val="accent6"/>
          </a:solidFill>
          <a:ln>
            <a:noFill/>
          </a:ln>
        </p:spPr>
        <p:txBody>
          <a:bodyPr spcFirstLastPara="1" wrap="square" lIns="24350" tIns="24350" rIns="24350" bIns="24350" anchor="t" anchorCtr="0">
            <a:spAutoFit/>
          </a:bodyPr>
          <a:lstStyle/>
          <a:p>
            <a:pPr marL="0" marR="0" lvl="0" indent="0" algn="ctr" rtl="0">
              <a:lnSpc>
                <a:spcPct val="100000"/>
              </a:lnSpc>
              <a:spcBef>
                <a:spcPts val="0"/>
              </a:spcBef>
              <a:spcAft>
                <a:spcPts val="0"/>
              </a:spcAft>
              <a:buClr>
                <a:srgbClr val="000000"/>
              </a:buClr>
              <a:buSzPts val="900"/>
              <a:buFont typeface="PT Serif"/>
              <a:buNone/>
            </a:pPr>
            <a:r>
              <a:rPr lang="en-US" sz="1200" b="0" i="0" u="none" strike="noStrike" cap="none">
                <a:solidFill>
                  <a:schemeClr val="dk2"/>
                </a:solidFill>
                <a:latin typeface="Source Sans Pro"/>
                <a:ea typeface="Source Sans Pro"/>
                <a:cs typeface="Source Sans Pro"/>
                <a:sym typeface="Source Sans Pro"/>
              </a:rPr>
              <a:t>20</a:t>
            </a:r>
            <a:endParaRPr sz="1200" b="0" i="0" u="none" strike="noStrike" cap="none">
              <a:solidFill>
                <a:schemeClr val="dk2"/>
              </a:solidFill>
              <a:latin typeface="Source Sans Pro"/>
              <a:ea typeface="Source Sans Pro"/>
              <a:cs typeface="Source Sans Pro"/>
              <a:sym typeface="Source Sans Pro"/>
            </a:endParaRPr>
          </a:p>
        </p:txBody>
      </p:sp>
      <p:sp>
        <p:nvSpPr>
          <p:cNvPr id="302" name="Google Shape;302;p4"/>
          <p:cNvSpPr txBox="1"/>
          <p:nvPr/>
        </p:nvSpPr>
        <p:spPr>
          <a:xfrm>
            <a:off x="9815660" y="2838067"/>
            <a:ext cx="357592" cy="233842"/>
          </a:xfrm>
          <a:prstGeom prst="rect">
            <a:avLst/>
          </a:prstGeom>
          <a:solidFill>
            <a:schemeClr val="accent6"/>
          </a:solidFill>
          <a:ln>
            <a:noFill/>
          </a:ln>
        </p:spPr>
        <p:txBody>
          <a:bodyPr spcFirstLastPara="1" wrap="square" lIns="24350" tIns="24350" rIns="24350" bIns="24350" anchor="t" anchorCtr="0">
            <a:spAutoFit/>
          </a:bodyPr>
          <a:lstStyle/>
          <a:p>
            <a:pPr marL="0" marR="0" lvl="0" indent="0" algn="ctr" rtl="0">
              <a:lnSpc>
                <a:spcPct val="100000"/>
              </a:lnSpc>
              <a:spcBef>
                <a:spcPts val="0"/>
              </a:spcBef>
              <a:spcAft>
                <a:spcPts val="0"/>
              </a:spcAft>
              <a:buClr>
                <a:srgbClr val="000000"/>
              </a:buClr>
              <a:buSzPts val="900"/>
              <a:buFont typeface="PT Serif"/>
              <a:buNone/>
            </a:pPr>
            <a:r>
              <a:rPr lang="en-US" sz="1200" b="0" i="0" u="none" strike="noStrike" cap="none">
                <a:solidFill>
                  <a:schemeClr val="dk2"/>
                </a:solidFill>
                <a:latin typeface="Source Sans Pro"/>
                <a:ea typeface="Source Sans Pro"/>
                <a:cs typeface="Source Sans Pro"/>
                <a:sym typeface="Source Sans Pro"/>
              </a:rPr>
              <a:t>21</a:t>
            </a:r>
            <a:endParaRPr sz="1200" b="0" i="0" u="none" strike="noStrike" cap="none">
              <a:solidFill>
                <a:schemeClr val="dk2"/>
              </a:solidFill>
              <a:latin typeface="Source Sans Pro"/>
              <a:ea typeface="Source Sans Pro"/>
              <a:cs typeface="Source Sans Pro"/>
              <a:sym typeface="Source Sans Pro"/>
            </a:endParaRPr>
          </a:p>
        </p:txBody>
      </p:sp>
      <p:sp>
        <p:nvSpPr>
          <p:cNvPr id="303" name="Google Shape;303;p4"/>
          <p:cNvSpPr txBox="1"/>
          <p:nvPr/>
        </p:nvSpPr>
        <p:spPr>
          <a:xfrm>
            <a:off x="10218077" y="2838067"/>
            <a:ext cx="357592" cy="233842"/>
          </a:xfrm>
          <a:prstGeom prst="rect">
            <a:avLst/>
          </a:prstGeom>
          <a:solidFill>
            <a:schemeClr val="accent6"/>
          </a:solidFill>
          <a:ln>
            <a:noFill/>
          </a:ln>
        </p:spPr>
        <p:txBody>
          <a:bodyPr spcFirstLastPara="1" wrap="square" lIns="24350" tIns="24350" rIns="24350" bIns="24350" anchor="t" anchorCtr="0">
            <a:spAutoFit/>
          </a:bodyPr>
          <a:lstStyle/>
          <a:p>
            <a:pPr marL="0" marR="0" lvl="0" indent="0" algn="ctr" rtl="0">
              <a:lnSpc>
                <a:spcPct val="100000"/>
              </a:lnSpc>
              <a:spcBef>
                <a:spcPts val="0"/>
              </a:spcBef>
              <a:spcAft>
                <a:spcPts val="0"/>
              </a:spcAft>
              <a:buClr>
                <a:srgbClr val="000000"/>
              </a:buClr>
              <a:buSzPts val="900"/>
              <a:buFont typeface="PT Serif"/>
              <a:buNone/>
            </a:pPr>
            <a:r>
              <a:rPr lang="en-US" sz="1200" b="0" i="0" u="none" strike="noStrike" cap="none">
                <a:solidFill>
                  <a:schemeClr val="dk2"/>
                </a:solidFill>
                <a:latin typeface="Source Sans Pro"/>
                <a:ea typeface="Source Sans Pro"/>
                <a:cs typeface="Source Sans Pro"/>
                <a:sym typeface="Source Sans Pro"/>
              </a:rPr>
              <a:t>22</a:t>
            </a:r>
            <a:endParaRPr sz="1200" b="0" i="0" u="none" strike="noStrike" cap="none">
              <a:solidFill>
                <a:schemeClr val="dk2"/>
              </a:solidFill>
              <a:latin typeface="Source Sans Pro"/>
              <a:ea typeface="Source Sans Pro"/>
              <a:cs typeface="Source Sans Pro"/>
              <a:sym typeface="Source Sans Pro"/>
            </a:endParaRPr>
          </a:p>
        </p:txBody>
      </p:sp>
      <p:sp>
        <p:nvSpPr>
          <p:cNvPr id="304" name="Google Shape;304;p4"/>
          <p:cNvSpPr txBox="1"/>
          <p:nvPr/>
        </p:nvSpPr>
        <p:spPr>
          <a:xfrm>
            <a:off x="10620494" y="2838067"/>
            <a:ext cx="357592" cy="233842"/>
          </a:xfrm>
          <a:prstGeom prst="rect">
            <a:avLst/>
          </a:prstGeom>
          <a:solidFill>
            <a:schemeClr val="accent6"/>
          </a:solidFill>
          <a:ln>
            <a:noFill/>
          </a:ln>
        </p:spPr>
        <p:txBody>
          <a:bodyPr spcFirstLastPara="1" wrap="square" lIns="24350" tIns="24350" rIns="24350" bIns="24350" anchor="t" anchorCtr="0">
            <a:spAutoFit/>
          </a:bodyPr>
          <a:lstStyle/>
          <a:p>
            <a:pPr marL="0" marR="0" lvl="0" indent="0" algn="ctr" rtl="0">
              <a:lnSpc>
                <a:spcPct val="100000"/>
              </a:lnSpc>
              <a:spcBef>
                <a:spcPts val="0"/>
              </a:spcBef>
              <a:spcAft>
                <a:spcPts val="0"/>
              </a:spcAft>
              <a:buClr>
                <a:srgbClr val="000000"/>
              </a:buClr>
              <a:buSzPts val="900"/>
              <a:buFont typeface="PT Serif"/>
              <a:buNone/>
            </a:pPr>
            <a:r>
              <a:rPr lang="en-US" sz="1200" b="0" i="0" u="none" strike="noStrike" cap="none">
                <a:solidFill>
                  <a:schemeClr val="dk2"/>
                </a:solidFill>
                <a:latin typeface="Source Sans Pro"/>
                <a:ea typeface="Source Sans Pro"/>
                <a:cs typeface="Source Sans Pro"/>
                <a:sym typeface="Source Sans Pro"/>
              </a:rPr>
              <a:t>23</a:t>
            </a:r>
            <a:endParaRPr sz="1200" b="0" i="0" u="none" strike="noStrike" cap="none">
              <a:solidFill>
                <a:schemeClr val="dk2"/>
              </a:solidFill>
              <a:latin typeface="Source Sans Pro"/>
              <a:ea typeface="Source Sans Pro"/>
              <a:cs typeface="Source Sans Pro"/>
              <a:sym typeface="Source Sans Pro"/>
            </a:endParaRPr>
          </a:p>
        </p:txBody>
      </p:sp>
      <p:sp>
        <p:nvSpPr>
          <p:cNvPr id="305" name="Google Shape;305;p4"/>
          <p:cNvSpPr txBox="1"/>
          <p:nvPr/>
        </p:nvSpPr>
        <p:spPr>
          <a:xfrm>
            <a:off x="11022911" y="2838067"/>
            <a:ext cx="357592" cy="233842"/>
          </a:xfrm>
          <a:prstGeom prst="rect">
            <a:avLst/>
          </a:prstGeom>
          <a:solidFill>
            <a:schemeClr val="accent6"/>
          </a:solidFill>
          <a:ln>
            <a:noFill/>
          </a:ln>
        </p:spPr>
        <p:txBody>
          <a:bodyPr spcFirstLastPara="1" wrap="square" lIns="24350" tIns="24350" rIns="24350" bIns="24350" anchor="t" anchorCtr="0">
            <a:spAutoFit/>
          </a:bodyPr>
          <a:lstStyle/>
          <a:p>
            <a:pPr marL="0" marR="0" lvl="0" indent="0" algn="ctr" rtl="0">
              <a:lnSpc>
                <a:spcPct val="100000"/>
              </a:lnSpc>
              <a:spcBef>
                <a:spcPts val="0"/>
              </a:spcBef>
              <a:spcAft>
                <a:spcPts val="0"/>
              </a:spcAft>
              <a:buClr>
                <a:srgbClr val="000000"/>
              </a:buClr>
              <a:buSzPts val="900"/>
              <a:buFont typeface="PT Serif"/>
              <a:buNone/>
            </a:pPr>
            <a:r>
              <a:rPr lang="en-US" sz="1200" b="0" i="0" u="none" strike="noStrike" cap="none">
                <a:solidFill>
                  <a:schemeClr val="dk2"/>
                </a:solidFill>
                <a:latin typeface="Source Sans Pro"/>
                <a:ea typeface="Source Sans Pro"/>
                <a:cs typeface="Source Sans Pro"/>
                <a:sym typeface="Source Sans Pro"/>
              </a:rPr>
              <a:t>24</a:t>
            </a:r>
            <a:endParaRPr sz="1200" b="0" i="0" u="none" strike="noStrike" cap="none">
              <a:solidFill>
                <a:schemeClr val="dk2"/>
              </a:solidFill>
              <a:latin typeface="Source Sans Pro"/>
              <a:ea typeface="Source Sans Pro"/>
              <a:cs typeface="Source Sans Pro"/>
              <a:sym typeface="Source Sans Pro"/>
            </a:endParaRPr>
          </a:p>
        </p:txBody>
      </p:sp>
      <p:sp>
        <p:nvSpPr>
          <p:cNvPr id="306" name="Google Shape;306;p4"/>
          <p:cNvSpPr txBox="1"/>
          <p:nvPr/>
        </p:nvSpPr>
        <p:spPr>
          <a:xfrm>
            <a:off x="11425328" y="2838067"/>
            <a:ext cx="357592" cy="233842"/>
          </a:xfrm>
          <a:prstGeom prst="rect">
            <a:avLst/>
          </a:prstGeom>
          <a:solidFill>
            <a:schemeClr val="accent6"/>
          </a:solidFill>
          <a:ln>
            <a:noFill/>
          </a:ln>
        </p:spPr>
        <p:txBody>
          <a:bodyPr spcFirstLastPara="1" wrap="square" lIns="24350" tIns="24350" rIns="24350" bIns="24350" anchor="t" anchorCtr="0">
            <a:spAutoFit/>
          </a:bodyPr>
          <a:lstStyle/>
          <a:p>
            <a:pPr marL="0" marR="0" lvl="0" indent="0" algn="ctr" rtl="0">
              <a:lnSpc>
                <a:spcPct val="100000"/>
              </a:lnSpc>
              <a:spcBef>
                <a:spcPts val="0"/>
              </a:spcBef>
              <a:spcAft>
                <a:spcPts val="0"/>
              </a:spcAft>
              <a:buClr>
                <a:srgbClr val="000000"/>
              </a:buClr>
              <a:buSzPts val="900"/>
              <a:buFont typeface="PT Serif"/>
              <a:buNone/>
            </a:pPr>
            <a:r>
              <a:rPr lang="en-US" sz="1200" b="0" i="0" u="none" strike="noStrike" cap="none">
                <a:solidFill>
                  <a:schemeClr val="dk2"/>
                </a:solidFill>
                <a:latin typeface="Source Sans Pro"/>
                <a:ea typeface="Source Sans Pro"/>
                <a:cs typeface="Source Sans Pro"/>
                <a:sym typeface="Source Sans Pro"/>
              </a:rPr>
              <a:t>25</a:t>
            </a:r>
            <a:endParaRPr sz="1200" b="0" i="0" u="none" strike="noStrike" cap="none">
              <a:solidFill>
                <a:schemeClr val="dk2"/>
              </a:solidFill>
              <a:latin typeface="Source Sans Pro"/>
              <a:ea typeface="Source Sans Pro"/>
              <a:cs typeface="Source Sans Pro"/>
              <a:sym typeface="Source Sans Pro"/>
            </a:endParaRPr>
          </a:p>
        </p:txBody>
      </p:sp>
      <p:sp>
        <p:nvSpPr>
          <p:cNvPr id="307" name="Google Shape;307;p4"/>
          <p:cNvSpPr txBox="1"/>
          <p:nvPr/>
        </p:nvSpPr>
        <p:spPr>
          <a:xfrm>
            <a:off x="8080568" y="3318148"/>
            <a:ext cx="803143" cy="233842"/>
          </a:xfrm>
          <a:prstGeom prst="rect">
            <a:avLst/>
          </a:prstGeom>
          <a:solidFill>
            <a:schemeClr val="accent6"/>
          </a:solidFill>
          <a:ln>
            <a:noFill/>
          </a:ln>
        </p:spPr>
        <p:txBody>
          <a:bodyPr spcFirstLastPara="1" wrap="square" lIns="24350" tIns="24350" rIns="24350" bIns="24350" anchor="t" anchorCtr="0">
            <a:spAutoFit/>
          </a:bodyPr>
          <a:lstStyle/>
          <a:p>
            <a:pPr marL="0" marR="0" lvl="0" indent="0" algn="ctr" rtl="0">
              <a:lnSpc>
                <a:spcPct val="100000"/>
              </a:lnSpc>
              <a:spcBef>
                <a:spcPts val="0"/>
              </a:spcBef>
              <a:spcAft>
                <a:spcPts val="0"/>
              </a:spcAft>
              <a:buClr>
                <a:srgbClr val="000000"/>
              </a:buClr>
              <a:buSzPts val="900"/>
              <a:buFont typeface="PT Serif"/>
              <a:buNone/>
            </a:pPr>
            <a:r>
              <a:rPr lang="en-US" sz="1200" b="0" i="0" u="none" strike="noStrike" cap="none">
                <a:solidFill>
                  <a:schemeClr val="dk2"/>
                </a:solidFill>
                <a:latin typeface="Source Sans Pro"/>
                <a:ea typeface="Source Sans Pro"/>
                <a:cs typeface="Source Sans Pro"/>
                <a:sym typeface="Source Sans Pro"/>
              </a:rPr>
              <a:t>May</a:t>
            </a:r>
            <a:endParaRPr sz="1200" b="0" i="0" u="none" strike="noStrike" cap="none">
              <a:solidFill>
                <a:schemeClr val="dk2"/>
              </a:solidFill>
              <a:latin typeface="Source Sans Pro"/>
              <a:ea typeface="Source Sans Pro"/>
              <a:cs typeface="Source Sans Pro"/>
              <a:sym typeface="Source Sans Pro"/>
            </a:endParaRPr>
          </a:p>
        </p:txBody>
      </p:sp>
      <p:sp>
        <p:nvSpPr>
          <p:cNvPr id="308" name="Google Shape;308;p4"/>
          <p:cNvSpPr txBox="1"/>
          <p:nvPr/>
        </p:nvSpPr>
        <p:spPr>
          <a:xfrm>
            <a:off x="8930364" y="3318148"/>
            <a:ext cx="774989" cy="233842"/>
          </a:xfrm>
          <a:prstGeom prst="rect">
            <a:avLst/>
          </a:prstGeom>
          <a:solidFill>
            <a:schemeClr val="accent6"/>
          </a:solidFill>
          <a:ln>
            <a:noFill/>
          </a:ln>
        </p:spPr>
        <p:txBody>
          <a:bodyPr spcFirstLastPara="1" wrap="square" lIns="24350" tIns="24350" rIns="24350" bIns="24350" anchor="t" anchorCtr="0">
            <a:spAutoFit/>
          </a:bodyPr>
          <a:lstStyle/>
          <a:p>
            <a:pPr marL="0" marR="0" lvl="0" indent="0" algn="ctr" rtl="0">
              <a:lnSpc>
                <a:spcPct val="100000"/>
              </a:lnSpc>
              <a:spcBef>
                <a:spcPts val="0"/>
              </a:spcBef>
              <a:spcAft>
                <a:spcPts val="0"/>
              </a:spcAft>
              <a:buClr>
                <a:srgbClr val="000000"/>
              </a:buClr>
              <a:buSzPts val="900"/>
              <a:buFont typeface="PT Serif"/>
              <a:buNone/>
            </a:pPr>
            <a:r>
              <a:rPr lang="en-US" sz="1200" b="0" i="0" u="none" strike="noStrike" cap="none">
                <a:solidFill>
                  <a:schemeClr val="dk2"/>
                </a:solidFill>
                <a:latin typeface="Source Sans Pro"/>
                <a:ea typeface="Source Sans Pro"/>
                <a:cs typeface="Source Sans Pro"/>
                <a:sym typeface="Source Sans Pro"/>
              </a:rPr>
              <a:t>Jun</a:t>
            </a:r>
            <a:endParaRPr sz="1200" b="0" i="0" u="none" strike="noStrike" cap="none">
              <a:solidFill>
                <a:schemeClr val="dk2"/>
              </a:solidFill>
              <a:latin typeface="Source Sans Pro"/>
              <a:ea typeface="Source Sans Pro"/>
              <a:cs typeface="Source Sans Pro"/>
              <a:sym typeface="Source Sans Pro"/>
            </a:endParaRPr>
          </a:p>
        </p:txBody>
      </p:sp>
      <p:sp>
        <p:nvSpPr>
          <p:cNvPr id="309" name="Google Shape;309;p4"/>
          <p:cNvSpPr txBox="1"/>
          <p:nvPr/>
        </p:nvSpPr>
        <p:spPr>
          <a:xfrm>
            <a:off x="9746808" y="3318148"/>
            <a:ext cx="852888" cy="233842"/>
          </a:xfrm>
          <a:prstGeom prst="rect">
            <a:avLst/>
          </a:prstGeom>
          <a:solidFill>
            <a:schemeClr val="accent6"/>
          </a:solidFill>
          <a:ln>
            <a:noFill/>
          </a:ln>
        </p:spPr>
        <p:txBody>
          <a:bodyPr spcFirstLastPara="1" wrap="square" lIns="24350" tIns="24350" rIns="24350" bIns="24350" anchor="t" anchorCtr="0">
            <a:spAutoFit/>
          </a:bodyPr>
          <a:lstStyle/>
          <a:p>
            <a:pPr marL="0" marR="0" lvl="0" indent="0" algn="ctr" rtl="0">
              <a:lnSpc>
                <a:spcPct val="100000"/>
              </a:lnSpc>
              <a:spcBef>
                <a:spcPts val="0"/>
              </a:spcBef>
              <a:spcAft>
                <a:spcPts val="0"/>
              </a:spcAft>
              <a:buClr>
                <a:srgbClr val="000000"/>
              </a:buClr>
              <a:buSzPts val="900"/>
              <a:buFont typeface="PT Serif"/>
              <a:buNone/>
            </a:pPr>
            <a:r>
              <a:rPr lang="en-US" sz="1200" b="0" i="0" u="none" strike="noStrike" cap="none">
                <a:solidFill>
                  <a:schemeClr val="dk2"/>
                </a:solidFill>
                <a:latin typeface="Source Sans Pro"/>
                <a:ea typeface="Source Sans Pro"/>
                <a:cs typeface="Source Sans Pro"/>
                <a:sym typeface="Source Sans Pro"/>
              </a:rPr>
              <a:t>Jul</a:t>
            </a:r>
            <a:endParaRPr sz="1200" b="0" i="0" u="none" strike="noStrike" cap="none">
              <a:solidFill>
                <a:schemeClr val="dk2"/>
              </a:solidFill>
              <a:latin typeface="Source Sans Pro"/>
              <a:ea typeface="Source Sans Pro"/>
              <a:cs typeface="Source Sans Pro"/>
              <a:sym typeface="Source Sans Pro"/>
            </a:endParaRPr>
          </a:p>
        </p:txBody>
      </p:sp>
      <p:sp>
        <p:nvSpPr>
          <p:cNvPr id="310" name="Google Shape;310;p4"/>
          <p:cNvSpPr txBox="1"/>
          <p:nvPr/>
        </p:nvSpPr>
        <p:spPr>
          <a:xfrm>
            <a:off x="10647770" y="3318148"/>
            <a:ext cx="852888" cy="233842"/>
          </a:xfrm>
          <a:prstGeom prst="rect">
            <a:avLst/>
          </a:prstGeom>
          <a:solidFill>
            <a:schemeClr val="accent6"/>
          </a:solidFill>
          <a:ln>
            <a:noFill/>
          </a:ln>
        </p:spPr>
        <p:txBody>
          <a:bodyPr spcFirstLastPara="1" wrap="square" lIns="24350" tIns="24350" rIns="24350" bIns="24350" anchor="t" anchorCtr="0">
            <a:spAutoFit/>
          </a:bodyPr>
          <a:lstStyle/>
          <a:p>
            <a:pPr marL="0" marR="0" lvl="0" indent="0" algn="ctr" rtl="0">
              <a:lnSpc>
                <a:spcPct val="100000"/>
              </a:lnSpc>
              <a:spcBef>
                <a:spcPts val="0"/>
              </a:spcBef>
              <a:spcAft>
                <a:spcPts val="0"/>
              </a:spcAft>
              <a:buClr>
                <a:srgbClr val="000000"/>
              </a:buClr>
              <a:buSzPts val="900"/>
              <a:buFont typeface="PT Serif"/>
              <a:buNone/>
            </a:pPr>
            <a:r>
              <a:rPr lang="en-US" sz="1200" b="0" i="0" u="none" strike="noStrike" cap="none">
                <a:solidFill>
                  <a:schemeClr val="dk2"/>
                </a:solidFill>
                <a:latin typeface="Source Sans Pro"/>
                <a:ea typeface="Source Sans Pro"/>
                <a:cs typeface="Source Sans Pro"/>
                <a:sym typeface="Source Sans Pro"/>
              </a:rPr>
              <a:t>Aug</a:t>
            </a:r>
            <a:endParaRPr sz="1200" b="0" i="0" u="none" strike="noStrike" cap="none">
              <a:solidFill>
                <a:schemeClr val="dk2"/>
              </a:solidFill>
              <a:latin typeface="Source Sans Pro"/>
              <a:ea typeface="Source Sans Pro"/>
              <a:cs typeface="Source Sans Pro"/>
              <a:sym typeface="Source Sans Pro"/>
            </a:endParaRPr>
          </a:p>
        </p:txBody>
      </p:sp>
      <p:sp>
        <p:nvSpPr>
          <p:cNvPr id="311" name="Google Shape;311;p4"/>
          <p:cNvSpPr txBox="1"/>
          <p:nvPr/>
        </p:nvSpPr>
        <p:spPr>
          <a:xfrm>
            <a:off x="5205354" y="4475667"/>
            <a:ext cx="2566748" cy="458547"/>
          </a:xfrm>
          <a:prstGeom prst="rect">
            <a:avLst/>
          </a:prstGeom>
          <a:solidFill>
            <a:srgbClr val="0365B9"/>
          </a:solidFill>
          <a:ln>
            <a:noFill/>
          </a:ln>
        </p:spPr>
        <p:txBody>
          <a:bodyPr spcFirstLastPara="1" wrap="square" lIns="121900" tIns="121900" rIns="121900" bIns="121900" anchor="t" anchorCtr="0">
            <a:spAutoFit/>
          </a:bodyPr>
          <a:lstStyle/>
          <a:p>
            <a:pPr marL="0" marR="0" lvl="0" indent="0" algn="l" rtl="0">
              <a:lnSpc>
                <a:spcPct val="115000"/>
              </a:lnSpc>
              <a:spcBef>
                <a:spcPts val="0"/>
              </a:spcBef>
              <a:spcAft>
                <a:spcPts val="0"/>
              </a:spcAft>
              <a:buClr>
                <a:schemeClr val="lt1"/>
              </a:buClr>
              <a:buSzPts val="1200"/>
              <a:buFont typeface="Source Sans Pro"/>
              <a:buNone/>
            </a:pPr>
            <a:r>
              <a:rPr lang="en-US" sz="1200" b="1" i="0" u="none" strike="noStrike" cap="none">
                <a:solidFill>
                  <a:schemeClr val="lt1"/>
                </a:solidFill>
                <a:latin typeface="Source Sans Pro"/>
                <a:ea typeface="Source Sans Pro"/>
                <a:cs typeface="Source Sans Pro"/>
                <a:sym typeface="Source Sans Pro"/>
              </a:rPr>
              <a:t>1095-B Form</a:t>
            </a:r>
            <a:endParaRPr sz="1200" b="1" i="0" u="none" strike="noStrike" cap="none">
              <a:solidFill>
                <a:schemeClr val="lt1"/>
              </a:solidFill>
              <a:latin typeface="Source Sans Pro"/>
              <a:ea typeface="Source Sans Pro"/>
              <a:cs typeface="Source Sans Pro"/>
              <a:sym typeface="Source Sans Pro"/>
            </a:endParaRPr>
          </a:p>
        </p:txBody>
      </p:sp>
      <p:sp>
        <p:nvSpPr>
          <p:cNvPr id="312" name="Google Shape;312;p4"/>
          <p:cNvSpPr txBox="1"/>
          <p:nvPr/>
        </p:nvSpPr>
        <p:spPr>
          <a:xfrm>
            <a:off x="6716150" y="5053705"/>
            <a:ext cx="1054581" cy="615513"/>
          </a:xfrm>
          <a:prstGeom prst="rect">
            <a:avLst/>
          </a:prstGeom>
          <a:solidFill>
            <a:schemeClr val="accent6"/>
          </a:solidFill>
          <a:ln>
            <a:noFill/>
          </a:ln>
        </p:spPr>
        <p:txBody>
          <a:bodyPr spcFirstLastPara="1" wrap="square" lIns="121900" tIns="121900" rIns="121900" bIns="121900" anchor="t" anchorCtr="0">
            <a:spAutoFit/>
          </a:bodyPr>
          <a:lstStyle/>
          <a:p>
            <a:pPr>
              <a:buSzPts val="900"/>
            </a:pPr>
            <a:r>
              <a:rPr lang="en-US" sz="1200" b="1">
                <a:solidFill>
                  <a:schemeClr val="dk2"/>
                </a:solidFill>
                <a:latin typeface="Source Sans Pro"/>
                <a:ea typeface="Source Sans Pro"/>
                <a:cs typeface="Source Sans Pro"/>
                <a:sym typeface="Source Sans Pro"/>
              </a:rPr>
              <a:t>Community Care</a:t>
            </a:r>
            <a:endParaRPr lang="en-US" sz="1200" b="1" i="0" u="none" strike="noStrike" cap="none">
              <a:solidFill>
                <a:schemeClr val="dk2"/>
              </a:solidFill>
              <a:latin typeface="Source Sans Pro"/>
              <a:ea typeface="Source Sans Pro"/>
              <a:cs typeface="Source Sans Pro"/>
            </a:endParaRPr>
          </a:p>
        </p:txBody>
      </p:sp>
      <p:sp>
        <p:nvSpPr>
          <p:cNvPr id="313" name="Google Shape;313;p4"/>
          <p:cNvSpPr txBox="1"/>
          <p:nvPr/>
        </p:nvSpPr>
        <p:spPr>
          <a:xfrm>
            <a:off x="4918343" y="2149475"/>
            <a:ext cx="2743200" cy="307777"/>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565956"/>
              </a:buClr>
              <a:buSzPts val="1400"/>
              <a:buFont typeface="PT Serif"/>
              <a:buNone/>
            </a:pPr>
            <a:r>
              <a:rPr lang="en-US" sz="1400" b="0" i="0" u="none" strike="noStrike" cap="none">
                <a:solidFill>
                  <a:srgbClr val="565956"/>
                </a:solidFill>
                <a:latin typeface="PT Serif"/>
                <a:ea typeface="PT Serif"/>
                <a:cs typeface="PT Serif"/>
                <a:sym typeface="PT Serif"/>
              </a:rPr>
              <a:t>CY 2022</a:t>
            </a:r>
            <a:endParaRPr sz="1800" b="0" i="0" u="none" strike="noStrike" cap="none">
              <a:solidFill>
                <a:schemeClr val="dk1"/>
              </a:solidFill>
              <a:latin typeface="Calibri"/>
              <a:ea typeface="Calibri"/>
              <a:cs typeface="Calibri"/>
              <a:sym typeface="Calibri"/>
            </a:endParaRPr>
          </a:p>
        </p:txBody>
      </p:sp>
      <p:sp>
        <p:nvSpPr>
          <p:cNvPr id="314" name="Google Shape;314;p4"/>
          <p:cNvSpPr txBox="1"/>
          <p:nvPr/>
        </p:nvSpPr>
        <p:spPr>
          <a:xfrm>
            <a:off x="1262556" y="2143124"/>
            <a:ext cx="2743200" cy="307777"/>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565956"/>
              </a:buClr>
              <a:buSzPts val="1400"/>
              <a:buFont typeface="PT Serif"/>
              <a:buNone/>
            </a:pPr>
            <a:r>
              <a:rPr lang="en-US" sz="1400" b="0" i="0" u="none" strike="noStrike" cap="none">
                <a:solidFill>
                  <a:srgbClr val="565956"/>
                </a:solidFill>
                <a:latin typeface="PT Serif"/>
                <a:ea typeface="PT Serif"/>
                <a:cs typeface="PT Serif"/>
                <a:sym typeface="PT Serif"/>
              </a:rPr>
              <a:t>CY 2021</a:t>
            </a:r>
            <a:endParaRPr sz="1800" b="0" i="0" u="none" strike="noStrike" cap="none">
              <a:solidFill>
                <a:schemeClr val="dk1"/>
              </a:solidFill>
              <a:latin typeface="Calibri"/>
              <a:ea typeface="Calibri"/>
              <a:cs typeface="Calibri"/>
              <a:sym typeface="Calibri"/>
            </a:endParaRPr>
          </a:p>
        </p:txBody>
      </p:sp>
      <p:grpSp>
        <p:nvGrpSpPr>
          <p:cNvPr id="315" name="Google Shape;315;p4"/>
          <p:cNvGrpSpPr/>
          <p:nvPr/>
        </p:nvGrpSpPr>
        <p:grpSpPr>
          <a:xfrm>
            <a:off x="7127865" y="1790479"/>
            <a:ext cx="1351008" cy="4461457"/>
            <a:chOff x="5416154" y="1306817"/>
            <a:chExt cx="1351008" cy="4461457"/>
          </a:xfrm>
        </p:grpSpPr>
        <p:cxnSp>
          <p:nvCxnSpPr>
            <p:cNvPr id="316" name="Google Shape;316;p4"/>
            <p:cNvCxnSpPr/>
            <p:nvPr/>
          </p:nvCxnSpPr>
          <p:spPr>
            <a:xfrm>
              <a:off x="6086666" y="1493924"/>
              <a:ext cx="8833" cy="4274350"/>
            </a:xfrm>
            <a:prstGeom prst="straightConnector1">
              <a:avLst/>
            </a:prstGeom>
            <a:noFill/>
            <a:ln w="12700" cap="flat" cmpd="sng">
              <a:solidFill>
                <a:srgbClr val="A1AEBF"/>
              </a:solidFill>
              <a:prstDash val="solid"/>
              <a:round/>
              <a:headEnd type="none" w="sm" len="sm"/>
              <a:tailEnd type="none" w="sm" len="sm"/>
            </a:ln>
          </p:spPr>
        </p:cxnSp>
        <p:grpSp>
          <p:nvGrpSpPr>
            <p:cNvPr id="317" name="Google Shape;317;p4"/>
            <p:cNvGrpSpPr/>
            <p:nvPr/>
          </p:nvGrpSpPr>
          <p:grpSpPr>
            <a:xfrm>
              <a:off x="5416154" y="1306817"/>
              <a:ext cx="1351008" cy="440384"/>
              <a:chOff x="5536804" y="1338567"/>
              <a:chExt cx="1351008" cy="440384"/>
            </a:xfrm>
          </p:grpSpPr>
          <p:sp>
            <p:nvSpPr>
              <p:cNvPr id="318" name="Google Shape;318;p4"/>
              <p:cNvSpPr/>
              <p:nvPr/>
            </p:nvSpPr>
            <p:spPr>
              <a:xfrm>
                <a:off x="5536804" y="1338567"/>
                <a:ext cx="1351008" cy="350972"/>
              </a:xfrm>
              <a:prstGeom prst="roundRect">
                <a:avLst>
                  <a:gd name="adj" fmla="val 16667"/>
                </a:avLst>
              </a:prstGeom>
              <a:solidFill>
                <a:schemeClr val="accent6"/>
              </a:solidFill>
              <a:ln>
                <a:noFill/>
              </a:ln>
            </p:spPr>
            <p:txBody>
              <a:bodyPr spcFirstLastPara="1" wrap="square" lIns="91425" tIns="45700" rIns="91425" bIns="45700" anchor="ctr" anchorCtr="0">
                <a:noAutofit/>
              </a:bodyPr>
              <a:lstStyle/>
              <a:p>
                <a:pPr algn="ctr"/>
                <a:r>
                  <a:rPr lang="en-US" sz="1250" b="1">
                    <a:solidFill>
                      <a:schemeClr val="accent1"/>
                    </a:solidFill>
                    <a:latin typeface="Source Sans Pro Semibold"/>
                    <a:ea typeface="Source Sans Pro Semibold"/>
                    <a:sym typeface="Source Sans Pro"/>
                  </a:rPr>
                  <a:t>WE ARE HERE</a:t>
                </a:r>
                <a:endParaRPr lang="en-US" sz="1250">
                  <a:solidFill>
                    <a:schemeClr val="accent1"/>
                  </a:solidFill>
                  <a:ea typeface="Source Sans Pro"/>
                </a:endParaRPr>
              </a:p>
            </p:txBody>
          </p:sp>
          <p:sp>
            <p:nvSpPr>
              <p:cNvPr id="319" name="Google Shape;319;p4"/>
              <p:cNvSpPr/>
              <p:nvPr/>
            </p:nvSpPr>
            <p:spPr>
              <a:xfrm rot="10800000">
                <a:off x="6147203" y="1692245"/>
                <a:ext cx="127346" cy="86706"/>
              </a:xfrm>
              <a:prstGeom prst="triangle">
                <a:avLst>
                  <a:gd name="adj" fmla="val 50000"/>
                </a:avLst>
              </a:prstGeom>
              <a:solidFill>
                <a:schemeClr val="accent6"/>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400"/>
                  <a:buFont typeface="Calibri"/>
                  <a:buNone/>
                </a:pPr>
                <a:endParaRPr sz="1400" b="0" i="0" u="none" strike="noStrike" cap="none">
                  <a:solidFill>
                    <a:schemeClr val="lt1"/>
                  </a:solidFill>
                  <a:latin typeface="Arial"/>
                  <a:ea typeface="Arial"/>
                  <a:cs typeface="Arial"/>
                  <a:sym typeface="Arial"/>
                </a:endParaRPr>
              </a:p>
            </p:txBody>
          </p:sp>
        </p:grpSp>
      </p:grpSp>
      <p:sp>
        <p:nvSpPr>
          <p:cNvPr id="61" name="Google Shape;311;p4">
            <a:extLst>
              <a:ext uri="{FF2B5EF4-FFF2-40B4-BE49-F238E27FC236}">
                <a16:creationId xmlns:a16="http://schemas.microsoft.com/office/drawing/2014/main" id="{C51DA092-9C64-E1F6-D5F1-DF5C36135B45}"/>
              </a:ext>
            </a:extLst>
          </p:cNvPr>
          <p:cNvSpPr txBox="1"/>
          <p:nvPr/>
        </p:nvSpPr>
        <p:spPr>
          <a:xfrm>
            <a:off x="7834410" y="4475667"/>
            <a:ext cx="3765250" cy="458547"/>
          </a:xfrm>
          <a:prstGeom prst="rect">
            <a:avLst/>
          </a:prstGeom>
          <a:solidFill>
            <a:srgbClr val="0365B9">
              <a:alpha val="32000"/>
            </a:srgbClr>
          </a:solidFill>
          <a:ln>
            <a:noFill/>
          </a:ln>
        </p:spPr>
        <p:txBody>
          <a:bodyPr spcFirstLastPara="1" wrap="square" lIns="121900" tIns="121900" rIns="121900" bIns="121900" anchor="t" anchorCtr="0">
            <a:spAutoFit/>
          </a:bodyPr>
          <a:lstStyle/>
          <a:p>
            <a:pPr>
              <a:lnSpc>
                <a:spcPct val="115000"/>
              </a:lnSpc>
              <a:buClr>
                <a:schemeClr val="lt1"/>
              </a:buClr>
              <a:buSzPts val="1200"/>
              <a:buFont typeface="Source Sans Pro"/>
            </a:pPr>
            <a:r>
              <a:rPr lang="en-US" sz="1200" b="1">
                <a:solidFill>
                  <a:schemeClr val="tx1">
                    <a:lumMod val="50000"/>
                    <a:lumOff val="50000"/>
                  </a:schemeClr>
                </a:solidFill>
                <a:latin typeface="Source Sans Pro"/>
                <a:ea typeface="Source Sans Pro"/>
                <a:cs typeface="Source Sans Pro"/>
              </a:rPr>
              <a:t>Follow ups as needed</a:t>
            </a:r>
            <a:endParaRPr lang="en-US" sz="1200" b="1" i="0" u="none" strike="noStrike" cap="none">
              <a:solidFill>
                <a:schemeClr val="tx1">
                  <a:lumMod val="50000"/>
                  <a:lumOff val="50000"/>
                </a:schemeClr>
              </a:solidFill>
              <a:latin typeface="Source Sans Pro"/>
              <a:ea typeface="Source Sans Pro"/>
              <a:cs typeface="Source Sans Pro"/>
            </a:endParaRP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342"/>
        <p:cNvGrpSpPr/>
        <p:nvPr/>
      </p:nvGrpSpPr>
      <p:grpSpPr>
        <a:xfrm>
          <a:off x="0" y="0"/>
          <a:ext cx="0" cy="0"/>
          <a:chOff x="0" y="0"/>
          <a:chExt cx="0" cy="0"/>
        </a:xfrm>
      </p:grpSpPr>
      <p:sp>
        <p:nvSpPr>
          <p:cNvPr id="106" name="Google Shape;343;p7">
            <a:extLst>
              <a:ext uri="{FF2B5EF4-FFF2-40B4-BE49-F238E27FC236}">
                <a16:creationId xmlns:a16="http://schemas.microsoft.com/office/drawing/2014/main" id="{F79DDFAB-26D1-7230-AFAD-E8DFDA1DCB82}"/>
              </a:ext>
            </a:extLst>
          </p:cNvPr>
          <p:cNvSpPr/>
          <p:nvPr/>
        </p:nvSpPr>
        <p:spPr>
          <a:xfrm>
            <a:off x="9605911" y="1793567"/>
            <a:ext cx="1883176" cy="4314734"/>
          </a:xfrm>
          <a:prstGeom prst="rect">
            <a:avLst/>
          </a:prstGeom>
          <a:solidFill>
            <a:srgbClr val="D3E9FF">
              <a:alpha val="40000"/>
            </a:srgbClr>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900"/>
              <a:buFont typeface="Calibri"/>
              <a:buNone/>
            </a:pPr>
            <a:endParaRPr sz="900" b="0" i="0" u="none" strike="noStrike" cap="none">
              <a:solidFill>
                <a:srgbClr val="FDFFFD"/>
              </a:solidFill>
              <a:latin typeface="PT Serif"/>
              <a:ea typeface="PT Serif"/>
              <a:cs typeface="PT Serif"/>
              <a:sym typeface="PT Serif"/>
            </a:endParaRPr>
          </a:p>
        </p:txBody>
      </p:sp>
      <p:sp>
        <p:nvSpPr>
          <p:cNvPr id="103" name="Google Shape;372;p7">
            <a:extLst>
              <a:ext uri="{FF2B5EF4-FFF2-40B4-BE49-F238E27FC236}">
                <a16:creationId xmlns:a16="http://schemas.microsoft.com/office/drawing/2014/main" id="{B04D06FE-476F-DCF7-C3DF-A504A11C4BB5}"/>
              </a:ext>
            </a:extLst>
          </p:cNvPr>
          <p:cNvSpPr/>
          <p:nvPr/>
        </p:nvSpPr>
        <p:spPr>
          <a:xfrm>
            <a:off x="7347513" y="4494475"/>
            <a:ext cx="2171036" cy="341888"/>
          </a:xfrm>
          <a:prstGeom prst="rect">
            <a:avLst/>
          </a:prstGeom>
          <a:solidFill>
            <a:schemeClr val="accent6"/>
          </a:solidFill>
          <a:ln w="9525" cap="flat" cmpd="sng">
            <a:solidFill>
              <a:schemeClr val="lt1"/>
            </a:solidFill>
            <a:prstDash val="solid"/>
            <a:round/>
            <a:headEnd type="none" w="sm" len="sm"/>
            <a:tailEnd type="none" w="sm" len="sm"/>
          </a:ln>
        </p:spPr>
        <p:txBody>
          <a:bodyPr spcFirstLastPara="1" wrap="square" lIns="60950" tIns="60925" rIns="60950" bIns="60925" anchor="ctr" anchorCtr="0">
            <a:noAutofit/>
          </a:bodyPr>
          <a:lstStyle/>
          <a:p>
            <a:r>
              <a:rPr lang="en-US" sz="900">
                <a:solidFill>
                  <a:schemeClr val="accent1"/>
                </a:solidFill>
                <a:latin typeface="Source Sans Pro"/>
                <a:ea typeface="Source Sans Pro"/>
                <a:sym typeface="Source Sans Pro"/>
              </a:rPr>
              <a:t>CC Tech Discovery + Current Data &amp; API Landscape</a:t>
            </a:r>
            <a:endParaRPr lang="en-US">
              <a:solidFill>
                <a:schemeClr val="accent1"/>
              </a:solidFill>
            </a:endParaRPr>
          </a:p>
        </p:txBody>
      </p:sp>
      <p:graphicFrame>
        <p:nvGraphicFramePr>
          <p:cNvPr id="2" name="Object 1" hidden="1">
            <a:extLst>
              <a:ext uri="{FF2B5EF4-FFF2-40B4-BE49-F238E27FC236}">
                <a16:creationId xmlns:a16="http://schemas.microsoft.com/office/drawing/2014/main" id="{91E20C5D-5BD2-4B21-955F-CDE71A6075E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841" name="think-cell Slide" r:id="rId5" imgW="395" imgH="396" progId="TCLayout.ActiveDocument.1">
                  <p:embed/>
                </p:oleObj>
              </mc:Choice>
              <mc:Fallback>
                <p:oleObj name="think-cell Slide" r:id="rId5" imgW="395" imgH="396" progId="TCLayout.ActiveDocument.1">
                  <p:embed/>
                  <p:pic>
                    <p:nvPicPr>
                      <p:cNvPr id="2" name="Object 1" hidden="1">
                        <a:extLst>
                          <a:ext uri="{FF2B5EF4-FFF2-40B4-BE49-F238E27FC236}">
                            <a16:creationId xmlns:a16="http://schemas.microsoft.com/office/drawing/2014/main" id="{91E20C5D-5BD2-4B21-955F-CDE71A6075E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140" name="Google Shape;396;p7">
            <a:extLst>
              <a:ext uri="{FF2B5EF4-FFF2-40B4-BE49-F238E27FC236}">
                <a16:creationId xmlns:a16="http://schemas.microsoft.com/office/drawing/2014/main" id="{23C0FF3C-861F-42A1-BD37-345295530B62}"/>
              </a:ext>
            </a:extLst>
          </p:cNvPr>
          <p:cNvCxnSpPr/>
          <p:nvPr/>
        </p:nvCxnSpPr>
        <p:spPr>
          <a:xfrm>
            <a:off x="9546999" y="1746163"/>
            <a:ext cx="0" cy="4345725"/>
          </a:xfrm>
          <a:prstGeom prst="straightConnector1">
            <a:avLst/>
          </a:prstGeom>
          <a:noFill/>
          <a:ln w="9525" cap="flat" cmpd="sng">
            <a:solidFill>
              <a:srgbClr val="7F7F7F"/>
            </a:solidFill>
            <a:prstDash val="solid"/>
            <a:round/>
            <a:headEnd type="none" w="sm" len="sm"/>
            <a:tailEnd type="none" w="sm" len="sm"/>
          </a:ln>
        </p:spPr>
      </p:cxnSp>
      <p:sp>
        <p:nvSpPr>
          <p:cNvPr id="344" name="Google Shape;344;p7"/>
          <p:cNvSpPr txBox="1">
            <a:spLocks noGrp="1"/>
          </p:cNvSpPr>
          <p:nvPr>
            <p:ph type="title"/>
          </p:nvPr>
        </p:nvSpPr>
        <p:spPr>
          <a:xfrm>
            <a:off x="287025" y="380189"/>
            <a:ext cx="11353800" cy="746983"/>
          </a:xfrm>
          <a:prstGeom prst="rect">
            <a:avLst/>
          </a:prstGeom>
          <a:noFill/>
          <a:ln>
            <a:noFill/>
          </a:ln>
        </p:spPr>
        <p:txBody>
          <a:bodyPr spcFirstLastPara="1" wrap="square" lIns="91425" tIns="45700" rIns="91425" bIns="45700" anchor="t" anchorCtr="0">
            <a:normAutofit/>
          </a:bodyPr>
          <a:lstStyle/>
          <a:p>
            <a:r>
              <a:rPr lang="en-US"/>
              <a:t>Current Workplan</a:t>
            </a:r>
            <a:endParaRPr lang="en-US">
              <a:highlight>
                <a:srgbClr val="FFFF00"/>
              </a:highlight>
            </a:endParaRPr>
          </a:p>
        </p:txBody>
      </p:sp>
      <p:sp>
        <p:nvSpPr>
          <p:cNvPr id="345" name="Google Shape;345;p7"/>
          <p:cNvSpPr txBox="1">
            <a:spLocks noGrp="1"/>
          </p:cNvSpPr>
          <p:nvPr>
            <p:ph type="sldNum" idx="12"/>
          </p:nvPr>
        </p:nvSpPr>
        <p:spPr>
          <a:xfrm>
            <a:off x="11474969" y="6363970"/>
            <a:ext cx="406052" cy="365125"/>
          </a:xfrm>
          <a:prstGeom prst="rect">
            <a:avLst/>
          </a:prstGeom>
          <a:noFill/>
          <a:ln>
            <a:noFill/>
          </a:ln>
        </p:spPr>
        <p:txBody>
          <a:bodyPr spcFirstLastPara="1" wrap="square" lIns="91425" tIns="45700" rIns="91425" bIns="45700" anchor="ctr" anchorCtr="0">
            <a:noAutofit/>
          </a:bodyPr>
          <a:lstStyle/>
          <a:p>
            <a:pPr marL="0" lvl="0" indent="0" algn="r" rtl="0">
              <a:spcBef>
                <a:spcPts val="0"/>
              </a:spcBef>
              <a:spcAft>
                <a:spcPts val="0"/>
              </a:spcAft>
              <a:buNone/>
            </a:pPr>
            <a:fld id="{00000000-1234-1234-1234-123412341234}" type="slidenum">
              <a:rPr lang="en-US">
                <a:latin typeface="Source Sans Pro"/>
                <a:ea typeface="Source Sans Pro"/>
                <a:cs typeface="Source Sans Pro"/>
                <a:sym typeface="Source Sans Pro"/>
              </a:rPr>
              <a:t>5</a:t>
            </a:fld>
            <a:endParaRPr>
              <a:latin typeface="Source Sans Pro"/>
              <a:ea typeface="Source Sans Pro"/>
              <a:cs typeface="Source Sans Pro"/>
              <a:sym typeface="Source Sans Pro"/>
            </a:endParaRPr>
          </a:p>
        </p:txBody>
      </p:sp>
      <p:sp>
        <p:nvSpPr>
          <p:cNvPr id="360" name="Google Shape;360;p7"/>
          <p:cNvSpPr txBox="1"/>
          <p:nvPr/>
        </p:nvSpPr>
        <p:spPr>
          <a:xfrm>
            <a:off x="1574492" y="1823730"/>
            <a:ext cx="674520" cy="276999"/>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1" i="0" u="none" strike="noStrike" cap="none">
                <a:solidFill>
                  <a:srgbClr val="202120"/>
                </a:solidFill>
                <a:latin typeface="Source Sans Pro Semibold"/>
                <a:ea typeface="Source Sans Pro Semibold"/>
                <a:cs typeface="Source Sans Pro Semibold"/>
                <a:sym typeface="Source Sans Pro SemiBold"/>
              </a:rPr>
              <a:t>Week 6: 02/23 – 03/02</a:t>
            </a:r>
            <a:endParaRPr sz="900" b="1" i="0" u="none" strike="noStrike" cap="none">
              <a:solidFill>
                <a:srgbClr val="202120"/>
              </a:solidFill>
              <a:latin typeface="Source Sans Pro Semibold"/>
              <a:ea typeface="Source Sans Pro Semibold"/>
              <a:cs typeface="Source Sans Pro Semibold"/>
              <a:sym typeface="Source Sans Pro SemiBold"/>
            </a:endParaRPr>
          </a:p>
        </p:txBody>
      </p:sp>
      <p:sp>
        <p:nvSpPr>
          <p:cNvPr id="361" name="Google Shape;361;p7"/>
          <p:cNvSpPr txBox="1"/>
          <p:nvPr/>
        </p:nvSpPr>
        <p:spPr>
          <a:xfrm>
            <a:off x="2665027" y="1815352"/>
            <a:ext cx="616179" cy="276999"/>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1" i="0" u="none" strike="noStrike" cap="none">
                <a:solidFill>
                  <a:srgbClr val="202120"/>
                </a:solidFill>
                <a:latin typeface="Source Sans Pro Semibold"/>
                <a:ea typeface="Source Sans Pro Semibold"/>
                <a:cs typeface="Source Sans Pro Semibold"/>
                <a:sym typeface="Source Sans Pro SemiBold"/>
              </a:rPr>
              <a:t>Week 7: 03/02- 03/09</a:t>
            </a:r>
            <a:endParaRPr sz="900" b="1" i="0" u="none" strike="noStrike" cap="none">
              <a:solidFill>
                <a:srgbClr val="202120"/>
              </a:solidFill>
              <a:latin typeface="Source Sans Pro Semibold"/>
              <a:ea typeface="Source Sans Pro Semibold"/>
              <a:cs typeface="Source Sans Pro Semibold"/>
              <a:sym typeface="Source Sans Pro SemiBold"/>
            </a:endParaRPr>
          </a:p>
        </p:txBody>
      </p:sp>
      <p:sp>
        <p:nvSpPr>
          <p:cNvPr id="362" name="Google Shape;362;p7"/>
          <p:cNvSpPr txBox="1"/>
          <p:nvPr/>
        </p:nvSpPr>
        <p:spPr>
          <a:xfrm>
            <a:off x="4809012" y="1824270"/>
            <a:ext cx="656498" cy="276999"/>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1" i="0" u="none" strike="noStrike" cap="none">
                <a:solidFill>
                  <a:srgbClr val="202120"/>
                </a:solidFill>
                <a:latin typeface="Source Sans Pro Semibold"/>
                <a:ea typeface="Source Sans Pro Semibold"/>
                <a:cs typeface="Source Sans Pro Semibold"/>
                <a:sym typeface="Source Sans Pro SemiBold"/>
              </a:rPr>
              <a:t>Week 9: 03/16 – 03/23</a:t>
            </a:r>
            <a:endParaRPr sz="900" b="1" i="0" u="none" strike="noStrike" cap="none">
              <a:solidFill>
                <a:srgbClr val="202120"/>
              </a:solidFill>
              <a:latin typeface="Source Sans Pro Semibold"/>
              <a:ea typeface="Source Sans Pro Semibold"/>
              <a:cs typeface="Source Sans Pro Semibold"/>
              <a:sym typeface="Source Sans Pro SemiBold"/>
            </a:endParaRPr>
          </a:p>
        </p:txBody>
      </p:sp>
      <p:sp>
        <p:nvSpPr>
          <p:cNvPr id="363" name="Google Shape;363;p7"/>
          <p:cNvSpPr txBox="1"/>
          <p:nvPr/>
        </p:nvSpPr>
        <p:spPr>
          <a:xfrm>
            <a:off x="3726040" y="1805982"/>
            <a:ext cx="667633" cy="276999"/>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1" i="0" u="none" strike="noStrike" cap="none">
                <a:solidFill>
                  <a:srgbClr val="202120"/>
                </a:solidFill>
                <a:latin typeface="Source Sans Pro Semibold"/>
                <a:ea typeface="Source Sans Pro Semibold"/>
                <a:cs typeface="Source Sans Pro Semibold"/>
                <a:sym typeface="Source Sans Pro SemiBold"/>
              </a:rPr>
              <a:t>Week 8: 03/09 – 03/16</a:t>
            </a:r>
            <a:endParaRPr sz="900" b="1" i="0" u="none" strike="noStrike" cap="none">
              <a:solidFill>
                <a:srgbClr val="202120"/>
              </a:solidFill>
              <a:latin typeface="Source Sans Pro Semibold"/>
              <a:ea typeface="Source Sans Pro Semibold"/>
              <a:cs typeface="Source Sans Pro Semibold"/>
              <a:sym typeface="Source Sans Pro SemiBold"/>
            </a:endParaRPr>
          </a:p>
        </p:txBody>
      </p:sp>
      <p:sp>
        <p:nvSpPr>
          <p:cNvPr id="367" name="Google Shape;367;p7"/>
          <p:cNvSpPr txBox="1"/>
          <p:nvPr/>
        </p:nvSpPr>
        <p:spPr>
          <a:xfrm>
            <a:off x="1561207" y="1571005"/>
            <a:ext cx="616179" cy="138499"/>
          </a:xfrm>
          <a:prstGeom prst="rect">
            <a:avLst/>
          </a:prstGeom>
          <a:noFill/>
          <a:ln>
            <a:noFill/>
          </a:ln>
        </p:spPr>
        <p:txBody>
          <a:bodyPr spcFirstLastPara="1" wrap="square" lIns="0" tIns="0" rIns="0" bIns="0" anchor="b"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1" i="0" u="none" strike="noStrike" cap="none">
                <a:solidFill>
                  <a:srgbClr val="202120"/>
                </a:solidFill>
                <a:latin typeface="Source Sans Pro Semibold"/>
                <a:ea typeface="Source Sans Pro Semibold"/>
                <a:cs typeface="Source Sans Pro Semibold"/>
                <a:sym typeface="Source Sans Pro SemiBold"/>
              </a:rPr>
              <a:t>SPRINT 3</a:t>
            </a:r>
            <a:endParaRPr/>
          </a:p>
        </p:txBody>
      </p:sp>
      <p:sp>
        <p:nvSpPr>
          <p:cNvPr id="368" name="Google Shape;368;p7"/>
          <p:cNvSpPr txBox="1"/>
          <p:nvPr/>
        </p:nvSpPr>
        <p:spPr>
          <a:xfrm>
            <a:off x="3644286" y="1571005"/>
            <a:ext cx="616179" cy="138499"/>
          </a:xfrm>
          <a:prstGeom prst="rect">
            <a:avLst/>
          </a:prstGeom>
          <a:noFill/>
          <a:ln>
            <a:noFill/>
          </a:ln>
        </p:spPr>
        <p:txBody>
          <a:bodyPr spcFirstLastPara="1" wrap="square" lIns="0" tIns="0" rIns="0" bIns="0" anchor="b"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1" i="0" u="none" strike="noStrike" cap="none">
                <a:solidFill>
                  <a:srgbClr val="202120"/>
                </a:solidFill>
                <a:latin typeface="Source Sans Pro Semibold"/>
                <a:ea typeface="Source Sans Pro Semibold"/>
                <a:cs typeface="Source Sans Pro Semibold"/>
                <a:sym typeface="Source Sans Pro SemiBold"/>
              </a:rPr>
              <a:t>SPRINT 4</a:t>
            </a:r>
            <a:endParaRPr/>
          </a:p>
        </p:txBody>
      </p:sp>
      <p:sp>
        <p:nvSpPr>
          <p:cNvPr id="369" name="Google Shape;369;p7"/>
          <p:cNvSpPr txBox="1"/>
          <p:nvPr/>
        </p:nvSpPr>
        <p:spPr>
          <a:xfrm>
            <a:off x="5643332" y="1822925"/>
            <a:ext cx="660841" cy="276999"/>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1" i="0" u="none" strike="noStrike" cap="none">
                <a:solidFill>
                  <a:srgbClr val="202120"/>
                </a:solidFill>
                <a:latin typeface="Source Sans Pro Semibold"/>
                <a:ea typeface="Source Sans Pro Semibold"/>
                <a:cs typeface="Source Sans Pro Semibold"/>
                <a:sym typeface="Source Sans Pro SemiBold"/>
              </a:rPr>
              <a:t>Week 10: 03/23 – 03/30</a:t>
            </a:r>
            <a:endParaRPr sz="900" b="1" i="0" u="none" strike="noStrike" cap="none">
              <a:solidFill>
                <a:srgbClr val="202120"/>
              </a:solidFill>
              <a:latin typeface="Source Sans Pro Semibold"/>
              <a:ea typeface="Source Sans Pro Semibold"/>
              <a:cs typeface="Source Sans Pro Semibold"/>
              <a:sym typeface="Source Sans Pro SemiBold"/>
            </a:endParaRPr>
          </a:p>
        </p:txBody>
      </p:sp>
      <p:sp>
        <p:nvSpPr>
          <p:cNvPr id="370" name="Google Shape;370;p7"/>
          <p:cNvSpPr txBox="1"/>
          <p:nvPr/>
        </p:nvSpPr>
        <p:spPr>
          <a:xfrm>
            <a:off x="5608794" y="1571003"/>
            <a:ext cx="845348" cy="138499"/>
          </a:xfrm>
          <a:prstGeom prst="rect">
            <a:avLst/>
          </a:prstGeom>
          <a:noFill/>
          <a:ln>
            <a:noFill/>
          </a:ln>
        </p:spPr>
        <p:txBody>
          <a:bodyPr spcFirstLastPara="1" wrap="square" lIns="0" tIns="0" rIns="0" bIns="0" anchor="b"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1" i="0" u="none" strike="noStrike" cap="none">
                <a:solidFill>
                  <a:srgbClr val="202120"/>
                </a:solidFill>
                <a:latin typeface="Source Sans Pro Semibold"/>
                <a:ea typeface="Source Sans Pro Semibold"/>
                <a:cs typeface="Source Sans Pro Semibold"/>
                <a:sym typeface="Source Sans Pro SemiBold"/>
              </a:rPr>
              <a:t>SPRINT 5</a:t>
            </a:r>
            <a:endParaRPr/>
          </a:p>
        </p:txBody>
      </p:sp>
      <p:sp>
        <p:nvSpPr>
          <p:cNvPr id="372" name="Google Shape;372;p7"/>
          <p:cNvSpPr/>
          <p:nvPr/>
        </p:nvSpPr>
        <p:spPr>
          <a:xfrm>
            <a:off x="5609670" y="4875728"/>
            <a:ext cx="3903358" cy="353180"/>
          </a:xfrm>
          <a:prstGeom prst="rect">
            <a:avLst/>
          </a:prstGeom>
          <a:solidFill>
            <a:schemeClr val="accent6"/>
          </a:solidFill>
          <a:ln w="9525" cap="flat" cmpd="sng">
            <a:solidFill>
              <a:schemeClr val="lt1"/>
            </a:solidFill>
            <a:prstDash val="solid"/>
            <a:round/>
            <a:headEnd type="none" w="sm" len="sm"/>
            <a:tailEnd type="none" w="sm" len="sm"/>
          </a:ln>
        </p:spPr>
        <p:txBody>
          <a:bodyPr spcFirstLastPara="1" wrap="square" lIns="60950" tIns="60925" rIns="60950" bIns="60925" anchor="ctr" anchorCtr="0">
            <a:noAutofit/>
          </a:bodyPr>
          <a:lstStyle/>
          <a:p>
            <a:pPr>
              <a:buSzPts val="900"/>
              <a:buFont typeface="PT Serif"/>
            </a:pPr>
            <a:r>
              <a:rPr lang="en-US" sz="900">
                <a:solidFill>
                  <a:schemeClr val="accent1"/>
                </a:solidFill>
                <a:latin typeface="Source Sans Pro"/>
                <a:ea typeface="Source Sans Pro"/>
                <a:sym typeface="Source Sans Pro"/>
              </a:rPr>
              <a:t>1095-B Test &amp; Refine</a:t>
            </a:r>
            <a:endParaRPr lang="en-US" sz="900">
              <a:solidFill>
                <a:schemeClr val="accent1"/>
              </a:solidFill>
              <a:latin typeface="Source Sans Pro"/>
              <a:ea typeface="Source Sans Pro"/>
            </a:endParaRPr>
          </a:p>
        </p:txBody>
      </p:sp>
      <p:sp>
        <p:nvSpPr>
          <p:cNvPr id="379" name="Google Shape;379;p7"/>
          <p:cNvSpPr txBox="1"/>
          <p:nvPr/>
        </p:nvSpPr>
        <p:spPr>
          <a:xfrm>
            <a:off x="2535687" y="3548205"/>
            <a:ext cx="529394" cy="276999"/>
          </a:xfrm>
          <a:prstGeom prst="rect">
            <a:avLst/>
          </a:prstGeom>
          <a:noFill/>
          <a:ln>
            <a:noFill/>
          </a:ln>
        </p:spPr>
        <p:txBody>
          <a:bodyPr spcFirstLastPara="1" wrap="square" lIns="0" tIns="0" rIns="0" bIns="0" anchor="t" anchorCtr="0">
            <a:spAutoFit/>
          </a:bodyPr>
          <a:lstStyle/>
          <a:p>
            <a:pPr marL="0" marR="0" lvl="0" indent="0" algn="ctr" rtl="0">
              <a:lnSpc>
                <a:spcPct val="100000"/>
              </a:lnSpc>
              <a:spcBef>
                <a:spcPts val="0"/>
              </a:spcBef>
              <a:spcAft>
                <a:spcPts val="0"/>
              </a:spcAft>
              <a:buClr>
                <a:srgbClr val="202120"/>
              </a:buClr>
              <a:buSzPts val="900"/>
              <a:buFont typeface="PT Serif"/>
              <a:buNone/>
            </a:pPr>
            <a:r>
              <a:rPr lang="en-US" sz="900" b="0" i="0" u="none" strike="noStrike" cap="none">
                <a:solidFill>
                  <a:srgbClr val="202120"/>
                </a:solidFill>
                <a:latin typeface="PT Serif"/>
                <a:ea typeface="PT Serif"/>
                <a:cs typeface="PT Serif"/>
                <a:sym typeface="PT Serif"/>
              </a:rPr>
              <a:t>Voice of Veteran </a:t>
            </a:r>
            <a:endParaRPr sz="900" b="0" i="0" u="none" strike="noStrike" cap="none">
              <a:solidFill>
                <a:srgbClr val="202120"/>
              </a:solidFill>
              <a:latin typeface="PT Serif"/>
              <a:ea typeface="PT Serif"/>
              <a:cs typeface="PT Serif"/>
              <a:sym typeface="PT Serif"/>
            </a:endParaRPr>
          </a:p>
        </p:txBody>
      </p:sp>
      <p:sp>
        <p:nvSpPr>
          <p:cNvPr id="381" name="Google Shape;381;p7"/>
          <p:cNvSpPr/>
          <p:nvPr/>
        </p:nvSpPr>
        <p:spPr>
          <a:xfrm>
            <a:off x="2659196" y="3414950"/>
            <a:ext cx="82296" cy="82576"/>
          </a:xfrm>
          <a:prstGeom prst="ellipse">
            <a:avLst/>
          </a:prstGeom>
          <a:solidFill>
            <a:schemeClr val="dk1"/>
          </a:solidFill>
          <a:ln w="9525" cap="flat" cmpd="sng">
            <a:solidFill>
              <a:schemeClr val="dk2"/>
            </a:solidFill>
            <a:prstDash val="solid"/>
            <a:round/>
            <a:headEnd type="none" w="sm" len="sm"/>
            <a:tailEnd type="none" w="sm" len="sm"/>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chemeClr val="dk1"/>
              </a:buClr>
              <a:buSzPts val="900"/>
              <a:buFont typeface="Calibri"/>
              <a:buNone/>
            </a:pPr>
            <a:endParaRPr sz="900" b="0" i="0" u="none" strike="noStrike" cap="none">
              <a:solidFill>
                <a:srgbClr val="202120"/>
              </a:solidFill>
              <a:latin typeface="PT Serif"/>
              <a:ea typeface="PT Serif"/>
              <a:cs typeface="PT Serif"/>
              <a:sym typeface="PT Serif"/>
            </a:endParaRPr>
          </a:p>
        </p:txBody>
      </p:sp>
      <p:cxnSp>
        <p:nvCxnSpPr>
          <p:cNvPr id="389" name="Google Shape;389;p7"/>
          <p:cNvCxnSpPr/>
          <p:nvPr/>
        </p:nvCxnSpPr>
        <p:spPr>
          <a:xfrm>
            <a:off x="3626269" y="1745476"/>
            <a:ext cx="0" cy="4345725"/>
          </a:xfrm>
          <a:prstGeom prst="straightConnector1">
            <a:avLst/>
          </a:prstGeom>
          <a:noFill/>
          <a:ln w="9525" cap="flat" cmpd="sng">
            <a:solidFill>
              <a:srgbClr val="7F7F7F"/>
            </a:solidFill>
            <a:prstDash val="solid"/>
            <a:round/>
            <a:headEnd type="none" w="sm" len="sm"/>
            <a:tailEnd type="none" w="sm" len="sm"/>
          </a:ln>
        </p:spPr>
      </p:cxnSp>
      <p:cxnSp>
        <p:nvCxnSpPr>
          <p:cNvPr id="393" name="Google Shape;393;p7"/>
          <p:cNvCxnSpPr/>
          <p:nvPr/>
        </p:nvCxnSpPr>
        <p:spPr>
          <a:xfrm>
            <a:off x="1499434" y="1745476"/>
            <a:ext cx="0" cy="4345725"/>
          </a:xfrm>
          <a:prstGeom prst="straightConnector1">
            <a:avLst/>
          </a:prstGeom>
          <a:noFill/>
          <a:ln w="9525" cap="flat" cmpd="sng">
            <a:solidFill>
              <a:srgbClr val="7F7F7F"/>
            </a:solidFill>
            <a:prstDash val="solid"/>
            <a:round/>
            <a:headEnd type="none" w="sm" len="sm"/>
            <a:tailEnd type="none" w="sm" len="sm"/>
          </a:ln>
        </p:spPr>
      </p:cxnSp>
      <p:cxnSp>
        <p:nvCxnSpPr>
          <p:cNvPr id="394" name="Google Shape;394;p7"/>
          <p:cNvCxnSpPr/>
          <p:nvPr/>
        </p:nvCxnSpPr>
        <p:spPr>
          <a:xfrm>
            <a:off x="2562851" y="1745476"/>
            <a:ext cx="0" cy="4345725"/>
          </a:xfrm>
          <a:prstGeom prst="straightConnector1">
            <a:avLst/>
          </a:prstGeom>
          <a:noFill/>
          <a:ln w="9525" cap="flat" cmpd="sng">
            <a:solidFill>
              <a:srgbClr val="C7C7C7"/>
            </a:solidFill>
            <a:prstDash val="dot"/>
            <a:round/>
            <a:headEnd type="none" w="sm" len="sm"/>
            <a:tailEnd type="none" w="sm" len="sm"/>
          </a:ln>
        </p:spPr>
      </p:cxnSp>
      <p:cxnSp>
        <p:nvCxnSpPr>
          <p:cNvPr id="395" name="Google Shape;395;p7"/>
          <p:cNvCxnSpPr/>
          <p:nvPr/>
        </p:nvCxnSpPr>
        <p:spPr>
          <a:xfrm>
            <a:off x="4624257" y="1745476"/>
            <a:ext cx="0" cy="4345725"/>
          </a:xfrm>
          <a:prstGeom prst="straightConnector1">
            <a:avLst/>
          </a:prstGeom>
          <a:noFill/>
          <a:ln w="9525" cap="flat" cmpd="sng">
            <a:solidFill>
              <a:srgbClr val="C7C7C7"/>
            </a:solidFill>
            <a:prstDash val="dot"/>
            <a:round/>
            <a:headEnd type="none" w="sm" len="sm"/>
            <a:tailEnd type="none" w="sm" len="sm"/>
          </a:ln>
        </p:spPr>
      </p:cxnSp>
      <p:cxnSp>
        <p:nvCxnSpPr>
          <p:cNvPr id="396" name="Google Shape;396;p7"/>
          <p:cNvCxnSpPr/>
          <p:nvPr/>
        </p:nvCxnSpPr>
        <p:spPr>
          <a:xfrm>
            <a:off x="5587592" y="1757511"/>
            <a:ext cx="0" cy="4345725"/>
          </a:xfrm>
          <a:prstGeom prst="straightConnector1">
            <a:avLst/>
          </a:prstGeom>
          <a:noFill/>
          <a:ln w="9525" cap="flat" cmpd="sng">
            <a:solidFill>
              <a:srgbClr val="7F7F7F"/>
            </a:solidFill>
            <a:prstDash val="solid"/>
            <a:round/>
            <a:headEnd type="none" w="sm" len="sm"/>
            <a:tailEnd type="none" w="sm" len="sm"/>
          </a:ln>
        </p:spPr>
      </p:cxnSp>
      <p:cxnSp>
        <p:nvCxnSpPr>
          <p:cNvPr id="397" name="Google Shape;397;p7"/>
          <p:cNvCxnSpPr>
            <a:cxnSpLocks/>
          </p:cNvCxnSpPr>
          <p:nvPr/>
        </p:nvCxnSpPr>
        <p:spPr>
          <a:xfrm flipV="1">
            <a:off x="418399" y="3363883"/>
            <a:ext cx="11082370" cy="11546"/>
          </a:xfrm>
          <a:prstGeom prst="straightConnector1">
            <a:avLst/>
          </a:prstGeom>
          <a:noFill/>
          <a:ln w="9525" cap="flat" cmpd="sng">
            <a:solidFill>
              <a:srgbClr val="747C74"/>
            </a:solidFill>
            <a:prstDash val="solid"/>
            <a:round/>
            <a:headEnd type="none" w="sm" len="sm"/>
            <a:tailEnd type="none" w="sm" len="sm"/>
          </a:ln>
        </p:spPr>
      </p:cxnSp>
      <p:cxnSp>
        <p:nvCxnSpPr>
          <p:cNvPr id="398" name="Google Shape;398;p7"/>
          <p:cNvCxnSpPr>
            <a:cxnSpLocks/>
          </p:cNvCxnSpPr>
          <p:nvPr/>
        </p:nvCxnSpPr>
        <p:spPr>
          <a:xfrm flipV="1">
            <a:off x="411833" y="4459149"/>
            <a:ext cx="11082367" cy="6568"/>
          </a:xfrm>
          <a:prstGeom prst="straightConnector1">
            <a:avLst/>
          </a:prstGeom>
          <a:noFill/>
          <a:ln w="9525" cap="flat" cmpd="sng">
            <a:solidFill>
              <a:srgbClr val="747C74"/>
            </a:solidFill>
            <a:prstDash val="solid"/>
            <a:round/>
            <a:headEnd type="none" w="sm" len="sm"/>
            <a:tailEnd type="none" w="sm" len="sm"/>
          </a:ln>
        </p:spPr>
      </p:cxnSp>
      <p:sp>
        <p:nvSpPr>
          <p:cNvPr id="400" name="Google Shape;400;p7"/>
          <p:cNvSpPr/>
          <p:nvPr/>
        </p:nvSpPr>
        <p:spPr>
          <a:xfrm>
            <a:off x="1501279" y="2318781"/>
            <a:ext cx="2098824" cy="353408"/>
          </a:xfrm>
          <a:prstGeom prst="rect">
            <a:avLst/>
          </a:prstGeom>
          <a:solidFill>
            <a:schemeClr val="accent1"/>
          </a:solidFill>
          <a:ln w="9525" cap="flat" cmpd="sng">
            <a:solidFill>
              <a:schemeClr val="lt1"/>
            </a:solidFill>
            <a:prstDash val="solid"/>
            <a:round/>
            <a:headEnd type="none" w="sm" len="sm"/>
            <a:tailEnd type="none" w="sm" len="sm"/>
          </a:ln>
        </p:spPr>
        <p:txBody>
          <a:bodyPr spcFirstLastPara="1" wrap="square" lIns="91425" tIns="60925" rIns="60950" bIns="60925" anchor="ctr" anchorCtr="0">
            <a:noAutofit/>
          </a:bodyPr>
          <a:lstStyle/>
          <a:p>
            <a:pPr marL="0" marR="0" lvl="0" indent="0" algn="l" rtl="0">
              <a:lnSpc>
                <a:spcPct val="100000"/>
              </a:lnSpc>
              <a:spcBef>
                <a:spcPts val="0"/>
              </a:spcBef>
              <a:spcAft>
                <a:spcPts val="0"/>
              </a:spcAft>
              <a:buClr>
                <a:srgbClr val="FDFFFD"/>
              </a:buClr>
              <a:buSzPts val="900"/>
              <a:buFont typeface="PT Serif"/>
              <a:buNone/>
            </a:pPr>
            <a:r>
              <a:rPr lang="en-US" sz="900" b="0" i="0" u="none" strike="noStrike" cap="none">
                <a:solidFill>
                  <a:srgbClr val="FDFFFD"/>
                </a:solidFill>
                <a:latin typeface="Source Sans Pro"/>
                <a:ea typeface="Source Sans Pro"/>
                <a:cs typeface="Source Sans Pro"/>
                <a:sym typeface="Source Sans Pro"/>
              </a:rPr>
              <a:t>Identify Change Management or Communications Plan</a:t>
            </a:r>
            <a:endParaRPr sz="900" b="0" i="0" u="none" strike="noStrike" cap="none">
              <a:solidFill>
                <a:srgbClr val="000000"/>
              </a:solidFill>
              <a:latin typeface="Source Sans Pro"/>
              <a:ea typeface="Source Sans Pro"/>
              <a:cs typeface="Source Sans Pro"/>
              <a:sym typeface="Source Sans Pro"/>
            </a:endParaRPr>
          </a:p>
        </p:txBody>
      </p:sp>
      <p:sp>
        <p:nvSpPr>
          <p:cNvPr id="401" name="Google Shape;401;p7"/>
          <p:cNvSpPr/>
          <p:nvPr/>
        </p:nvSpPr>
        <p:spPr>
          <a:xfrm>
            <a:off x="3650057" y="2318414"/>
            <a:ext cx="7845200" cy="318771"/>
          </a:xfrm>
          <a:prstGeom prst="rect">
            <a:avLst/>
          </a:prstGeom>
          <a:solidFill>
            <a:schemeClr val="accent1"/>
          </a:solidFill>
          <a:ln w="9525" cap="flat" cmpd="sng">
            <a:solidFill>
              <a:schemeClr val="lt1"/>
            </a:solidFill>
            <a:prstDash val="solid"/>
            <a:round/>
            <a:headEnd type="none" w="sm" len="sm"/>
            <a:tailEnd type="none" w="sm" len="sm"/>
          </a:ln>
        </p:spPr>
        <p:txBody>
          <a:bodyPr spcFirstLastPara="1" wrap="square" lIns="91425" tIns="60925" rIns="60950" bIns="60925" anchor="ctr" anchorCtr="0">
            <a:noAutofit/>
          </a:bodyPr>
          <a:lstStyle/>
          <a:p>
            <a:pPr>
              <a:buClr>
                <a:srgbClr val="FDFFFD"/>
              </a:buClr>
              <a:buSzPts val="900"/>
            </a:pPr>
            <a:r>
              <a:rPr lang="en-US" sz="900">
                <a:solidFill>
                  <a:srgbClr val="FDFFFD"/>
                </a:solidFill>
                <a:latin typeface="Source Sans Pro"/>
                <a:ea typeface="Source Sans Pro"/>
                <a:cs typeface="Source Sans Pro"/>
                <a:sym typeface="Source Sans Pro"/>
              </a:rPr>
              <a:t>1095-B Handover </a:t>
            </a:r>
            <a:r>
              <a:rPr lang="en-US" sz="900" b="0" i="0" u="none" strike="noStrike" cap="none">
                <a:solidFill>
                  <a:srgbClr val="FDFFFD"/>
                </a:solidFill>
                <a:latin typeface="Source Sans Pro"/>
                <a:ea typeface="Source Sans Pro"/>
                <a:cs typeface="Source Sans Pro"/>
                <a:sym typeface="Source Sans Pro"/>
              </a:rPr>
              <a:t>plan</a:t>
            </a:r>
            <a:r>
              <a:rPr lang="en-US" sz="900">
                <a:solidFill>
                  <a:srgbClr val="FDFFFD"/>
                </a:solidFill>
                <a:latin typeface="Source Sans Pro"/>
                <a:ea typeface="Source Sans Pro"/>
                <a:cs typeface="Source Sans Pro"/>
                <a:sym typeface="Source Sans Pro"/>
              </a:rPr>
              <a:t> </a:t>
            </a:r>
            <a:r>
              <a:rPr lang="en-US" sz="900" b="0" i="0" u="none" strike="noStrike" cap="none">
                <a:solidFill>
                  <a:srgbClr val="FDFFFD"/>
                </a:solidFill>
                <a:latin typeface="Source Sans Pro"/>
                <a:ea typeface="Source Sans Pro"/>
                <a:cs typeface="Source Sans Pro"/>
                <a:sym typeface="Source Sans Pro"/>
              </a:rPr>
              <a:t> - Prepare for launch</a:t>
            </a:r>
            <a:endParaRPr lang="en-US" sz="900" b="0" i="0" u="none" strike="noStrike" cap="none">
              <a:solidFill>
                <a:srgbClr val="000000"/>
              </a:solidFill>
              <a:latin typeface="Source Sans Pro"/>
              <a:ea typeface="Source Sans Pro"/>
              <a:cs typeface="Source Sans Pro"/>
              <a:sym typeface="Source Sans Pro"/>
            </a:endParaRPr>
          </a:p>
        </p:txBody>
      </p:sp>
      <p:sp>
        <p:nvSpPr>
          <p:cNvPr id="404" name="Google Shape;404;p7"/>
          <p:cNvSpPr/>
          <p:nvPr/>
        </p:nvSpPr>
        <p:spPr>
          <a:xfrm>
            <a:off x="1504730" y="4883757"/>
            <a:ext cx="4059457" cy="341019"/>
          </a:xfrm>
          <a:prstGeom prst="rect">
            <a:avLst/>
          </a:prstGeom>
          <a:solidFill>
            <a:schemeClr val="accent6"/>
          </a:solidFill>
          <a:ln w="9525" cap="flat" cmpd="sng">
            <a:solidFill>
              <a:schemeClr val="lt1"/>
            </a:solidFill>
            <a:prstDash val="solid"/>
            <a:round/>
            <a:headEnd type="none" w="sm" len="sm"/>
            <a:tailEnd type="none" w="sm" len="sm"/>
          </a:ln>
        </p:spPr>
        <p:txBody>
          <a:bodyPr spcFirstLastPara="1" wrap="square" lIns="60950" tIns="60925" rIns="60950" bIns="60925" anchor="ctr" anchorCtr="0">
            <a:noAutofit/>
          </a:bodyPr>
          <a:lstStyle/>
          <a:p>
            <a:pPr marL="0" marR="0" lvl="0" indent="0" algn="l" rtl="0">
              <a:lnSpc>
                <a:spcPct val="100000"/>
              </a:lnSpc>
              <a:spcBef>
                <a:spcPts val="0"/>
              </a:spcBef>
              <a:spcAft>
                <a:spcPts val="0"/>
              </a:spcAft>
              <a:buClr>
                <a:srgbClr val="FDFFFD"/>
              </a:buClr>
              <a:buSzPts val="900"/>
              <a:buFont typeface="PT Serif"/>
              <a:buNone/>
            </a:pPr>
            <a:r>
              <a:rPr lang="en-US" sz="900" b="0" i="0" u="none" strike="noStrike" cap="none">
                <a:solidFill>
                  <a:schemeClr val="accent1"/>
                </a:solidFill>
                <a:latin typeface="Source Sans Pro"/>
                <a:ea typeface="Source Sans Pro"/>
                <a:cs typeface="Source Sans Pro"/>
                <a:sym typeface="Source Sans Pro"/>
              </a:rPr>
              <a:t>Build solution (form UI, data connections, storage, etc.)</a:t>
            </a:r>
            <a:endParaRPr sz="900" b="0" i="0" u="none" strike="noStrike" cap="none">
              <a:solidFill>
                <a:schemeClr val="accent1"/>
              </a:solidFill>
              <a:latin typeface="Source Sans Pro"/>
              <a:ea typeface="Source Sans Pro"/>
              <a:cs typeface="Source Sans Pro"/>
              <a:sym typeface="Source Sans Pro"/>
            </a:endParaRPr>
          </a:p>
        </p:txBody>
      </p:sp>
      <p:sp>
        <p:nvSpPr>
          <p:cNvPr id="413" name="Google Shape;413;p7"/>
          <p:cNvSpPr/>
          <p:nvPr/>
        </p:nvSpPr>
        <p:spPr>
          <a:xfrm>
            <a:off x="1526444" y="3844614"/>
            <a:ext cx="6044815" cy="286191"/>
          </a:xfrm>
          <a:prstGeom prst="rect">
            <a:avLst/>
          </a:prstGeom>
          <a:solidFill>
            <a:srgbClr val="0365B9"/>
          </a:solidFill>
          <a:ln w="9525" cap="flat" cmpd="sng">
            <a:solidFill>
              <a:schemeClr val="lt1"/>
            </a:solidFill>
            <a:prstDash val="solid"/>
            <a:round/>
            <a:headEnd type="none" w="sm" len="sm"/>
            <a:tailEnd type="none" w="sm" len="sm"/>
          </a:ln>
        </p:spPr>
        <p:txBody>
          <a:bodyPr spcFirstLastPara="1" wrap="square" lIns="60950" tIns="60925" rIns="60950" bIns="60925" anchor="ctr" anchorCtr="0">
            <a:noAutofit/>
          </a:bodyPr>
          <a:lstStyle/>
          <a:p>
            <a:pPr>
              <a:buClr>
                <a:srgbClr val="FDFFFD"/>
              </a:buClr>
              <a:buSzPts val="900"/>
            </a:pPr>
            <a:r>
              <a:rPr lang="en-US" sz="900">
                <a:solidFill>
                  <a:srgbClr val="FDFFFD"/>
                </a:solidFill>
                <a:latin typeface="Source Sans Pro"/>
                <a:ea typeface="Source Sans Pro"/>
                <a:cs typeface="Source Sans Pro"/>
                <a:sym typeface="Source Sans Pro"/>
              </a:rPr>
              <a:t>1095-B Design</a:t>
            </a:r>
            <a:r>
              <a:rPr lang="en-US" sz="900" b="0" i="0" u="none" strike="noStrike" cap="none">
                <a:solidFill>
                  <a:srgbClr val="FDFFFD"/>
                </a:solidFill>
                <a:latin typeface="Source Sans Pro"/>
                <a:ea typeface="Source Sans Pro"/>
                <a:cs typeface="Source Sans Pro"/>
                <a:sym typeface="Source Sans Pro"/>
              </a:rPr>
              <a:t> iterations</a:t>
            </a:r>
          </a:p>
        </p:txBody>
      </p:sp>
      <p:sp>
        <p:nvSpPr>
          <p:cNvPr id="416" name="Google Shape;416;p7"/>
          <p:cNvSpPr txBox="1"/>
          <p:nvPr/>
        </p:nvSpPr>
        <p:spPr>
          <a:xfrm>
            <a:off x="10241136" y="5437371"/>
            <a:ext cx="1165127" cy="415498"/>
          </a:xfrm>
          <a:prstGeom prst="rect">
            <a:avLst/>
          </a:prstGeom>
          <a:noFill/>
          <a:ln>
            <a:noFill/>
          </a:ln>
        </p:spPr>
        <p:txBody>
          <a:bodyPr spcFirstLastPara="1" wrap="square" lIns="0" tIns="0" rIns="0" bIns="0" anchor="t" anchorCtr="0">
            <a:spAutoFit/>
          </a:bodyPr>
          <a:lstStyle/>
          <a:p>
            <a:pPr algn="r">
              <a:buClr>
                <a:srgbClr val="202120"/>
              </a:buClr>
              <a:buSzPts val="900"/>
            </a:pPr>
            <a:r>
              <a:rPr lang="en-US" sz="900" b="0" i="0" u="none" strike="noStrike" cap="none">
                <a:solidFill>
                  <a:srgbClr val="202120"/>
                </a:solidFill>
                <a:latin typeface="Source Sans Pro SemiBold"/>
                <a:ea typeface="Source Sans Pro SemiBold"/>
                <a:cs typeface="Source Sans Pro SemiBold"/>
                <a:sym typeface="Source Sans Pro SemiBold"/>
              </a:rPr>
              <a:t>MVP Launch Date Dependent on Legal Review</a:t>
            </a:r>
            <a:r>
              <a:rPr lang="en-US" sz="900">
                <a:solidFill>
                  <a:srgbClr val="202120"/>
                </a:solidFill>
                <a:latin typeface="Source Sans Pro SemiBold"/>
                <a:ea typeface="Source Sans Pro SemiBold"/>
                <a:cs typeface="Source Sans Pro SemiBold"/>
                <a:sym typeface="Source Sans Pro SemiBold"/>
              </a:rPr>
              <a:t> Completion</a:t>
            </a:r>
            <a:endParaRPr lang="en-US" sz="900" b="0" i="0" u="none" strike="noStrike" cap="none">
              <a:solidFill>
                <a:srgbClr val="202120"/>
              </a:solidFill>
              <a:latin typeface="Source Sans Pro SemiBold"/>
              <a:ea typeface="Source Sans Pro SemiBold"/>
              <a:cs typeface="Source Sans Pro SemiBold"/>
            </a:endParaRPr>
          </a:p>
        </p:txBody>
      </p:sp>
      <p:sp>
        <p:nvSpPr>
          <p:cNvPr id="417" name="Google Shape;417;p7"/>
          <p:cNvSpPr/>
          <p:nvPr/>
        </p:nvSpPr>
        <p:spPr>
          <a:xfrm>
            <a:off x="11529607" y="5493991"/>
            <a:ext cx="219456" cy="223548"/>
          </a:xfrm>
          <a:prstGeom prst="diamond">
            <a:avLst/>
          </a:prstGeom>
          <a:gradFill flip="none" rotWithShape="1">
            <a:gsLst>
              <a:gs pos="0">
                <a:schemeClr val="accent4">
                  <a:tint val="66000"/>
                  <a:satMod val="160000"/>
                </a:schemeClr>
              </a:gs>
              <a:gs pos="50000">
                <a:schemeClr val="accent4">
                  <a:tint val="44500"/>
                  <a:satMod val="160000"/>
                </a:schemeClr>
              </a:gs>
              <a:gs pos="100000">
                <a:schemeClr val="accent4">
                  <a:tint val="23500"/>
                  <a:satMod val="160000"/>
                </a:schemeClr>
              </a:gs>
            </a:gsLst>
            <a:lin ang="2700000" scaled="1"/>
            <a:tileRect/>
          </a:gradFill>
          <a:ln w="9525" cap="flat" cmpd="sng">
            <a:solidFill>
              <a:schemeClr val="lt1"/>
            </a:solidFill>
            <a:prstDash val="solid"/>
            <a:round/>
            <a:headEnd type="none" w="sm" len="sm"/>
            <a:tailEnd type="none" w="sm" len="sm"/>
          </a:ln>
        </p:spPr>
        <p:txBody>
          <a:bodyPr spcFirstLastPara="1" wrap="square" lIns="121900" tIns="60925" rIns="121900" bIns="60925" anchor="ctr" anchorCtr="0">
            <a:noAutofit/>
          </a:bodyPr>
          <a:lstStyle/>
          <a:p>
            <a:pPr marL="0" marR="0" lvl="0" indent="0" algn="ctr" rtl="0">
              <a:lnSpc>
                <a:spcPct val="100000"/>
              </a:lnSpc>
              <a:spcBef>
                <a:spcPts val="0"/>
              </a:spcBef>
              <a:spcAft>
                <a:spcPts val="0"/>
              </a:spcAft>
              <a:buClr>
                <a:schemeClr val="dk1"/>
              </a:buClr>
              <a:buSzPts val="900"/>
              <a:buFont typeface="Calibri"/>
              <a:buNone/>
            </a:pPr>
            <a:endParaRPr sz="900" b="0" i="0" u="none" strike="noStrike" cap="none">
              <a:solidFill>
                <a:srgbClr val="202120"/>
              </a:solidFill>
              <a:latin typeface="PT Serif"/>
              <a:ea typeface="PT Serif"/>
              <a:cs typeface="PT Serif"/>
              <a:sym typeface="PT Serif"/>
            </a:endParaRPr>
          </a:p>
        </p:txBody>
      </p:sp>
      <p:cxnSp>
        <p:nvCxnSpPr>
          <p:cNvPr id="421" name="Google Shape;421;p7"/>
          <p:cNvCxnSpPr/>
          <p:nvPr/>
        </p:nvCxnSpPr>
        <p:spPr>
          <a:xfrm>
            <a:off x="1520444" y="1751912"/>
            <a:ext cx="2084815" cy="0"/>
          </a:xfrm>
          <a:prstGeom prst="straightConnector1">
            <a:avLst/>
          </a:prstGeom>
          <a:noFill/>
          <a:ln w="12700" cap="flat" cmpd="sng">
            <a:solidFill>
              <a:schemeClr val="dk1"/>
            </a:solidFill>
            <a:prstDash val="solid"/>
            <a:round/>
            <a:headEnd type="none" w="sm" len="sm"/>
            <a:tailEnd type="none" w="sm" len="sm"/>
          </a:ln>
        </p:spPr>
      </p:cxnSp>
      <p:cxnSp>
        <p:nvCxnSpPr>
          <p:cNvPr id="422" name="Google Shape;422;p7"/>
          <p:cNvCxnSpPr/>
          <p:nvPr/>
        </p:nvCxnSpPr>
        <p:spPr>
          <a:xfrm>
            <a:off x="3644286" y="1751912"/>
            <a:ext cx="1925293" cy="0"/>
          </a:xfrm>
          <a:prstGeom prst="straightConnector1">
            <a:avLst/>
          </a:prstGeom>
          <a:noFill/>
          <a:ln w="12700" cap="flat" cmpd="sng">
            <a:solidFill>
              <a:schemeClr val="dk1"/>
            </a:solidFill>
            <a:prstDash val="solid"/>
            <a:round/>
            <a:headEnd type="none" w="sm" len="sm"/>
            <a:tailEnd type="none" w="sm" len="sm"/>
          </a:ln>
        </p:spPr>
      </p:cxnSp>
      <p:cxnSp>
        <p:nvCxnSpPr>
          <p:cNvPr id="425" name="Google Shape;425;p7"/>
          <p:cNvCxnSpPr>
            <a:cxnSpLocks/>
          </p:cNvCxnSpPr>
          <p:nvPr/>
        </p:nvCxnSpPr>
        <p:spPr>
          <a:xfrm>
            <a:off x="415114" y="5259426"/>
            <a:ext cx="11083066" cy="11545"/>
          </a:xfrm>
          <a:prstGeom prst="straightConnector1">
            <a:avLst/>
          </a:prstGeom>
          <a:noFill/>
          <a:ln w="9525" cap="flat" cmpd="sng">
            <a:solidFill>
              <a:srgbClr val="747C74"/>
            </a:solidFill>
            <a:prstDash val="solid"/>
            <a:round/>
            <a:headEnd type="none" w="sm" len="sm"/>
            <a:tailEnd type="none" w="sm" len="sm"/>
          </a:ln>
        </p:spPr>
      </p:cxnSp>
      <p:sp>
        <p:nvSpPr>
          <p:cNvPr id="430" name="Google Shape;430;p7"/>
          <p:cNvSpPr txBox="1"/>
          <p:nvPr/>
        </p:nvSpPr>
        <p:spPr>
          <a:xfrm>
            <a:off x="7608913" y="5771747"/>
            <a:ext cx="961271" cy="138499"/>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0" i="0" u="none" strike="noStrike" cap="none">
                <a:solidFill>
                  <a:srgbClr val="202120"/>
                </a:solidFill>
                <a:latin typeface="Source Sans Pro SemiBold"/>
                <a:ea typeface="Source Sans Pro SemiBold"/>
                <a:cs typeface="Source Sans Pro SemiBold"/>
                <a:sym typeface="Source Sans Pro SemiBold"/>
              </a:rPr>
              <a:t>Staging Review</a:t>
            </a:r>
            <a:endParaRPr sz="900" b="0" i="0" u="none" strike="noStrike" cap="none">
              <a:solidFill>
                <a:srgbClr val="202120"/>
              </a:solidFill>
              <a:latin typeface="Source Sans Pro SemiBold"/>
              <a:ea typeface="Source Sans Pro SemiBold"/>
              <a:cs typeface="Source Sans Pro SemiBold"/>
              <a:sym typeface="Source Sans Pro SemiBold"/>
            </a:endParaRPr>
          </a:p>
        </p:txBody>
      </p:sp>
      <p:sp>
        <p:nvSpPr>
          <p:cNvPr id="431" name="Google Shape;431;p7"/>
          <p:cNvSpPr/>
          <p:nvPr/>
        </p:nvSpPr>
        <p:spPr>
          <a:xfrm>
            <a:off x="8157769" y="5483680"/>
            <a:ext cx="219456" cy="223548"/>
          </a:xfrm>
          <a:prstGeom prst="diamond">
            <a:avLst/>
          </a:prstGeom>
          <a:solidFill>
            <a:srgbClr val="01213C"/>
          </a:solidFill>
          <a:ln w="9525" cap="flat" cmpd="sng">
            <a:solidFill>
              <a:schemeClr val="lt1"/>
            </a:solidFill>
            <a:prstDash val="solid"/>
            <a:round/>
            <a:headEnd type="none" w="sm" len="sm"/>
            <a:tailEnd type="none" w="sm" len="sm"/>
          </a:ln>
        </p:spPr>
        <p:txBody>
          <a:bodyPr spcFirstLastPara="1" wrap="square" lIns="121900" tIns="60925" rIns="121900" bIns="60925" anchor="ctr" anchorCtr="0">
            <a:noAutofit/>
          </a:bodyPr>
          <a:lstStyle/>
          <a:p>
            <a:pPr marL="0" marR="0" lvl="0" indent="0" algn="ctr" rtl="0">
              <a:lnSpc>
                <a:spcPct val="100000"/>
              </a:lnSpc>
              <a:spcBef>
                <a:spcPts val="0"/>
              </a:spcBef>
              <a:spcAft>
                <a:spcPts val="0"/>
              </a:spcAft>
              <a:buClr>
                <a:schemeClr val="dk1"/>
              </a:buClr>
              <a:buSzPts val="900"/>
              <a:buFont typeface="Calibri"/>
              <a:buNone/>
            </a:pPr>
            <a:endParaRPr sz="900" b="0" i="0" u="none" strike="noStrike" cap="none">
              <a:solidFill>
                <a:srgbClr val="202120"/>
              </a:solidFill>
              <a:latin typeface="PT Serif"/>
              <a:ea typeface="PT Serif"/>
              <a:cs typeface="PT Serif"/>
              <a:sym typeface="PT Serif"/>
            </a:endParaRPr>
          </a:p>
        </p:txBody>
      </p:sp>
      <p:sp>
        <p:nvSpPr>
          <p:cNvPr id="432" name="Google Shape;432;p7"/>
          <p:cNvSpPr txBox="1"/>
          <p:nvPr/>
        </p:nvSpPr>
        <p:spPr>
          <a:xfrm>
            <a:off x="2999129" y="5505117"/>
            <a:ext cx="529394" cy="138499"/>
          </a:xfrm>
          <a:prstGeom prst="rect">
            <a:avLst/>
          </a:prstGeom>
          <a:noFill/>
          <a:ln>
            <a:noFill/>
          </a:ln>
        </p:spPr>
        <p:txBody>
          <a:bodyPr spcFirstLastPara="1" wrap="square" lIns="0" tIns="0" rIns="0" bIns="0" anchor="t" anchorCtr="0">
            <a:spAutoFit/>
          </a:bodyPr>
          <a:lstStyle/>
          <a:p>
            <a:pPr marL="0" marR="0" lvl="0" indent="0" algn="ctr" rtl="0">
              <a:lnSpc>
                <a:spcPct val="100000"/>
              </a:lnSpc>
              <a:spcBef>
                <a:spcPts val="0"/>
              </a:spcBef>
              <a:spcAft>
                <a:spcPts val="0"/>
              </a:spcAft>
              <a:buClr>
                <a:schemeClr val="dk1"/>
              </a:buClr>
              <a:buSzPts val="900"/>
              <a:buFont typeface="PT Serif"/>
              <a:buNone/>
            </a:pPr>
            <a:endParaRPr sz="900" b="0" i="0" u="none" strike="noStrike" cap="none">
              <a:solidFill>
                <a:srgbClr val="202120"/>
              </a:solidFill>
              <a:latin typeface="PT Serif"/>
              <a:ea typeface="PT Serif"/>
              <a:cs typeface="PT Serif"/>
              <a:sym typeface="PT Serif"/>
            </a:endParaRPr>
          </a:p>
        </p:txBody>
      </p:sp>
      <p:sp>
        <p:nvSpPr>
          <p:cNvPr id="433" name="Google Shape;433;p7"/>
          <p:cNvSpPr txBox="1"/>
          <p:nvPr/>
        </p:nvSpPr>
        <p:spPr>
          <a:xfrm>
            <a:off x="2999129" y="5505117"/>
            <a:ext cx="529394" cy="138499"/>
          </a:xfrm>
          <a:prstGeom prst="rect">
            <a:avLst/>
          </a:prstGeom>
          <a:noFill/>
          <a:ln>
            <a:noFill/>
          </a:ln>
        </p:spPr>
        <p:txBody>
          <a:bodyPr spcFirstLastPara="1" wrap="square" lIns="0" tIns="0" rIns="0" bIns="0" anchor="t" anchorCtr="0">
            <a:spAutoFit/>
          </a:bodyPr>
          <a:lstStyle/>
          <a:p>
            <a:pPr marL="0" marR="0" lvl="0" indent="0" algn="ctr" rtl="0">
              <a:lnSpc>
                <a:spcPct val="100000"/>
              </a:lnSpc>
              <a:spcBef>
                <a:spcPts val="0"/>
              </a:spcBef>
              <a:spcAft>
                <a:spcPts val="0"/>
              </a:spcAft>
              <a:buClr>
                <a:schemeClr val="dk1"/>
              </a:buClr>
              <a:buSzPts val="900"/>
              <a:buFont typeface="PT Serif"/>
              <a:buNone/>
            </a:pPr>
            <a:endParaRPr sz="900" b="0" i="0" u="none" strike="noStrike" cap="none">
              <a:solidFill>
                <a:srgbClr val="202120"/>
              </a:solidFill>
              <a:latin typeface="PT Serif"/>
              <a:ea typeface="PT Serif"/>
              <a:cs typeface="PT Serif"/>
              <a:sym typeface="PT Serif"/>
            </a:endParaRPr>
          </a:p>
        </p:txBody>
      </p:sp>
      <p:sp>
        <p:nvSpPr>
          <p:cNvPr id="436" name="Google Shape;436;p7"/>
          <p:cNvSpPr txBox="1"/>
          <p:nvPr/>
        </p:nvSpPr>
        <p:spPr>
          <a:xfrm>
            <a:off x="6815377" y="5767998"/>
            <a:ext cx="716447" cy="276999"/>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0" i="0" u="none" strike="noStrike" cap="none">
                <a:solidFill>
                  <a:srgbClr val="202120"/>
                </a:solidFill>
                <a:latin typeface="Source Sans Pro SemiBold"/>
                <a:ea typeface="Source Sans Pro SemiBold"/>
                <a:cs typeface="Source Sans Pro SemiBold"/>
                <a:sym typeface="Source Sans Pro SemiBold"/>
              </a:rPr>
              <a:t>Contact Center Review</a:t>
            </a:r>
            <a:endParaRPr sz="900" b="0" i="0" u="none" strike="noStrike" cap="none">
              <a:solidFill>
                <a:srgbClr val="202120"/>
              </a:solidFill>
              <a:latin typeface="Source Sans Pro SemiBold"/>
              <a:ea typeface="Source Sans Pro SemiBold"/>
              <a:cs typeface="Source Sans Pro SemiBold"/>
              <a:sym typeface="Source Sans Pro SemiBold"/>
            </a:endParaRPr>
          </a:p>
        </p:txBody>
      </p:sp>
      <p:sp>
        <p:nvSpPr>
          <p:cNvPr id="437" name="Google Shape;437;p7"/>
          <p:cNvSpPr/>
          <p:nvPr/>
        </p:nvSpPr>
        <p:spPr>
          <a:xfrm>
            <a:off x="2974051" y="5496268"/>
            <a:ext cx="219456" cy="223548"/>
          </a:xfrm>
          <a:prstGeom prst="diamond">
            <a:avLst/>
          </a:prstGeom>
          <a:solidFill>
            <a:schemeClr val="accent3"/>
          </a:solidFill>
          <a:ln w="9525" cap="flat" cmpd="sng">
            <a:solidFill>
              <a:schemeClr val="lt1"/>
            </a:solidFill>
            <a:prstDash val="solid"/>
            <a:round/>
            <a:headEnd type="none" w="sm" len="sm"/>
            <a:tailEnd type="none" w="sm" len="sm"/>
          </a:ln>
        </p:spPr>
        <p:txBody>
          <a:bodyPr spcFirstLastPara="1" wrap="square" lIns="121900" tIns="60925" rIns="121900" bIns="60925" anchor="ctr" anchorCtr="0">
            <a:noAutofit/>
          </a:bodyPr>
          <a:lstStyle/>
          <a:p>
            <a:pPr marL="0" marR="0" lvl="0" indent="0" algn="ctr" rtl="0">
              <a:lnSpc>
                <a:spcPct val="100000"/>
              </a:lnSpc>
              <a:spcBef>
                <a:spcPts val="0"/>
              </a:spcBef>
              <a:spcAft>
                <a:spcPts val="0"/>
              </a:spcAft>
              <a:buClr>
                <a:schemeClr val="dk1"/>
              </a:buClr>
              <a:buSzPts val="900"/>
              <a:buFont typeface="Calibri"/>
              <a:buNone/>
            </a:pPr>
            <a:endParaRPr sz="900" b="0" i="0" u="none" strike="noStrike" cap="none">
              <a:solidFill>
                <a:srgbClr val="202120"/>
              </a:solidFill>
              <a:latin typeface="PT Serif"/>
              <a:ea typeface="PT Serif"/>
              <a:cs typeface="PT Serif"/>
              <a:sym typeface="PT Serif"/>
            </a:endParaRPr>
          </a:p>
        </p:txBody>
      </p:sp>
      <p:sp>
        <p:nvSpPr>
          <p:cNvPr id="440" name="Google Shape;440;p7"/>
          <p:cNvSpPr txBox="1"/>
          <p:nvPr/>
        </p:nvSpPr>
        <p:spPr>
          <a:xfrm>
            <a:off x="2739898" y="5747982"/>
            <a:ext cx="833806" cy="138499"/>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0" i="0" u="none" strike="noStrike" cap="none">
                <a:solidFill>
                  <a:srgbClr val="202120"/>
                </a:solidFill>
                <a:latin typeface="Source Sans Pro SemiBold"/>
                <a:ea typeface="Source Sans Pro SemiBold"/>
                <a:cs typeface="Source Sans Pro SemiBold"/>
                <a:sym typeface="Source Sans Pro SemiBold"/>
              </a:rPr>
              <a:t>Midpoint Review </a:t>
            </a:r>
            <a:endParaRPr sz="900" b="0" i="0" u="none" strike="noStrike" cap="none">
              <a:solidFill>
                <a:srgbClr val="202120"/>
              </a:solidFill>
              <a:latin typeface="Source Sans Pro SemiBold"/>
              <a:ea typeface="Source Sans Pro SemiBold"/>
              <a:cs typeface="Source Sans Pro SemiBold"/>
              <a:sym typeface="Source Sans Pro SemiBold"/>
            </a:endParaRPr>
          </a:p>
        </p:txBody>
      </p:sp>
      <p:sp>
        <p:nvSpPr>
          <p:cNvPr id="441" name="Google Shape;441;p7"/>
          <p:cNvSpPr/>
          <p:nvPr/>
        </p:nvSpPr>
        <p:spPr>
          <a:xfrm>
            <a:off x="6892698" y="5498535"/>
            <a:ext cx="219456" cy="223548"/>
          </a:xfrm>
          <a:prstGeom prst="diamond">
            <a:avLst/>
          </a:prstGeom>
          <a:solidFill>
            <a:schemeClr val="accent3"/>
          </a:solidFill>
          <a:ln w="9525" cap="flat" cmpd="sng">
            <a:solidFill>
              <a:schemeClr val="lt1"/>
            </a:solidFill>
            <a:prstDash val="solid"/>
            <a:round/>
            <a:headEnd type="none" w="sm" len="sm"/>
            <a:tailEnd type="none" w="sm" len="sm"/>
          </a:ln>
        </p:spPr>
        <p:txBody>
          <a:bodyPr spcFirstLastPara="1" wrap="square" lIns="121900" tIns="60925" rIns="121900" bIns="60925" anchor="ctr" anchorCtr="0">
            <a:noAutofit/>
          </a:bodyPr>
          <a:lstStyle/>
          <a:p>
            <a:pPr marL="0" marR="0" lvl="0" indent="0" algn="ctr" rtl="0">
              <a:lnSpc>
                <a:spcPct val="100000"/>
              </a:lnSpc>
              <a:spcBef>
                <a:spcPts val="0"/>
              </a:spcBef>
              <a:spcAft>
                <a:spcPts val="0"/>
              </a:spcAft>
              <a:buClr>
                <a:schemeClr val="dk1"/>
              </a:buClr>
              <a:buSzPts val="900"/>
              <a:buFont typeface="Calibri"/>
              <a:buNone/>
            </a:pPr>
            <a:endParaRPr sz="900" b="0" i="0" u="none" strike="noStrike" cap="none">
              <a:solidFill>
                <a:srgbClr val="202120"/>
              </a:solidFill>
              <a:latin typeface="PT Serif"/>
              <a:ea typeface="PT Serif"/>
              <a:cs typeface="PT Serif"/>
              <a:sym typeface="PT Serif"/>
            </a:endParaRPr>
          </a:p>
        </p:txBody>
      </p:sp>
      <p:sp>
        <p:nvSpPr>
          <p:cNvPr id="444" name="Google Shape;444;p7"/>
          <p:cNvSpPr txBox="1"/>
          <p:nvPr/>
        </p:nvSpPr>
        <p:spPr>
          <a:xfrm>
            <a:off x="3704168" y="5763346"/>
            <a:ext cx="795373" cy="276999"/>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0" i="0" u="none" strike="noStrike" cap="none">
                <a:solidFill>
                  <a:srgbClr val="202120"/>
                </a:solidFill>
                <a:latin typeface="Source Sans Pro SemiBold"/>
                <a:ea typeface="Source Sans Pro SemiBold"/>
                <a:cs typeface="Source Sans Pro SemiBold"/>
                <a:sym typeface="Source Sans Pro SemiBold"/>
              </a:rPr>
              <a:t>Privacy &amp; Security review</a:t>
            </a:r>
            <a:endParaRPr sz="900" b="0" i="0" u="none" strike="noStrike" cap="none">
              <a:solidFill>
                <a:srgbClr val="202120"/>
              </a:solidFill>
              <a:latin typeface="Source Sans Pro SemiBold"/>
              <a:ea typeface="Source Sans Pro SemiBold"/>
              <a:cs typeface="Source Sans Pro SemiBold"/>
              <a:sym typeface="Source Sans Pro SemiBold"/>
            </a:endParaRPr>
          </a:p>
        </p:txBody>
      </p:sp>
      <p:sp>
        <p:nvSpPr>
          <p:cNvPr id="445" name="Google Shape;445;p7"/>
          <p:cNvSpPr/>
          <p:nvPr/>
        </p:nvSpPr>
        <p:spPr>
          <a:xfrm>
            <a:off x="3696018" y="5496268"/>
            <a:ext cx="219456" cy="223548"/>
          </a:xfrm>
          <a:prstGeom prst="diamond">
            <a:avLst/>
          </a:prstGeom>
          <a:solidFill>
            <a:srgbClr val="01213C"/>
          </a:solidFill>
          <a:ln w="9525" cap="flat" cmpd="sng">
            <a:solidFill>
              <a:schemeClr val="lt1"/>
            </a:solidFill>
            <a:prstDash val="solid"/>
            <a:round/>
            <a:headEnd type="none" w="sm" len="sm"/>
            <a:tailEnd type="none" w="sm" len="sm"/>
          </a:ln>
        </p:spPr>
        <p:txBody>
          <a:bodyPr spcFirstLastPara="1" wrap="square" lIns="121900" tIns="60925" rIns="121900" bIns="60925" anchor="ctr" anchorCtr="0">
            <a:noAutofit/>
          </a:bodyPr>
          <a:lstStyle/>
          <a:p>
            <a:pPr marL="0" marR="0" lvl="0" indent="0" algn="ctr" rtl="0">
              <a:lnSpc>
                <a:spcPct val="100000"/>
              </a:lnSpc>
              <a:spcBef>
                <a:spcPts val="0"/>
              </a:spcBef>
              <a:spcAft>
                <a:spcPts val="0"/>
              </a:spcAft>
              <a:buClr>
                <a:schemeClr val="dk1"/>
              </a:buClr>
              <a:buSzPts val="900"/>
              <a:buFont typeface="Calibri"/>
              <a:buNone/>
            </a:pPr>
            <a:endParaRPr sz="900" b="0" i="0" u="none" strike="noStrike" cap="none">
              <a:solidFill>
                <a:srgbClr val="202120"/>
              </a:solidFill>
              <a:latin typeface="PT Serif"/>
              <a:ea typeface="PT Serif"/>
              <a:cs typeface="PT Serif"/>
              <a:sym typeface="PT Serif"/>
            </a:endParaRPr>
          </a:p>
        </p:txBody>
      </p:sp>
      <p:sp>
        <p:nvSpPr>
          <p:cNvPr id="446" name="Google Shape;446;p7"/>
          <p:cNvSpPr txBox="1"/>
          <p:nvPr/>
        </p:nvSpPr>
        <p:spPr>
          <a:xfrm>
            <a:off x="8408342" y="5295051"/>
            <a:ext cx="1084910" cy="138499"/>
          </a:xfrm>
          <a:prstGeom prst="rect">
            <a:avLst/>
          </a:prstGeom>
          <a:noFill/>
          <a:ln>
            <a:noFill/>
          </a:ln>
        </p:spPr>
        <p:txBody>
          <a:bodyPr spcFirstLastPara="1" wrap="square" lIns="0" tIns="0" rIns="0" bIns="0" anchor="t" anchorCtr="0">
            <a:spAutoFit/>
          </a:bodyPr>
          <a:lstStyle/>
          <a:p>
            <a:pPr marL="0" marR="0" lvl="0" indent="0" algn="ctr" rtl="0">
              <a:lnSpc>
                <a:spcPct val="100000"/>
              </a:lnSpc>
              <a:spcBef>
                <a:spcPts val="0"/>
              </a:spcBef>
              <a:spcAft>
                <a:spcPts val="0"/>
              </a:spcAft>
              <a:buClr>
                <a:srgbClr val="202120"/>
              </a:buClr>
              <a:buSzPts val="900"/>
              <a:buFont typeface="PT Serif"/>
              <a:buNone/>
            </a:pPr>
            <a:r>
              <a:rPr lang="en-US" sz="900" b="1" i="0" u="none" strike="noStrike" cap="none">
                <a:solidFill>
                  <a:srgbClr val="202120"/>
                </a:solidFill>
                <a:latin typeface="PT Serif"/>
                <a:ea typeface="PT Serif"/>
                <a:cs typeface="PT Serif"/>
                <a:sym typeface="PT Serif"/>
              </a:rPr>
              <a:t>Analytics Review</a:t>
            </a:r>
            <a:endParaRPr sz="900" b="1" i="0" u="none" strike="noStrike" cap="none">
              <a:solidFill>
                <a:srgbClr val="202120"/>
              </a:solidFill>
              <a:latin typeface="PT Serif"/>
              <a:ea typeface="PT Serif"/>
              <a:cs typeface="PT Serif"/>
              <a:sym typeface="PT Serif"/>
            </a:endParaRPr>
          </a:p>
        </p:txBody>
      </p:sp>
      <p:sp>
        <p:nvSpPr>
          <p:cNvPr id="447" name="Google Shape;447;p7"/>
          <p:cNvSpPr/>
          <p:nvPr/>
        </p:nvSpPr>
        <p:spPr>
          <a:xfrm>
            <a:off x="8539387" y="5493772"/>
            <a:ext cx="219456" cy="223548"/>
          </a:xfrm>
          <a:prstGeom prst="diamond">
            <a:avLst/>
          </a:prstGeom>
          <a:solidFill>
            <a:srgbClr val="01213C"/>
          </a:solidFill>
          <a:ln w="9525" cap="flat" cmpd="sng">
            <a:solidFill>
              <a:schemeClr val="lt1"/>
            </a:solidFill>
            <a:prstDash val="solid"/>
            <a:round/>
            <a:headEnd type="none" w="sm" len="sm"/>
            <a:tailEnd type="none" w="sm" len="sm"/>
          </a:ln>
        </p:spPr>
        <p:txBody>
          <a:bodyPr spcFirstLastPara="1" wrap="square" lIns="121900" tIns="60925" rIns="121900" bIns="60925" anchor="ctr" anchorCtr="0">
            <a:noAutofit/>
          </a:bodyPr>
          <a:lstStyle/>
          <a:p>
            <a:pPr marL="0" marR="0" lvl="0" indent="0" algn="ctr" rtl="0">
              <a:lnSpc>
                <a:spcPct val="100000"/>
              </a:lnSpc>
              <a:spcBef>
                <a:spcPts val="0"/>
              </a:spcBef>
              <a:spcAft>
                <a:spcPts val="0"/>
              </a:spcAft>
              <a:buClr>
                <a:schemeClr val="dk1"/>
              </a:buClr>
              <a:buSzPts val="900"/>
              <a:buFont typeface="Calibri"/>
              <a:buNone/>
            </a:pPr>
            <a:endParaRPr sz="900" b="0" i="0" u="none" strike="noStrike" cap="none">
              <a:solidFill>
                <a:srgbClr val="202120"/>
              </a:solidFill>
              <a:latin typeface="PT Serif"/>
              <a:ea typeface="PT Serif"/>
              <a:cs typeface="PT Serif"/>
              <a:sym typeface="PT Serif"/>
            </a:endParaRPr>
          </a:p>
        </p:txBody>
      </p:sp>
      <p:sp>
        <p:nvSpPr>
          <p:cNvPr id="453" name="Google Shape;453;p7"/>
          <p:cNvSpPr txBox="1"/>
          <p:nvPr/>
        </p:nvSpPr>
        <p:spPr>
          <a:xfrm>
            <a:off x="417604" y="6497384"/>
            <a:ext cx="6360593" cy="141577"/>
          </a:xfrm>
          <a:prstGeom prst="rect">
            <a:avLst/>
          </a:prstGeom>
          <a:noFill/>
          <a:ln>
            <a:noFill/>
          </a:ln>
        </p:spPr>
        <p:txBody>
          <a:bodyPr spcFirstLastPara="1" wrap="square" lIns="0" tIns="0" rIns="0" bIns="0" anchor="t" anchorCtr="0">
            <a:spAutoFit/>
          </a:bodyPr>
          <a:lstStyle/>
          <a:p>
            <a:pPr>
              <a:lnSpc>
                <a:spcPct val="115000"/>
              </a:lnSpc>
              <a:buClr>
                <a:srgbClr val="434343"/>
              </a:buClr>
              <a:buSzPts val="1800"/>
            </a:pPr>
            <a:r>
              <a:rPr lang="en-US" sz="800" b="0" i="0" u="none" strike="noStrike" cap="none">
                <a:solidFill>
                  <a:srgbClr val="434343"/>
                </a:solidFill>
                <a:latin typeface="PT Serif"/>
                <a:ea typeface="PT Serif"/>
                <a:cs typeface="PT Serif"/>
                <a:sym typeface="PT Serif"/>
              </a:rPr>
              <a:t>*Does not show post-MVP Validate phase meetings in Collaboration Cycle, such as Full Accessibility Audit and Post-Launch Check In</a:t>
            </a:r>
            <a:endParaRPr lang="en-US" sz="800" b="0" i="0" u="none" strike="noStrike" cap="none">
              <a:solidFill>
                <a:srgbClr val="434343"/>
              </a:solidFill>
              <a:latin typeface="PT Serif"/>
            </a:endParaRPr>
          </a:p>
        </p:txBody>
      </p:sp>
      <p:sp>
        <p:nvSpPr>
          <p:cNvPr id="454" name="Google Shape;454;p7"/>
          <p:cNvSpPr txBox="1"/>
          <p:nvPr/>
        </p:nvSpPr>
        <p:spPr>
          <a:xfrm>
            <a:off x="1709965" y="5741163"/>
            <a:ext cx="642360" cy="276999"/>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0" i="0" u="none" strike="noStrike" cap="none">
                <a:solidFill>
                  <a:srgbClr val="202120"/>
                </a:solidFill>
                <a:latin typeface="Source Sans Pro SemiBold"/>
                <a:ea typeface="Source Sans Pro SemiBold"/>
                <a:cs typeface="Source Sans Pro SemiBold"/>
                <a:sym typeface="Source Sans Pro SemiBold"/>
              </a:rPr>
              <a:t>Content &amp; IA Review</a:t>
            </a:r>
            <a:endParaRPr sz="900" b="0" i="0" u="none" strike="noStrike" cap="none">
              <a:solidFill>
                <a:srgbClr val="202120"/>
              </a:solidFill>
              <a:latin typeface="Source Sans Pro SemiBold"/>
              <a:ea typeface="Source Sans Pro SemiBold"/>
              <a:cs typeface="Source Sans Pro SemiBold"/>
              <a:sym typeface="Source Sans Pro SemiBold"/>
            </a:endParaRPr>
          </a:p>
        </p:txBody>
      </p:sp>
      <p:sp>
        <p:nvSpPr>
          <p:cNvPr id="455" name="Google Shape;455;p7"/>
          <p:cNvSpPr/>
          <p:nvPr/>
        </p:nvSpPr>
        <p:spPr>
          <a:xfrm>
            <a:off x="1841551" y="5465428"/>
            <a:ext cx="219456" cy="223548"/>
          </a:xfrm>
          <a:prstGeom prst="diamond">
            <a:avLst/>
          </a:prstGeom>
          <a:solidFill>
            <a:schemeClr val="accent3"/>
          </a:solidFill>
          <a:ln w="9525" cap="flat" cmpd="sng">
            <a:solidFill>
              <a:schemeClr val="lt1"/>
            </a:solidFill>
            <a:prstDash val="solid"/>
            <a:round/>
            <a:headEnd type="none" w="sm" len="sm"/>
            <a:tailEnd type="none" w="sm" len="sm"/>
          </a:ln>
        </p:spPr>
        <p:txBody>
          <a:bodyPr spcFirstLastPara="1" wrap="square" lIns="121900" tIns="60925" rIns="121900" bIns="60925" anchor="ctr" anchorCtr="0">
            <a:noAutofit/>
          </a:bodyPr>
          <a:lstStyle/>
          <a:p>
            <a:pPr marL="0" marR="0" lvl="0" indent="0" algn="ctr" rtl="0">
              <a:lnSpc>
                <a:spcPct val="100000"/>
              </a:lnSpc>
              <a:spcBef>
                <a:spcPts val="0"/>
              </a:spcBef>
              <a:spcAft>
                <a:spcPts val="0"/>
              </a:spcAft>
              <a:buClr>
                <a:schemeClr val="dk1"/>
              </a:buClr>
              <a:buSzPts val="900"/>
              <a:buFont typeface="Calibri"/>
              <a:buNone/>
            </a:pPr>
            <a:endParaRPr sz="900" b="0" i="0" u="none" strike="noStrike" cap="none">
              <a:solidFill>
                <a:srgbClr val="202120"/>
              </a:solidFill>
              <a:latin typeface="PT Serif"/>
              <a:ea typeface="PT Serif"/>
              <a:cs typeface="PT Serif"/>
              <a:sym typeface="PT Serif"/>
            </a:endParaRPr>
          </a:p>
        </p:txBody>
      </p:sp>
      <p:sp>
        <p:nvSpPr>
          <p:cNvPr id="116" name="Google Shape;770;p22">
            <a:extLst>
              <a:ext uri="{FF2B5EF4-FFF2-40B4-BE49-F238E27FC236}">
                <a16:creationId xmlns:a16="http://schemas.microsoft.com/office/drawing/2014/main" id="{473E579E-3692-41BD-8D3D-A49F032BB7D1}"/>
              </a:ext>
            </a:extLst>
          </p:cNvPr>
          <p:cNvSpPr/>
          <p:nvPr/>
        </p:nvSpPr>
        <p:spPr>
          <a:xfrm>
            <a:off x="7564821" y="2676630"/>
            <a:ext cx="3921822" cy="327619"/>
          </a:xfrm>
          <a:prstGeom prst="rect">
            <a:avLst/>
          </a:prstGeom>
          <a:solidFill>
            <a:schemeClr val="accent1"/>
          </a:solidFill>
          <a:ln w="28575" cap="flat" cmpd="sng">
            <a:noFill/>
            <a:prstDash val="solid"/>
            <a:round/>
            <a:headEnd type="none" w="sm" len="sm"/>
            <a:tailEnd type="none" w="sm" len="sm"/>
          </a:ln>
        </p:spPr>
        <p:txBody>
          <a:bodyPr spcFirstLastPara="1" wrap="square" lIns="91425" tIns="60925" rIns="60950" bIns="60925" anchor="ctr" anchorCtr="0">
            <a:noAutofit/>
          </a:bodyPr>
          <a:lstStyle/>
          <a:p>
            <a:r>
              <a:rPr lang="en-US" sz="900">
                <a:solidFill>
                  <a:srgbClr val="FDFFFD"/>
                </a:solidFill>
                <a:latin typeface="Source Sans Pro"/>
                <a:ea typeface="Source Sans Pro"/>
                <a:sym typeface="Source Sans Pro"/>
              </a:rPr>
              <a:t>1095-B Legal Review</a:t>
            </a:r>
            <a:endParaRPr lang="en-US"/>
          </a:p>
        </p:txBody>
      </p:sp>
      <p:grpSp>
        <p:nvGrpSpPr>
          <p:cNvPr id="118" name="Google Shape;717;p22">
            <a:extLst>
              <a:ext uri="{FF2B5EF4-FFF2-40B4-BE49-F238E27FC236}">
                <a16:creationId xmlns:a16="http://schemas.microsoft.com/office/drawing/2014/main" id="{275CF833-F3B3-45B1-9DDC-1A138C1A7119}"/>
              </a:ext>
            </a:extLst>
          </p:cNvPr>
          <p:cNvGrpSpPr/>
          <p:nvPr/>
        </p:nvGrpSpPr>
        <p:grpSpPr>
          <a:xfrm>
            <a:off x="9039633" y="670431"/>
            <a:ext cx="2793358" cy="432163"/>
            <a:chOff x="8441380" y="969090"/>
            <a:chExt cx="2793358" cy="432163"/>
          </a:xfrm>
        </p:grpSpPr>
        <p:sp>
          <p:nvSpPr>
            <p:cNvPr id="122" name="Google Shape;718;p22">
              <a:extLst>
                <a:ext uri="{FF2B5EF4-FFF2-40B4-BE49-F238E27FC236}">
                  <a16:creationId xmlns:a16="http://schemas.microsoft.com/office/drawing/2014/main" id="{09CCFE8E-CA5C-4EA3-ADD4-17C6D9C20CBE}"/>
                </a:ext>
              </a:extLst>
            </p:cNvPr>
            <p:cNvSpPr/>
            <p:nvPr/>
          </p:nvSpPr>
          <p:spPr>
            <a:xfrm>
              <a:off x="10598367" y="975869"/>
              <a:ext cx="195608" cy="194198"/>
            </a:xfrm>
            <a:prstGeom prst="diamond">
              <a:avLst/>
            </a:prstGeom>
            <a:solidFill>
              <a:schemeClr val="accent4"/>
            </a:solidFill>
            <a:ln w="9525" cap="flat" cmpd="sng">
              <a:solidFill>
                <a:schemeClr val="lt1"/>
              </a:solidFill>
              <a:prstDash val="solid"/>
              <a:round/>
              <a:headEnd type="none" w="sm" len="sm"/>
              <a:tailEnd type="none" w="sm" len="sm"/>
            </a:ln>
          </p:spPr>
          <p:txBody>
            <a:bodyPr spcFirstLastPara="1" wrap="square" lIns="121900" tIns="60925" rIns="121900" bIns="60925" anchor="ctr" anchorCtr="0">
              <a:noAutofit/>
            </a:bodyPr>
            <a:lstStyle/>
            <a:p>
              <a:pPr marL="0" marR="0" lvl="0" indent="0" algn="ctr" rtl="0">
                <a:lnSpc>
                  <a:spcPct val="100000"/>
                </a:lnSpc>
                <a:spcBef>
                  <a:spcPts val="0"/>
                </a:spcBef>
                <a:spcAft>
                  <a:spcPts val="0"/>
                </a:spcAft>
                <a:buClr>
                  <a:schemeClr val="dk1"/>
                </a:buClr>
                <a:buSzPts val="700"/>
                <a:buFont typeface="Calibri"/>
                <a:buNone/>
              </a:pPr>
              <a:endParaRPr sz="700" b="0" i="0" u="none" strike="noStrike" cap="none">
                <a:solidFill>
                  <a:schemeClr val="dk2"/>
                </a:solidFill>
                <a:latin typeface="PT Serif"/>
                <a:ea typeface="PT Serif"/>
                <a:cs typeface="PT Serif"/>
                <a:sym typeface="PT Serif"/>
              </a:endParaRPr>
            </a:p>
          </p:txBody>
        </p:sp>
        <p:sp>
          <p:nvSpPr>
            <p:cNvPr id="123" name="Google Shape;719;p22">
              <a:extLst>
                <a:ext uri="{FF2B5EF4-FFF2-40B4-BE49-F238E27FC236}">
                  <a16:creationId xmlns:a16="http://schemas.microsoft.com/office/drawing/2014/main" id="{395357FF-C494-4F5A-BC17-43D9D2B48AF7}"/>
                </a:ext>
              </a:extLst>
            </p:cNvPr>
            <p:cNvSpPr/>
            <p:nvPr/>
          </p:nvSpPr>
          <p:spPr>
            <a:xfrm>
              <a:off x="9441501" y="969519"/>
              <a:ext cx="195608" cy="194198"/>
            </a:xfrm>
            <a:prstGeom prst="diamond">
              <a:avLst/>
            </a:prstGeom>
            <a:solidFill>
              <a:srgbClr val="01213C"/>
            </a:solidFill>
            <a:ln w="9525" cap="flat" cmpd="sng">
              <a:solidFill>
                <a:schemeClr val="lt1"/>
              </a:solidFill>
              <a:prstDash val="solid"/>
              <a:round/>
              <a:headEnd type="none" w="sm" len="sm"/>
              <a:tailEnd type="none" w="sm" len="sm"/>
            </a:ln>
          </p:spPr>
          <p:txBody>
            <a:bodyPr spcFirstLastPara="1" wrap="square" lIns="121900" tIns="60925" rIns="121900" bIns="60925" anchor="ctr" anchorCtr="0">
              <a:noAutofit/>
            </a:bodyPr>
            <a:lstStyle/>
            <a:p>
              <a:pPr marL="0" marR="0" lvl="0" indent="0" algn="ctr" rtl="0">
                <a:lnSpc>
                  <a:spcPct val="100000"/>
                </a:lnSpc>
                <a:spcBef>
                  <a:spcPts val="0"/>
                </a:spcBef>
                <a:spcAft>
                  <a:spcPts val="0"/>
                </a:spcAft>
                <a:buClr>
                  <a:schemeClr val="dk1"/>
                </a:buClr>
                <a:buSzPts val="700"/>
                <a:buFont typeface="Calibri"/>
                <a:buNone/>
              </a:pPr>
              <a:endParaRPr sz="700" b="0" i="0" u="none" strike="noStrike" cap="none">
                <a:solidFill>
                  <a:schemeClr val="dk2"/>
                </a:solidFill>
                <a:latin typeface="PT Serif"/>
                <a:ea typeface="PT Serif"/>
                <a:cs typeface="PT Serif"/>
                <a:sym typeface="PT Serif"/>
              </a:endParaRPr>
            </a:p>
          </p:txBody>
        </p:sp>
        <p:sp>
          <p:nvSpPr>
            <p:cNvPr id="124" name="Google Shape;720;p22">
              <a:extLst>
                <a:ext uri="{FF2B5EF4-FFF2-40B4-BE49-F238E27FC236}">
                  <a16:creationId xmlns:a16="http://schemas.microsoft.com/office/drawing/2014/main" id="{3927D24C-3D9A-49E6-98C6-9726B7661B81}"/>
                </a:ext>
              </a:extLst>
            </p:cNvPr>
            <p:cNvSpPr/>
            <p:nvPr/>
          </p:nvSpPr>
          <p:spPr>
            <a:xfrm>
              <a:off x="8441380" y="969090"/>
              <a:ext cx="195608" cy="194198"/>
            </a:xfrm>
            <a:prstGeom prst="diamond">
              <a:avLst/>
            </a:prstGeom>
            <a:solidFill>
              <a:schemeClr val="accent3"/>
            </a:solidFill>
            <a:ln w="9525" cap="flat" cmpd="sng">
              <a:solidFill>
                <a:schemeClr val="lt1"/>
              </a:solidFill>
              <a:prstDash val="solid"/>
              <a:round/>
              <a:headEnd type="none" w="sm" len="sm"/>
              <a:tailEnd type="none" w="sm" len="sm"/>
            </a:ln>
          </p:spPr>
          <p:txBody>
            <a:bodyPr spcFirstLastPara="1" wrap="square" lIns="121900" tIns="60925" rIns="121900" bIns="60925" anchor="ctr" anchorCtr="0">
              <a:noAutofit/>
            </a:bodyPr>
            <a:lstStyle/>
            <a:p>
              <a:pPr marL="0" marR="0" lvl="0" indent="0" algn="ctr" rtl="0">
                <a:lnSpc>
                  <a:spcPct val="100000"/>
                </a:lnSpc>
                <a:spcBef>
                  <a:spcPts val="0"/>
                </a:spcBef>
                <a:spcAft>
                  <a:spcPts val="0"/>
                </a:spcAft>
                <a:buClr>
                  <a:schemeClr val="dk1"/>
                </a:buClr>
                <a:buSzPts val="700"/>
                <a:buFont typeface="Calibri"/>
                <a:buNone/>
              </a:pPr>
              <a:endParaRPr sz="700" b="0" i="0" u="none" strike="noStrike" cap="none">
                <a:solidFill>
                  <a:schemeClr val="dk2"/>
                </a:solidFill>
                <a:latin typeface="PT Serif"/>
                <a:ea typeface="PT Serif"/>
                <a:cs typeface="PT Serif"/>
                <a:sym typeface="PT Serif"/>
              </a:endParaRPr>
            </a:p>
          </p:txBody>
        </p:sp>
        <p:sp>
          <p:nvSpPr>
            <p:cNvPr id="125" name="Google Shape;721;p22">
              <a:extLst>
                <a:ext uri="{FF2B5EF4-FFF2-40B4-BE49-F238E27FC236}">
                  <a16:creationId xmlns:a16="http://schemas.microsoft.com/office/drawing/2014/main" id="{3E514B59-F9C8-4C76-973B-1F2C3AB2226B}"/>
                </a:ext>
              </a:extLst>
            </p:cNvPr>
            <p:cNvSpPr txBox="1"/>
            <p:nvPr/>
          </p:nvSpPr>
          <p:spPr>
            <a:xfrm>
              <a:off x="8665301" y="1040992"/>
              <a:ext cx="572133" cy="246221"/>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chemeClr val="dk2"/>
                </a:buClr>
                <a:buSzPts val="700"/>
                <a:buFont typeface="PT Serif"/>
                <a:buNone/>
              </a:pPr>
              <a:r>
                <a:rPr lang="en-US" sz="800" b="0" i="0" u="none" strike="noStrike" cap="none">
                  <a:solidFill>
                    <a:schemeClr val="dk2"/>
                  </a:solidFill>
                  <a:latin typeface="Source Sans Pro"/>
                  <a:ea typeface="Source Sans Pro"/>
                  <a:cs typeface="Source Sans Pro"/>
                  <a:sym typeface="Source Sans Pro"/>
                </a:rPr>
                <a:t>Owned by design team</a:t>
              </a:r>
              <a:endParaRPr sz="800" b="0" i="0" u="none" strike="noStrike" cap="none">
                <a:solidFill>
                  <a:schemeClr val="dk2"/>
                </a:solidFill>
                <a:latin typeface="Source Sans Pro"/>
                <a:ea typeface="Source Sans Pro"/>
                <a:cs typeface="Source Sans Pro"/>
                <a:sym typeface="Source Sans Pro"/>
              </a:endParaRPr>
            </a:p>
          </p:txBody>
        </p:sp>
        <p:sp>
          <p:nvSpPr>
            <p:cNvPr id="126" name="Google Shape;722;p22">
              <a:extLst>
                <a:ext uri="{FF2B5EF4-FFF2-40B4-BE49-F238E27FC236}">
                  <a16:creationId xmlns:a16="http://schemas.microsoft.com/office/drawing/2014/main" id="{0F88BD2B-0FA8-43BF-8E8B-04E1C76E136B}"/>
                </a:ext>
              </a:extLst>
            </p:cNvPr>
            <p:cNvSpPr txBox="1"/>
            <p:nvPr/>
          </p:nvSpPr>
          <p:spPr>
            <a:xfrm>
              <a:off x="10855095" y="1038271"/>
              <a:ext cx="379643" cy="123111"/>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chemeClr val="dk2"/>
                </a:buClr>
                <a:buSzPts val="700"/>
                <a:buFont typeface="PT Serif"/>
                <a:buNone/>
              </a:pPr>
              <a:r>
                <a:rPr lang="en-US" sz="800" b="0" i="0" u="none" strike="noStrike" cap="none">
                  <a:solidFill>
                    <a:schemeClr val="dk2"/>
                  </a:solidFill>
                  <a:latin typeface="Source Sans Pro"/>
                  <a:ea typeface="Source Sans Pro"/>
                  <a:cs typeface="Source Sans Pro"/>
                  <a:sym typeface="Source Sans Pro"/>
                </a:rPr>
                <a:t>Release</a:t>
              </a:r>
              <a:endParaRPr sz="800" b="0" i="0" u="none" strike="noStrike" cap="none">
                <a:solidFill>
                  <a:schemeClr val="dk2"/>
                </a:solidFill>
                <a:latin typeface="Source Sans Pro"/>
                <a:ea typeface="Source Sans Pro"/>
                <a:cs typeface="Source Sans Pro"/>
                <a:sym typeface="Source Sans Pro"/>
              </a:endParaRPr>
            </a:p>
          </p:txBody>
        </p:sp>
        <p:sp>
          <p:nvSpPr>
            <p:cNvPr id="127" name="Google Shape;723;p22">
              <a:extLst>
                <a:ext uri="{FF2B5EF4-FFF2-40B4-BE49-F238E27FC236}">
                  <a16:creationId xmlns:a16="http://schemas.microsoft.com/office/drawing/2014/main" id="{67FB492E-3E2B-42BF-A310-0CE6E5448A0B}"/>
                </a:ext>
              </a:extLst>
            </p:cNvPr>
            <p:cNvSpPr txBox="1"/>
            <p:nvPr/>
          </p:nvSpPr>
          <p:spPr>
            <a:xfrm>
              <a:off x="9730852" y="1031921"/>
              <a:ext cx="811443" cy="369332"/>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chemeClr val="dk2"/>
                </a:buClr>
                <a:buSzPts val="700"/>
                <a:buFont typeface="PT Serif"/>
                <a:buNone/>
              </a:pPr>
              <a:r>
                <a:rPr lang="en-US" sz="800" b="0" i="0" u="none" strike="noStrike" cap="none">
                  <a:solidFill>
                    <a:schemeClr val="dk2"/>
                  </a:solidFill>
                  <a:latin typeface="Source Sans Pro"/>
                  <a:ea typeface="Source Sans Pro"/>
                  <a:cs typeface="Source Sans Pro"/>
                  <a:sym typeface="Source Sans Pro"/>
                </a:rPr>
                <a:t>Owned by product/ engineering team</a:t>
              </a:r>
              <a:endParaRPr sz="800" b="0" i="0" u="none" strike="noStrike" cap="none">
                <a:solidFill>
                  <a:schemeClr val="dk2"/>
                </a:solidFill>
                <a:latin typeface="Source Sans Pro"/>
                <a:ea typeface="Source Sans Pro"/>
                <a:cs typeface="Source Sans Pro"/>
                <a:sym typeface="Source Sans Pro"/>
              </a:endParaRPr>
            </a:p>
          </p:txBody>
        </p:sp>
      </p:grpSp>
      <p:sp>
        <p:nvSpPr>
          <p:cNvPr id="117" name="Google Shape;362;p7">
            <a:extLst>
              <a:ext uri="{FF2B5EF4-FFF2-40B4-BE49-F238E27FC236}">
                <a16:creationId xmlns:a16="http://schemas.microsoft.com/office/drawing/2014/main" id="{E2FD5C6C-CA12-4E89-9D17-227059EEB7D4}"/>
              </a:ext>
            </a:extLst>
          </p:cNvPr>
          <p:cNvSpPr txBox="1"/>
          <p:nvPr/>
        </p:nvSpPr>
        <p:spPr>
          <a:xfrm>
            <a:off x="6792386" y="1820991"/>
            <a:ext cx="656498" cy="276999"/>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1" i="0" u="none" strike="noStrike" cap="none">
                <a:solidFill>
                  <a:srgbClr val="202120"/>
                </a:solidFill>
                <a:latin typeface="Source Sans Pro Semibold"/>
                <a:ea typeface="Source Sans Pro Semibold"/>
                <a:cs typeface="Source Sans Pro Semibold"/>
                <a:sym typeface="Source Sans Pro SemiBold"/>
              </a:rPr>
              <a:t>Week 11: 3/30 – 04/06</a:t>
            </a:r>
            <a:endParaRPr sz="900" b="1" i="0" u="none" strike="noStrike" cap="none">
              <a:solidFill>
                <a:srgbClr val="202120"/>
              </a:solidFill>
              <a:latin typeface="Source Sans Pro Semibold"/>
              <a:ea typeface="Source Sans Pro Semibold"/>
              <a:cs typeface="Source Sans Pro Semibold"/>
              <a:sym typeface="Source Sans Pro SemiBold"/>
            </a:endParaRPr>
          </a:p>
        </p:txBody>
      </p:sp>
      <p:cxnSp>
        <p:nvCxnSpPr>
          <p:cNvPr id="119" name="Google Shape;395;p7">
            <a:extLst>
              <a:ext uri="{FF2B5EF4-FFF2-40B4-BE49-F238E27FC236}">
                <a16:creationId xmlns:a16="http://schemas.microsoft.com/office/drawing/2014/main" id="{BE5967B3-C8EE-4DCD-9A67-1ED6C8099880}"/>
              </a:ext>
            </a:extLst>
          </p:cNvPr>
          <p:cNvCxnSpPr/>
          <p:nvPr/>
        </p:nvCxnSpPr>
        <p:spPr>
          <a:xfrm>
            <a:off x="6607631" y="1742197"/>
            <a:ext cx="0" cy="4345725"/>
          </a:xfrm>
          <a:prstGeom prst="straightConnector1">
            <a:avLst/>
          </a:prstGeom>
          <a:noFill/>
          <a:ln w="9525" cap="flat" cmpd="sng">
            <a:solidFill>
              <a:srgbClr val="C7C7C7"/>
            </a:solidFill>
            <a:prstDash val="dot"/>
            <a:round/>
            <a:headEnd type="none" w="sm" len="sm"/>
            <a:tailEnd type="none" w="sm" len="sm"/>
          </a:ln>
        </p:spPr>
      </p:cxnSp>
      <p:cxnSp>
        <p:nvCxnSpPr>
          <p:cNvPr id="120" name="Google Shape;422;p7">
            <a:extLst>
              <a:ext uri="{FF2B5EF4-FFF2-40B4-BE49-F238E27FC236}">
                <a16:creationId xmlns:a16="http://schemas.microsoft.com/office/drawing/2014/main" id="{55FA9FF7-4455-4B47-9023-FF6BDA918F8C}"/>
              </a:ext>
            </a:extLst>
          </p:cNvPr>
          <p:cNvCxnSpPr/>
          <p:nvPr/>
        </p:nvCxnSpPr>
        <p:spPr>
          <a:xfrm>
            <a:off x="5616718" y="1755202"/>
            <a:ext cx="1925293" cy="0"/>
          </a:xfrm>
          <a:prstGeom prst="straightConnector1">
            <a:avLst/>
          </a:prstGeom>
          <a:noFill/>
          <a:ln w="12700" cap="flat" cmpd="sng">
            <a:solidFill>
              <a:schemeClr val="dk1"/>
            </a:solidFill>
            <a:prstDash val="solid"/>
            <a:round/>
            <a:headEnd type="none" w="sm" len="sm"/>
            <a:tailEnd type="none" w="sm" len="sm"/>
          </a:ln>
        </p:spPr>
      </p:cxnSp>
      <p:cxnSp>
        <p:nvCxnSpPr>
          <p:cNvPr id="121" name="Google Shape;396;p7">
            <a:extLst>
              <a:ext uri="{FF2B5EF4-FFF2-40B4-BE49-F238E27FC236}">
                <a16:creationId xmlns:a16="http://schemas.microsoft.com/office/drawing/2014/main" id="{97E780CD-675F-4964-B3D4-48E0D2AE9F84}"/>
              </a:ext>
            </a:extLst>
          </p:cNvPr>
          <p:cNvCxnSpPr/>
          <p:nvPr/>
        </p:nvCxnSpPr>
        <p:spPr>
          <a:xfrm>
            <a:off x="7567421" y="1764969"/>
            <a:ext cx="0" cy="4345725"/>
          </a:xfrm>
          <a:prstGeom prst="straightConnector1">
            <a:avLst/>
          </a:prstGeom>
          <a:noFill/>
          <a:ln w="9525" cap="flat" cmpd="sng">
            <a:solidFill>
              <a:srgbClr val="7F7F7F"/>
            </a:solidFill>
            <a:prstDash val="solid"/>
            <a:round/>
            <a:headEnd type="none" w="sm" len="sm"/>
            <a:tailEnd type="none" w="sm" len="sm"/>
          </a:ln>
        </p:spPr>
      </p:cxnSp>
      <p:sp>
        <p:nvSpPr>
          <p:cNvPr id="128" name="Google Shape;369;p7">
            <a:extLst>
              <a:ext uri="{FF2B5EF4-FFF2-40B4-BE49-F238E27FC236}">
                <a16:creationId xmlns:a16="http://schemas.microsoft.com/office/drawing/2014/main" id="{C61FD168-ED42-4403-BA38-E257254F57EF}"/>
              </a:ext>
            </a:extLst>
          </p:cNvPr>
          <p:cNvSpPr txBox="1"/>
          <p:nvPr/>
        </p:nvSpPr>
        <p:spPr>
          <a:xfrm>
            <a:off x="7622910" y="1804119"/>
            <a:ext cx="660841" cy="276999"/>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1" i="0" u="none" strike="noStrike" cap="none">
                <a:solidFill>
                  <a:srgbClr val="202120"/>
                </a:solidFill>
                <a:latin typeface="Source Sans Pro Semibold"/>
                <a:ea typeface="Source Sans Pro Semibold"/>
                <a:cs typeface="Source Sans Pro Semibold"/>
                <a:sym typeface="Source Sans Pro SemiBold"/>
              </a:rPr>
              <a:t>Week 12: 04/06-04/13</a:t>
            </a:r>
            <a:endParaRPr sz="900" b="1" i="0" u="none" strike="noStrike" cap="none">
              <a:solidFill>
                <a:srgbClr val="202120"/>
              </a:solidFill>
              <a:latin typeface="Source Sans Pro Semibold"/>
              <a:ea typeface="Source Sans Pro Semibold"/>
              <a:cs typeface="Source Sans Pro Semibold"/>
              <a:sym typeface="Source Sans Pro SemiBold"/>
            </a:endParaRPr>
          </a:p>
        </p:txBody>
      </p:sp>
      <p:sp>
        <p:nvSpPr>
          <p:cNvPr id="129" name="Google Shape;370;p7">
            <a:extLst>
              <a:ext uri="{FF2B5EF4-FFF2-40B4-BE49-F238E27FC236}">
                <a16:creationId xmlns:a16="http://schemas.microsoft.com/office/drawing/2014/main" id="{679DDD97-7B33-4561-9F37-C9E486FFDBAF}"/>
              </a:ext>
            </a:extLst>
          </p:cNvPr>
          <p:cNvSpPr txBox="1"/>
          <p:nvPr/>
        </p:nvSpPr>
        <p:spPr>
          <a:xfrm>
            <a:off x="7588372" y="1552197"/>
            <a:ext cx="845348" cy="138499"/>
          </a:xfrm>
          <a:prstGeom prst="rect">
            <a:avLst/>
          </a:prstGeom>
          <a:noFill/>
          <a:ln>
            <a:noFill/>
          </a:ln>
        </p:spPr>
        <p:txBody>
          <a:bodyPr spcFirstLastPara="1" wrap="square" lIns="0" tIns="0" rIns="0" bIns="0" anchor="b"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1" i="0" u="none" strike="noStrike" cap="none">
                <a:solidFill>
                  <a:srgbClr val="202120"/>
                </a:solidFill>
                <a:latin typeface="Source Sans Pro Semibold"/>
                <a:ea typeface="Source Sans Pro Semibold"/>
                <a:cs typeface="Source Sans Pro Semibold"/>
                <a:sym typeface="Source Sans Pro SemiBold"/>
              </a:rPr>
              <a:t>SPRINT 6</a:t>
            </a:r>
            <a:endParaRPr/>
          </a:p>
        </p:txBody>
      </p:sp>
      <p:cxnSp>
        <p:nvCxnSpPr>
          <p:cNvPr id="131" name="Google Shape;396;p7">
            <a:extLst>
              <a:ext uri="{FF2B5EF4-FFF2-40B4-BE49-F238E27FC236}">
                <a16:creationId xmlns:a16="http://schemas.microsoft.com/office/drawing/2014/main" id="{CA95AD8E-ED34-4D5B-96B5-8760CBB199C6}"/>
              </a:ext>
            </a:extLst>
          </p:cNvPr>
          <p:cNvCxnSpPr/>
          <p:nvPr/>
        </p:nvCxnSpPr>
        <p:spPr>
          <a:xfrm>
            <a:off x="7567170" y="1738705"/>
            <a:ext cx="0" cy="4345725"/>
          </a:xfrm>
          <a:prstGeom prst="straightConnector1">
            <a:avLst/>
          </a:prstGeom>
          <a:noFill/>
          <a:ln w="9525" cap="flat" cmpd="sng">
            <a:solidFill>
              <a:srgbClr val="7F7F7F"/>
            </a:solidFill>
            <a:prstDash val="solid"/>
            <a:round/>
            <a:headEnd type="none" w="sm" len="sm"/>
            <a:tailEnd type="none" w="sm" len="sm"/>
          </a:ln>
        </p:spPr>
      </p:cxnSp>
      <p:cxnSp>
        <p:nvCxnSpPr>
          <p:cNvPr id="135" name="Google Shape;423;p7">
            <a:extLst>
              <a:ext uri="{FF2B5EF4-FFF2-40B4-BE49-F238E27FC236}">
                <a16:creationId xmlns:a16="http://schemas.microsoft.com/office/drawing/2014/main" id="{07D150B9-41C8-4CFF-ACA8-4BE69CAF1760}"/>
              </a:ext>
            </a:extLst>
          </p:cNvPr>
          <p:cNvCxnSpPr>
            <a:cxnSpLocks/>
          </p:cNvCxnSpPr>
          <p:nvPr/>
        </p:nvCxnSpPr>
        <p:spPr>
          <a:xfrm flipV="1">
            <a:off x="7588372" y="1748592"/>
            <a:ext cx="1935415" cy="970"/>
          </a:xfrm>
          <a:prstGeom prst="straightConnector1">
            <a:avLst/>
          </a:prstGeom>
          <a:noFill/>
          <a:ln w="12700" cap="flat" cmpd="sng">
            <a:solidFill>
              <a:schemeClr val="dk1"/>
            </a:solidFill>
            <a:prstDash val="solid"/>
            <a:round/>
            <a:headEnd type="none" w="sm" len="sm"/>
            <a:tailEnd type="none" w="sm" len="sm"/>
          </a:ln>
        </p:spPr>
      </p:cxnSp>
      <p:sp>
        <p:nvSpPr>
          <p:cNvPr id="137" name="Google Shape;362;p7">
            <a:extLst>
              <a:ext uri="{FF2B5EF4-FFF2-40B4-BE49-F238E27FC236}">
                <a16:creationId xmlns:a16="http://schemas.microsoft.com/office/drawing/2014/main" id="{1301D16D-0233-425B-8533-705B8AA7A3FB}"/>
              </a:ext>
            </a:extLst>
          </p:cNvPr>
          <p:cNvSpPr txBox="1"/>
          <p:nvPr/>
        </p:nvSpPr>
        <p:spPr>
          <a:xfrm>
            <a:off x="8783644" y="1802210"/>
            <a:ext cx="656498" cy="276999"/>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1" i="0" u="none" strike="noStrike" cap="none">
                <a:solidFill>
                  <a:srgbClr val="202120"/>
                </a:solidFill>
                <a:latin typeface="Source Sans Pro Semibold"/>
                <a:ea typeface="Source Sans Pro Semibold"/>
                <a:cs typeface="Source Sans Pro Semibold"/>
                <a:sym typeface="Source Sans Pro SemiBold"/>
              </a:rPr>
              <a:t>Week 13: 04/13-04/20</a:t>
            </a:r>
            <a:endParaRPr sz="900" b="1" i="0" u="none" strike="noStrike" cap="none">
              <a:solidFill>
                <a:srgbClr val="202120"/>
              </a:solidFill>
              <a:latin typeface="Source Sans Pro Semibold"/>
              <a:ea typeface="Source Sans Pro Semibold"/>
              <a:cs typeface="Source Sans Pro Semibold"/>
              <a:sym typeface="Source Sans Pro SemiBold"/>
            </a:endParaRPr>
          </a:p>
        </p:txBody>
      </p:sp>
      <p:cxnSp>
        <p:nvCxnSpPr>
          <p:cNvPr id="138" name="Google Shape;395;p7">
            <a:extLst>
              <a:ext uri="{FF2B5EF4-FFF2-40B4-BE49-F238E27FC236}">
                <a16:creationId xmlns:a16="http://schemas.microsoft.com/office/drawing/2014/main" id="{72CD5195-4FCE-4FC8-B037-A7E561D0D2AA}"/>
              </a:ext>
            </a:extLst>
          </p:cNvPr>
          <p:cNvCxnSpPr/>
          <p:nvPr/>
        </p:nvCxnSpPr>
        <p:spPr>
          <a:xfrm>
            <a:off x="10482348" y="1804641"/>
            <a:ext cx="0" cy="4345725"/>
          </a:xfrm>
          <a:prstGeom prst="straightConnector1">
            <a:avLst/>
          </a:prstGeom>
          <a:noFill/>
          <a:ln w="9525" cap="flat" cmpd="sng">
            <a:solidFill>
              <a:srgbClr val="C7C7C7"/>
            </a:solidFill>
            <a:prstDash val="dot"/>
            <a:round/>
            <a:headEnd type="none" w="sm" len="sm"/>
            <a:tailEnd type="none" w="sm" len="sm"/>
          </a:ln>
        </p:spPr>
      </p:cxnSp>
      <p:sp>
        <p:nvSpPr>
          <p:cNvPr id="94" name="Google Shape;695;p20">
            <a:extLst>
              <a:ext uri="{FF2B5EF4-FFF2-40B4-BE49-F238E27FC236}">
                <a16:creationId xmlns:a16="http://schemas.microsoft.com/office/drawing/2014/main" id="{E31314A6-B11D-4476-9803-2FB49A1BD625}"/>
              </a:ext>
            </a:extLst>
          </p:cNvPr>
          <p:cNvSpPr txBox="1"/>
          <p:nvPr/>
        </p:nvSpPr>
        <p:spPr>
          <a:xfrm>
            <a:off x="10140593" y="6408650"/>
            <a:ext cx="1500232" cy="276959"/>
          </a:xfrm>
          <a:prstGeom prst="rect">
            <a:avLst/>
          </a:prstGeom>
          <a:noFill/>
          <a:ln>
            <a:noFill/>
          </a:ln>
        </p:spPr>
        <p:txBody>
          <a:bodyPr spcFirstLastPara="1" wrap="square" lIns="91425" tIns="45700" rIns="91425" bIns="45700"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r">
              <a:buClr>
                <a:srgbClr val="747C74"/>
              </a:buClr>
              <a:buSzPts val="1200"/>
            </a:pPr>
            <a:r>
              <a:rPr lang="en-US" sz="1200">
                <a:solidFill>
                  <a:srgbClr val="747C74"/>
                </a:solidFill>
                <a:latin typeface="Source Sans Pro"/>
                <a:ea typeface="Source Sans Pro"/>
                <a:cs typeface="Calibri"/>
                <a:sym typeface="Source Sans Pro"/>
              </a:rPr>
              <a:t>Workplan</a:t>
            </a:r>
            <a:endParaRPr sz="1800">
              <a:solidFill>
                <a:schemeClr val="dk1"/>
              </a:solidFill>
              <a:latin typeface="Calibri"/>
              <a:ea typeface="Calibri"/>
              <a:cs typeface="Calibri"/>
              <a:sym typeface="Calibri"/>
            </a:endParaRPr>
          </a:p>
        </p:txBody>
      </p:sp>
      <p:grpSp>
        <p:nvGrpSpPr>
          <p:cNvPr id="3" name="Google Shape;448;p7">
            <a:extLst>
              <a:ext uri="{FF2B5EF4-FFF2-40B4-BE49-F238E27FC236}">
                <a16:creationId xmlns:a16="http://schemas.microsoft.com/office/drawing/2014/main" id="{04B4B9EF-39BF-81F3-070D-703E1C6BC8C8}"/>
              </a:ext>
            </a:extLst>
          </p:cNvPr>
          <p:cNvGrpSpPr/>
          <p:nvPr/>
        </p:nvGrpSpPr>
        <p:grpSpPr>
          <a:xfrm>
            <a:off x="8916202" y="1110854"/>
            <a:ext cx="1295226" cy="4981842"/>
            <a:chOff x="7066561" y="1375225"/>
            <a:chExt cx="1365250" cy="5011519"/>
          </a:xfrm>
        </p:grpSpPr>
        <p:cxnSp>
          <p:nvCxnSpPr>
            <p:cNvPr id="96" name="Google Shape;449;p7">
              <a:extLst>
                <a:ext uri="{FF2B5EF4-FFF2-40B4-BE49-F238E27FC236}">
                  <a16:creationId xmlns:a16="http://schemas.microsoft.com/office/drawing/2014/main" id="{448CA91B-8DA9-1C1C-AA1D-6DFE020531CC}"/>
                </a:ext>
              </a:extLst>
            </p:cNvPr>
            <p:cNvCxnSpPr/>
            <p:nvPr/>
          </p:nvCxnSpPr>
          <p:spPr>
            <a:xfrm flipH="1">
              <a:off x="7731472" y="1782465"/>
              <a:ext cx="4750" cy="4604279"/>
            </a:xfrm>
            <a:prstGeom prst="straightConnector1">
              <a:avLst/>
            </a:prstGeom>
            <a:noFill/>
            <a:ln w="12700" cap="flat" cmpd="sng">
              <a:solidFill>
                <a:srgbClr val="A1AEBF"/>
              </a:solidFill>
              <a:prstDash val="solid"/>
              <a:round/>
              <a:headEnd type="none" w="sm" len="sm"/>
              <a:tailEnd type="none" w="sm" len="sm"/>
            </a:ln>
          </p:spPr>
        </p:cxnSp>
        <p:grpSp>
          <p:nvGrpSpPr>
            <p:cNvPr id="97" name="Google Shape;450;p7">
              <a:extLst>
                <a:ext uri="{FF2B5EF4-FFF2-40B4-BE49-F238E27FC236}">
                  <a16:creationId xmlns:a16="http://schemas.microsoft.com/office/drawing/2014/main" id="{D9C2C79E-3DA2-A547-A6C1-A2A48BA151D4}"/>
                </a:ext>
              </a:extLst>
            </p:cNvPr>
            <p:cNvGrpSpPr/>
            <p:nvPr/>
          </p:nvGrpSpPr>
          <p:grpSpPr>
            <a:xfrm>
              <a:off x="7066561" y="1375225"/>
              <a:ext cx="1365250" cy="421359"/>
              <a:chOff x="7187211" y="1406975"/>
              <a:chExt cx="1365250" cy="421359"/>
            </a:xfrm>
          </p:grpSpPr>
          <p:sp>
            <p:nvSpPr>
              <p:cNvPr id="98" name="Google Shape;451;p7">
                <a:extLst>
                  <a:ext uri="{FF2B5EF4-FFF2-40B4-BE49-F238E27FC236}">
                    <a16:creationId xmlns:a16="http://schemas.microsoft.com/office/drawing/2014/main" id="{3A23AAE2-4269-C3E7-E699-BA0249A4E5CE}"/>
                  </a:ext>
                </a:extLst>
              </p:cNvPr>
              <p:cNvSpPr/>
              <p:nvPr/>
            </p:nvSpPr>
            <p:spPr>
              <a:xfrm>
                <a:off x="7187211" y="1406975"/>
                <a:ext cx="1365250" cy="344166"/>
              </a:xfrm>
              <a:prstGeom prst="roundRect">
                <a:avLst>
                  <a:gd name="adj" fmla="val 16667"/>
                </a:avLst>
              </a:prstGeom>
              <a:solidFill>
                <a:srgbClr val="D3E9FF"/>
              </a:solidFill>
              <a:ln>
                <a:noFill/>
              </a:ln>
            </p:spPr>
            <p:txBody>
              <a:bodyPr spcFirstLastPara="1" wrap="square" lIns="91425" tIns="73150" rIns="91425" bIns="45700" anchor="ctr" anchorCtr="0">
                <a:noAutofit/>
              </a:bodyPr>
              <a:lstStyle/>
              <a:p>
                <a:pPr marL="0" marR="0" lvl="0" indent="0" algn="ctr" rtl="0">
                  <a:lnSpc>
                    <a:spcPct val="100000"/>
                  </a:lnSpc>
                  <a:spcBef>
                    <a:spcPts val="0"/>
                  </a:spcBef>
                  <a:spcAft>
                    <a:spcPts val="0"/>
                  </a:spcAft>
                  <a:buClr>
                    <a:schemeClr val="accent1"/>
                  </a:buClr>
                  <a:buSzPts val="1200"/>
                  <a:buFont typeface="Source Sans Pro SemiBold"/>
                  <a:buNone/>
                </a:pPr>
                <a:r>
                  <a:rPr lang="en-US" sz="1200" b="1" i="0" u="none" strike="noStrike" cap="none">
                    <a:solidFill>
                      <a:schemeClr val="accent1"/>
                    </a:solidFill>
                    <a:latin typeface="Source Sans Pro Semibold"/>
                    <a:ea typeface="Source Sans Pro Semibold"/>
                    <a:cs typeface="Source Sans Pro Semibold"/>
                    <a:sym typeface="Source Sans Pro SemiBold"/>
                  </a:rPr>
                  <a:t>WE ARE HERE</a:t>
                </a:r>
                <a:endParaRPr sz="1200" b="1" i="0" u="none" strike="noStrike" cap="none">
                  <a:solidFill>
                    <a:schemeClr val="accent1"/>
                  </a:solidFill>
                  <a:latin typeface="Source Sans Pro Semibold"/>
                  <a:ea typeface="Source Sans Pro Semibold"/>
                  <a:cs typeface="Source Sans Pro Semibold"/>
                  <a:sym typeface="Source Sans Pro SemiBold"/>
                </a:endParaRPr>
              </a:p>
            </p:txBody>
          </p:sp>
          <p:sp>
            <p:nvSpPr>
              <p:cNvPr id="99" name="Google Shape;452;p7">
                <a:extLst>
                  <a:ext uri="{FF2B5EF4-FFF2-40B4-BE49-F238E27FC236}">
                    <a16:creationId xmlns:a16="http://schemas.microsoft.com/office/drawing/2014/main" id="{E30D416F-7947-2763-0E54-B1F9E0F67A72}"/>
                  </a:ext>
                </a:extLst>
              </p:cNvPr>
              <p:cNvSpPr/>
              <p:nvPr/>
            </p:nvSpPr>
            <p:spPr>
              <a:xfrm rot="10800000">
                <a:off x="7773027" y="1745784"/>
                <a:ext cx="171449" cy="82550"/>
              </a:xfrm>
              <a:prstGeom prst="triangle">
                <a:avLst>
                  <a:gd name="adj" fmla="val 50000"/>
                </a:avLst>
              </a:prstGeom>
              <a:solidFill>
                <a:srgbClr val="D3E9FF"/>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400"/>
                  <a:buFont typeface="Calibri"/>
                  <a:buNone/>
                </a:pPr>
                <a:endParaRPr sz="1400" b="0" i="0" u="none" strike="noStrike" cap="none">
                  <a:solidFill>
                    <a:schemeClr val="lt1"/>
                  </a:solidFill>
                  <a:latin typeface="Arial"/>
                  <a:ea typeface="Arial"/>
                  <a:cs typeface="Arial"/>
                  <a:sym typeface="Arial"/>
                </a:endParaRPr>
              </a:p>
            </p:txBody>
          </p:sp>
        </p:grpSp>
      </p:grpSp>
      <p:sp>
        <p:nvSpPr>
          <p:cNvPr id="101" name="Google Shape;770;p22">
            <a:extLst>
              <a:ext uri="{FF2B5EF4-FFF2-40B4-BE49-F238E27FC236}">
                <a16:creationId xmlns:a16="http://schemas.microsoft.com/office/drawing/2014/main" id="{C490854A-3705-D3C2-CB0B-CA528B8E7892}"/>
              </a:ext>
            </a:extLst>
          </p:cNvPr>
          <p:cNvSpPr/>
          <p:nvPr/>
        </p:nvSpPr>
        <p:spPr>
          <a:xfrm>
            <a:off x="5581820" y="3044289"/>
            <a:ext cx="3939667" cy="280948"/>
          </a:xfrm>
          <a:prstGeom prst="rect">
            <a:avLst/>
          </a:prstGeom>
          <a:solidFill>
            <a:schemeClr val="accent1"/>
          </a:solidFill>
          <a:ln w="28575" cap="flat" cmpd="sng">
            <a:noFill/>
            <a:prstDash val="solid"/>
            <a:round/>
            <a:headEnd type="none" w="sm" len="sm"/>
            <a:tailEnd type="none" w="sm" len="sm"/>
          </a:ln>
        </p:spPr>
        <p:txBody>
          <a:bodyPr spcFirstLastPara="1" wrap="square" lIns="91425" tIns="60925" rIns="60950" bIns="60925" anchor="ctr" anchorCtr="0">
            <a:noAutofit/>
          </a:bodyPr>
          <a:lstStyle/>
          <a:p>
            <a:r>
              <a:rPr lang="en-US" sz="900">
                <a:solidFill>
                  <a:srgbClr val="FDFFFD"/>
                </a:solidFill>
                <a:latin typeface="Source Sans Pro"/>
                <a:ea typeface="Source Sans Pro"/>
                <a:sym typeface="Source Sans Pro"/>
              </a:rPr>
              <a:t>CC Tech Discovery + Value + Viability</a:t>
            </a:r>
            <a:endParaRPr lang="en-US"/>
          </a:p>
        </p:txBody>
      </p:sp>
      <p:sp>
        <p:nvSpPr>
          <p:cNvPr id="102" name="Google Shape;413;p7">
            <a:extLst>
              <a:ext uri="{FF2B5EF4-FFF2-40B4-BE49-F238E27FC236}">
                <a16:creationId xmlns:a16="http://schemas.microsoft.com/office/drawing/2014/main" id="{1A6A5D54-4780-E7F1-2C5A-B261190E065C}"/>
              </a:ext>
            </a:extLst>
          </p:cNvPr>
          <p:cNvSpPr/>
          <p:nvPr/>
        </p:nvSpPr>
        <p:spPr>
          <a:xfrm>
            <a:off x="5573879" y="3424962"/>
            <a:ext cx="3957597" cy="324842"/>
          </a:xfrm>
          <a:prstGeom prst="rect">
            <a:avLst/>
          </a:prstGeom>
          <a:solidFill>
            <a:srgbClr val="0365B9"/>
          </a:solidFill>
          <a:ln w="9525" cap="flat" cmpd="sng">
            <a:solidFill>
              <a:schemeClr val="lt1"/>
            </a:solidFill>
            <a:prstDash val="solid"/>
            <a:round/>
            <a:headEnd type="none" w="sm" len="sm"/>
            <a:tailEnd type="none" w="sm" len="sm"/>
          </a:ln>
        </p:spPr>
        <p:txBody>
          <a:bodyPr spcFirstLastPara="1" wrap="square" lIns="60950" tIns="60925" rIns="60950" bIns="60925" anchor="ctr" anchorCtr="0">
            <a:noAutofit/>
          </a:bodyPr>
          <a:lstStyle/>
          <a:p>
            <a:r>
              <a:rPr lang="en-US" sz="900">
                <a:solidFill>
                  <a:srgbClr val="FDFFFD"/>
                </a:solidFill>
                <a:latin typeface="Source Sans Pro"/>
                <a:ea typeface="Source Sans Pro"/>
                <a:sym typeface="Source Sans Pro"/>
              </a:rPr>
              <a:t>  CC Current User Journey Discovery + Journey Mapping</a:t>
            </a:r>
            <a:endParaRPr lang="en-US"/>
          </a:p>
        </p:txBody>
      </p:sp>
      <p:cxnSp>
        <p:nvCxnSpPr>
          <p:cNvPr id="105" name="Google Shape;396;p7">
            <a:extLst>
              <a:ext uri="{FF2B5EF4-FFF2-40B4-BE49-F238E27FC236}">
                <a16:creationId xmlns:a16="http://schemas.microsoft.com/office/drawing/2014/main" id="{47DE1232-618A-98A7-42CA-57C78BE8003A}"/>
              </a:ext>
            </a:extLst>
          </p:cNvPr>
          <p:cNvCxnSpPr>
            <a:cxnSpLocks/>
          </p:cNvCxnSpPr>
          <p:nvPr/>
        </p:nvCxnSpPr>
        <p:spPr>
          <a:xfrm>
            <a:off x="11503954" y="1751936"/>
            <a:ext cx="0" cy="4345725"/>
          </a:xfrm>
          <a:prstGeom prst="straightConnector1">
            <a:avLst/>
          </a:prstGeom>
          <a:noFill/>
          <a:ln w="9525" cap="flat" cmpd="sng">
            <a:solidFill>
              <a:srgbClr val="7F7F7F"/>
            </a:solidFill>
            <a:prstDash val="solid"/>
            <a:round/>
            <a:headEnd type="none" w="sm" len="sm"/>
            <a:tailEnd type="none" w="sm" len="sm"/>
          </a:ln>
        </p:spPr>
      </p:cxnSp>
      <p:sp>
        <p:nvSpPr>
          <p:cNvPr id="109" name="Google Shape;369;p7">
            <a:extLst>
              <a:ext uri="{FF2B5EF4-FFF2-40B4-BE49-F238E27FC236}">
                <a16:creationId xmlns:a16="http://schemas.microsoft.com/office/drawing/2014/main" id="{F92D9E09-29DF-7A2B-29C3-3E40025E81F9}"/>
              </a:ext>
            </a:extLst>
          </p:cNvPr>
          <p:cNvSpPr txBox="1"/>
          <p:nvPr/>
        </p:nvSpPr>
        <p:spPr>
          <a:xfrm>
            <a:off x="9579865" y="1809892"/>
            <a:ext cx="660841" cy="276999"/>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1" i="0" u="none" strike="noStrike" cap="none">
                <a:solidFill>
                  <a:srgbClr val="202120"/>
                </a:solidFill>
                <a:latin typeface="Source Sans Pro Semibold"/>
                <a:ea typeface="Source Sans Pro Semibold"/>
                <a:cs typeface="Source Sans Pro Semibold"/>
                <a:sym typeface="Source Sans Pro SemiBold"/>
              </a:rPr>
              <a:t>Week </a:t>
            </a:r>
            <a:r>
              <a:rPr lang="en-US" sz="900" b="1">
                <a:solidFill>
                  <a:srgbClr val="202120"/>
                </a:solidFill>
                <a:latin typeface="Source Sans Pro Semibold"/>
                <a:ea typeface="Source Sans Pro Semibold"/>
                <a:cs typeface="Source Sans Pro Semibold"/>
                <a:sym typeface="Source Sans Pro SemiBold"/>
              </a:rPr>
              <a:t>14</a:t>
            </a:r>
            <a:r>
              <a:rPr lang="en-US" sz="900" b="1" i="0" u="none" strike="noStrike" cap="none">
                <a:solidFill>
                  <a:srgbClr val="202120"/>
                </a:solidFill>
                <a:latin typeface="Source Sans Pro Semibold"/>
                <a:ea typeface="Source Sans Pro Semibold"/>
                <a:cs typeface="Source Sans Pro Semibold"/>
                <a:sym typeface="Source Sans Pro SemiBold"/>
              </a:rPr>
              <a:t>: </a:t>
            </a:r>
            <a:r>
              <a:rPr lang="en-US" sz="900" b="1">
                <a:solidFill>
                  <a:srgbClr val="202120"/>
                </a:solidFill>
                <a:latin typeface="Source Sans Pro Semibold"/>
                <a:ea typeface="Source Sans Pro Semibold"/>
                <a:cs typeface="Source Sans Pro Semibold"/>
                <a:sym typeface="Source Sans Pro SemiBold"/>
              </a:rPr>
              <a:t>04/13-04/20</a:t>
            </a:r>
            <a:endParaRPr sz="900" b="1" i="0" u="none" strike="noStrike" cap="none">
              <a:solidFill>
                <a:srgbClr val="202120"/>
              </a:solidFill>
              <a:latin typeface="Source Sans Pro Semibold"/>
              <a:ea typeface="Source Sans Pro Semibold"/>
              <a:cs typeface="Source Sans Pro Semibold"/>
              <a:sym typeface="Source Sans Pro SemiBold"/>
            </a:endParaRPr>
          </a:p>
        </p:txBody>
      </p:sp>
      <p:cxnSp>
        <p:nvCxnSpPr>
          <p:cNvPr id="111" name="Google Shape;423;p7">
            <a:extLst>
              <a:ext uri="{FF2B5EF4-FFF2-40B4-BE49-F238E27FC236}">
                <a16:creationId xmlns:a16="http://schemas.microsoft.com/office/drawing/2014/main" id="{731970E4-ABD5-0607-31FD-27DDEA233EDF}"/>
              </a:ext>
            </a:extLst>
          </p:cNvPr>
          <p:cNvCxnSpPr>
            <a:cxnSpLocks/>
          </p:cNvCxnSpPr>
          <p:nvPr/>
        </p:nvCxnSpPr>
        <p:spPr>
          <a:xfrm flipV="1">
            <a:off x="9571603" y="1747796"/>
            <a:ext cx="1935415" cy="970"/>
          </a:xfrm>
          <a:prstGeom prst="straightConnector1">
            <a:avLst/>
          </a:prstGeom>
          <a:noFill/>
          <a:ln w="12700" cap="flat" cmpd="sng">
            <a:solidFill>
              <a:schemeClr val="dk1"/>
            </a:solidFill>
            <a:prstDash val="solid"/>
            <a:round/>
            <a:headEnd type="none" w="sm" len="sm"/>
            <a:tailEnd type="none" w="sm" len="sm"/>
          </a:ln>
        </p:spPr>
      </p:cxnSp>
      <p:sp>
        <p:nvSpPr>
          <p:cNvPr id="112" name="Google Shape;362;p7">
            <a:extLst>
              <a:ext uri="{FF2B5EF4-FFF2-40B4-BE49-F238E27FC236}">
                <a16:creationId xmlns:a16="http://schemas.microsoft.com/office/drawing/2014/main" id="{04FD28F3-2493-3CA7-9C91-B15546C0EFFC}"/>
              </a:ext>
            </a:extLst>
          </p:cNvPr>
          <p:cNvSpPr txBox="1"/>
          <p:nvPr/>
        </p:nvSpPr>
        <p:spPr>
          <a:xfrm>
            <a:off x="10740599" y="1807983"/>
            <a:ext cx="656498" cy="276999"/>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1" i="0" u="none" strike="noStrike" cap="none">
                <a:solidFill>
                  <a:srgbClr val="202120"/>
                </a:solidFill>
                <a:latin typeface="Source Sans Pro Semibold"/>
                <a:ea typeface="Source Sans Pro Semibold"/>
                <a:cs typeface="Source Sans Pro Semibold"/>
                <a:sym typeface="Source Sans Pro SemiBold"/>
              </a:rPr>
              <a:t>Week </a:t>
            </a:r>
            <a:r>
              <a:rPr lang="en-US" sz="900" b="1">
                <a:solidFill>
                  <a:srgbClr val="202120"/>
                </a:solidFill>
                <a:latin typeface="Source Sans Pro Semibold"/>
                <a:ea typeface="Source Sans Pro Semibold"/>
                <a:cs typeface="Source Sans Pro Semibold"/>
                <a:sym typeface="Source Sans Pro SemiBold"/>
              </a:rPr>
              <a:t>15</a:t>
            </a:r>
            <a:r>
              <a:rPr lang="en-US" sz="900" b="1" i="0" u="none" strike="noStrike" cap="none">
                <a:solidFill>
                  <a:srgbClr val="202120"/>
                </a:solidFill>
                <a:latin typeface="Source Sans Pro Semibold"/>
                <a:ea typeface="Source Sans Pro Semibold"/>
                <a:cs typeface="Source Sans Pro Semibold"/>
                <a:sym typeface="Source Sans Pro SemiBold"/>
              </a:rPr>
              <a:t>: </a:t>
            </a:r>
            <a:r>
              <a:rPr lang="en-US" sz="900" b="1">
                <a:solidFill>
                  <a:srgbClr val="202120"/>
                </a:solidFill>
                <a:latin typeface="Source Sans Pro Semibold"/>
                <a:ea typeface="Source Sans Pro Semibold"/>
                <a:cs typeface="Source Sans Pro Semibold"/>
                <a:sym typeface="Source Sans Pro SemiBold"/>
              </a:rPr>
              <a:t>04/20-04/27</a:t>
            </a:r>
            <a:endParaRPr sz="900" b="1" i="0" u="none" strike="noStrike" cap="none">
              <a:solidFill>
                <a:srgbClr val="202120"/>
              </a:solidFill>
              <a:latin typeface="Source Sans Pro Semibold"/>
              <a:ea typeface="Source Sans Pro Semibold"/>
              <a:cs typeface="Source Sans Pro Semibold"/>
              <a:sym typeface="Source Sans Pro SemiBold"/>
            </a:endParaRPr>
          </a:p>
        </p:txBody>
      </p:sp>
      <p:cxnSp>
        <p:nvCxnSpPr>
          <p:cNvPr id="113" name="Google Shape;395;p7">
            <a:extLst>
              <a:ext uri="{FF2B5EF4-FFF2-40B4-BE49-F238E27FC236}">
                <a16:creationId xmlns:a16="http://schemas.microsoft.com/office/drawing/2014/main" id="{1A26C620-9754-E0D5-B1A1-3437CC5D9BD8}"/>
              </a:ext>
            </a:extLst>
          </p:cNvPr>
          <p:cNvCxnSpPr>
            <a:cxnSpLocks/>
          </p:cNvCxnSpPr>
          <p:nvPr/>
        </p:nvCxnSpPr>
        <p:spPr>
          <a:xfrm>
            <a:off x="10509994" y="1759515"/>
            <a:ext cx="0" cy="4345725"/>
          </a:xfrm>
          <a:prstGeom prst="straightConnector1">
            <a:avLst/>
          </a:prstGeom>
          <a:noFill/>
          <a:ln w="9525" cap="flat" cmpd="sng">
            <a:solidFill>
              <a:srgbClr val="C7C7C7"/>
            </a:solidFill>
            <a:prstDash val="dot"/>
            <a:round/>
            <a:headEnd type="none" w="sm" len="sm"/>
            <a:tailEnd type="none" w="sm" len="sm"/>
          </a:ln>
        </p:spPr>
      </p:cxnSp>
      <p:sp>
        <p:nvSpPr>
          <p:cNvPr id="7" name="Google Shape;376;p7">
            <a:extLst>
              <a:ext uri="{FF2B5EF4-FFF2-40B4-BE49-F238E27FC236}">
                <a16:creationId xmlns:a16="http://schemas.microsoft.com/office/drawing/2014/main" id="{E2440F88-88B2-B8F7-B5C3-2F660A210546}"/>
              </a:ext>
            </a:extLst>
          </p:cNvPr>
          <p:cNvSpPr/>
          <p:nvPr/>
        </p:nvSpPr>
        <p:spPr>
          <a:xfrm>
            <a:off x="502314" y="2274058"/>
            <a:ext cx="813826" cy="276999"/>
          </a:xfrm>
          <a:prstGeom prst="rect">
            <a:avLst/>
          </a:prstGeom>
          <a:solidFill>
            <a:schemeClr val="lt1"/>
          </a:solid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1" i="0" u="none" strike="noStrike" cap="none">
                <a:solidFill>
                  <a:schemeClr val="dk2"/>
                </a:solidFill>
                <a:latin typeface="Source Sans Pro Semibold"/>
                <a:ea typeface="Source Sans Pro Semibold"/>
                <a:cs typeface="Source Sans Pro Semibold"/>
                <a:sym typeface="Source Sans Pro SemiBold"/>
              </a:rPr>
              <a:t>Product &amp; Delivery</a:t>
            </a:r>
            <a:endParaRPr sz="900" b="1" i="0" u="none" strike="noStrike" cap="none">
              <a:solidFill>
                <a:schemeClr val="dk2"/>
              </a:solidFill>
              <a:latin typeface="Source Sans Pro Semibold"/>
              <a:ea typeface="Source Sans Pro Semibold"/>
              <a:cs typeface="Source Sans Pro Semibold"/>
              <a:sym typeface="Source Sans Pro SemiBold"/>
            </a:endParaRPr>
          </a:p>
        </p:txBody>
      </p:sp>
      <p:sp>
        <p:nvSpPr>
          <p:cNvPr id="8" name="Google Shape;377;p7">
            <a:extLst>
              <a:ext uri="{FF2B5EF4-FFF2-40B4-BE49-F238E27FC236}">
                <a16:creationId xmlns:a16="http://schemas.microsoft.com/office/drawing/2014/main" id="{D8534480-14C4-6773-42F7-B4688534FC5F}"/>
              </a:ext>
            </a:extLst>
          </p:cNvPr>
          <p:cNvSpPr/>
          <p:nvPr/>
        </p:nvSpPr>
        <p:spPr>
          <a:xfrm>
            <a:off x="490856" y="4489485"/>
            <a:ext cx="813826" cy="276999"/>
          </a:xfrm>
          <a:prstGeom prst="rect">
            <a:avLst/>
          </a:prstGeom>
          <a:solidFill>
            <a:schemeClr val="lt1"/>
          </a:solid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1" i="0" u="none" strike="noStrike" cap="none">
                <a:solidFill>
                  <a:schemeClr val="dk2"/>
                </a:solidFill>
                <a:latin typeface="Source Sans Pro Semibold"/>
                <a:ea typeface="Source Sans Pro Semibold"/>
                <a:cs typeface="Source Sans Pro Semibold"/>
                <a:sym typeface="Source Sans Pro SemiBold"/>
              </a:rPr>
              <a:t>Engineering &amp; Development</a:t>
            </a:r>
            <a:endParaRPr sz="900" b="1" i="0" u="none" strike="noStrike" cap="none">
              <a:solidFill>
                <a:schemeClr val="dk2"/>
              </a:solidFill>
              <a:latin typeface="Source Sans Pro Semibold"/>
              <a:ea typeface="Source Sans Pro Semibold"/>
              <a:cs typeface="Source Sans Pro Semibold"/>
              <a:sym typeface="Source Sans Pro SemiBold"/>
            </a:endParaRPr>
          </a:p>
        </p:txBody>
      </p:sp>
      <p:sp>
        <p:nvSpPr>
          <p:cNvPr id="9" name="Google Shape;384;p7">
            <a:extLst>
              <a:ext uri="{FF2B5EF4-FFF2-40B4-BE49-F238E27FC236}">
                <a16:creationId xmlns:a16="http://schemas.microsoft.com/office/drawing/2014/main" id="{0948D532-5C97-F971-7906-4CFF552B84EF}"/>
              </a:ext>
            </a:extLst>
          </p:cNvPr>
          <p:cNvSpPr/>
          <p:nvPr/>
        </p:nvSpPr>
        <p:spPr>
          <a:xfrm>
            <a:off x="502314" y="3407693"/>
            <a:ext cx="813826" cy="276999"/>
          </a:xfrm>
          <a:prstGeom prst="rect">
            <a:avLst/>
          </a:prstGeom>
          <a:solidFill>
            <a:schemeClr val="lt1"/>
          </a:solid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1" i="0" u="none" strike="noStrike" cap="none">
                <a:solidFill>
                  <a:schemeClr val="dk2"/>
                </a:solidFill>
                <a:latin typeface="Source Sans Pro Semibold"/>
                <a:ea typeface="Source Sans Pro Semibold"/>
                <a:cs typeface="Source Sans Pro Semibold"/>
                <a:sym typeface="Source Sans Pro SemiBold"/>
              </a:rPr>
              <a:t>User Experience &amp; Design</a:t>
            </a:r>
            <a:endParaRPr sz="900" b="1" i="0" u="none" strike="noStrike" cap="none">
              <a:solidFill>
                <a:schemeClr val="dk2"/>
              </a:solidFill>
              <a:latin typeface="Source Sans Pro Semibold"/>
              <a:ea typeface="Source Sans Pro Semibold"/>
              <a:cs typeface="Source Sans Pro Semibold"/>
              <a:sym typeface="Source Sans Pro SemiBold"/>
            </a:endParaRPr>
          </a:p>
        </p:txBody>
      </p:sp>
      <p:pic>
        <p:nvPicPr>
          <p:cNvPr id="10" name="Google Shape;385;p7">
            <a:extLst>
              <a:ext uri="{FF2B5EF4-FFF2-40B4-BE49-F238E27FC236}">
                <a16:creationId xmlns:a16="http://schemas.microsoft.com/office/drawing/2014/main" id="{96EBE82B-00D5-E2C5-85EC-A21911CB36E7}"/>
              </a:ext>
            </a:extLst>
          </p:cNvPr>
          <p:cNvPicPr preferRelativeResize="0"/>
          <p:nvPr/>
        </p:nvPicPr>
        <p:blipFill rotWithShape="1">
          <a:blip r:embed="rId7">
            <a:alphaModFix/>
          </a:blip>
          <a:srcRect/>
          <a:stretch/>
        </p:blipFill>
        <p:spPr>
          <a:xfrm>
            <a:off x="582524" y="3882153"/>
            <a:ext cx="265176" cy="265176"/>
          </a:xfrm>
          <a:prstGeom prst="rect">
            <a:avLst/>
          </a:prstGeom>
          <a:noFill/>
          <a:ln>
            <a:noFill/>
          </a:ln>
        </p:spPr>
      </p:pic>
      <p:pic>
        <p:nvPicPr>
          <p:cNvPr id="11" name="Google Shape;386;p7">
            <a:extLst>
              <a:ext uri="{FF2B5EF4-FFF2-40B4-BE49-F238E27FC236}">
                <a16:creationId xmlns:a16="http://schemas.microsoft.com/office/drawing/2014/main" id="{0EC5F6AA-3FD2-0525-F4B6-A5F015A37D98}"/>
              </a:ext>
            </a:extLst>
          </p:cNvPr>
          <p:cNvPicPr preferRelativeResize="0"/>
          <p:nvPr/>
        </p:nvPicPr>
        <p:blipFill rotWithShape="1">
          <a:blip r:embed="rId8">
            <a:alphaModFix/>
          </a:blip>
          <a:srcRect/>
          <a:stretch/>
        </p:blipFill>
        <p:spPr>
          <a:xfrm>
            <a:off x="582524" y="2625938"/>
            <a:ext cx="265176" cy="265176"/>
          </a:xfrm>
          <a:prstGeom prst="rect">
            <a:avLst/>
          </a:prstGeom>
          <a:noFill/>
          <a:ln>
            <a:noFill/>
          </a:ln>
        </p:spPr>
      </p:pic>
      <p:pic>
        <p:nvPicPr>
          <p:cNvPr id="13" name="Google Shape;424;p7">
            <a:extLst>
              <a:ext uri="{FF2B5EF4-FFF2-40B4-BE49-F238E27FC236}">
                <a16:creationId xmlns:a16="http://schemas.microsoft.com/office/drawing/2014/main" id="{FDEE15E4-A903-8785-D029-F436610B7FC2}"/>
              </a:ext>
            </a:extLst>
          </p:cNvPr>
          <p:cNvPicPr preferRelativeResize="0"/>
          <p:nvPr/>
        </p:nvPicPr>
        <p:blipFill rotWithShape="1">
          <a:blip r:embed="rId9">
            <a:alphaModFix/>
          </a:blip>
          <a:srcRect/>
          <a:stretch/>
        </p:blipFill>
        <p:spPr>
          <a:xfrm>
            <a:off x="582524" y="4832132"/>
            <a:ext cx="265176" cy="265176"/>
          </a:xfrm>
          <a:prstGeom prst="rect">
            <a:avLst/>
          </a:prstGeom>
          <a:noFill/>
          <a:ln>
            <a:noFill/>
          </a:ln>
        </p:spPr>
      </p:pic>
      <p:sp>
        <p:nvSpPr>
          <p:cNvPr id="14" name="Google Shape;426;p7">
            <a:extLst>
              <a:ext uri="{FF2B5EF4-FFF2-40B4-BE49-F238E27FC236}">
                <a16:creationId xmlns:a16="http://schemas.microsoft.com/office/drawing/2014/main" id="{C61C6006-67A3-0157-28FC-27C37DF2B6DF}"/>
              </a:ext>
            </a:extLst>
          </p:cNvPr>
          <p:cNvSpPr/>
          <p:nvPr/>
        </p:nvSpPr>
        <p:spPr>
          <a:xfrm>
            <a:off x="490856" y="5331382"/>
            <a:ext cx="813826" cy="276999"/>
          </a:xfrm>
          <a:prstGeom prst="rect">
            <a:avLst/>
          </a:prstGeom>
          <a:solidFill>
            <a:schemeClr val="lt1"/>
          </a:solid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1" i="0" u="none" strike="noStrike" cap="none">
                <a:solidFill>
                  <a:schemeClr val="dk2"/>
                </a:solidFill>
                <a:latin typeface="Source Sans Pro Semibold"/>
                <a:ea typeface="Source Sans Pro Semibold"/>
                <a:cs typeface="Source Sans Pro Semibold"/>
                <a:sym typeface="Source Sans Pro SemiBold"/>
              </a:rPr>
              <a:t>Collaboration Cycle</a:t>
            </a:r>
            <a:endParaRPr sz="900" b="1" i="0" u="none" strike="noStrike" cap="none">
              <a:solidFill>
                <a:schemeClr val="dk2"/>
              </a:solidFill>
              <a:latin typeface="Source Sans Pro Semibold"/>
              <a:ea typeface="Source Sans Pro Semibold"/>
              <a:cs typeface="Source Sans Pro Semibold"/>
              <a:sym typeface="Source Sans Pro SemiBold"/>
            </a:endParaRPr>
          </a:p>
        </p:txBody>
      </p:sp>
      <p:pic>
        <p:nvPicPr>
          <p:cNvPr id="15" name="Google Shape;427;p7">
            <a:extLst>
              <a:ext uri="{FF2B5EF4-FFF2-40B4-BE49-F238E27FC236}">
                <a16:creationId xmlns:a16="http://schemas.microsoft.com/office/drawing/2014/main" id="{E4150FCD-373B-FB03-FB1E-3AC7D7660ADB}"/>
              </a:ext>
            </a:extLst>
          </p:cNvPr>
          <p:cNvPicPr preferRelativeResize="0"/>
          <p:nvPr/>
        </p:nvPicPr>
        <p:blipFill rotWithShape="1">
          <a:blip r:embed="rId10">
            <a:alphaModFix/>
          </a:blip>
          <a:srcRect/>
          <a:stretch/>
        </p:blipFill>
        <p:spPr>
          <a:xfrm>
            <a:off x="582524" y="5656190"/>
            <a:ext cx="265176" cy="265176"/>
          </a:xfrm>
          <a:prstGeom prst="rect">
            <a:avLst/>
          </a:prstGeom>
          <a:noFill/>
          <a:ln>
            <a:noFill/>
          </a:ln>
        </p:spPr>
      </p:pic>
      <p:sp>
        <p:nvSpPr>
          <p:cNvPr id="142" name="Google Shape;770;p22">
            <a:extLst>
              <a:ext uri="{FF2B5EF4-FFF2-40B4-BE49-F238E27FC236}">
                <a16:creationId xmlns:a16="http://schemas.microsoft.com/office/drawing/2014/main" id="{5E7F1B28-8BF3-4F63-AFBC-6158B9EA00A1}"/>
              </a:ext>
            </a:extLst>
          </p:cNvPr>
          <p:cNvSpPr/>
          <p:nvPr/>
        </p:nvSpPr>
        <p:spPr>
          <a:xfrm>
            <a:off x="9567958" y="3034540"/>
            <a:ext cx="1924459" cy="292982"/>
          </a:xfrm>
          <a:prstGeom prst="rect">
            <a:avLst/>
          </a:prstGeom>
          <a:solidFill>
            <a:schemeClr val="accent1"/>
          </a:solidFill>
          <a:ln w="28575" cap="flat" cmpd="sng">
            <a:noFill/>
            <a:prstDash val="solid"/>
            <a:round/>
            <a:headEnd type="none" w="sm" len="sm"/>
            <a:tailEnd type="none" w="sm" len="sm"/>
          </a:ln>
        </p:spPr>
        <p:txBody>
          <a:bodyPr spcFirstLastPara="1" wrap="square" lIns="91425" tIns="60925" rIns="60950" bIns="60925" anchor="ctr" anchorCtr="0">
            <a:noAutofit/>
          </a:bodyPr>
          <a:lstStyle/>
          <a:p>
            <a:r>
              <a:rPr lang="en-US" sz="900">
                <a:solidFill>
                  <a:srgbClr val="FDFFFD"/>
                </a:solidFill>
                <a:latin typeface="Source Sans Pro"/>
                <a:ea typeface="Source Sans Pro"/>
                <a:sym typeface="Source Sans Pro"/>
              </a:rPr>
              <a:t>HH Kickoff</a:t>
            </a:r>
            <a:endParaRPr lang="en-US"/>
          </a:p>
        </p:txBody>
      </p:sp>
      <p:sp>
        <p:nvSpPr>
          <p:cNvPr id="143" name="Google Shape;413;p7">
            <a:extLst>
              <a:ext uri="{FF2B5EF4-FFF2-40B4-BE49-F238E27FC236}">
                <a16:creationId xmlns:a16="http://schemas.microsoft.com/office/drawing/2014/main" id="{72145A98-A6C8-237D-0926-4DB2694865C3}"/>
              </a:ext>
            </a:extLst>
          </p:cNvPr>
          <p:cNvSpPr/>
          <p:nvPr/>
        </p:nvSpPr>
        <p:spPr>
          <a:xfrm>
            <a:off x="9580151" y="3817507"/>
            <a:ext cx="1919825" cy="307525"/>
          </a:xfrm>
          <a:prstGeom prst="rect">
            <a:avLst/>
          </a:prstGeom>
          <a:solidFill>
            <a:srgbClr val="0365B9"/>
          </a:solidFill>
          <a:ln w="9525" cap="flat" cmpd="sng">
            <a:solidFill>
              <a:schemeClr val="lt1"/>
            </a:solidFill>
            <a:prstDash val="solid"/>
            <a:round/>
            <a:headEnd type="none" w="sm" len="sm"/>
            <a:tailEnd type="none" w="sm" len="sm"/>
          </a:ln>
        </p:spPr>
        <p:txBody>
          <a:bodyPr spcFirstLastPara="1" wrap="square" lIns="60950" tIns="60925" rIns="60950" bIns="60925" anchor="ctr" anchorCtr="0">
            <a:noAutofit/>
          </a:bodyPr>
          <a:lstStyle/>
          <a:p>
            <a:r>
              <a:rPr lang="en-US" sz="900">
                <a:solidFill>
                  <a:srgbClr val="FDFFFD"/>
                </a:solidFill>
                <a:latin typeface="Source Sans Pro"/>
                <a:ea typeface="Source Sans Pro"/>
                <a:sym typeface="Source Sans Pro"/>
              </a:rPr>
              <a:t>HH Kickoff</a:t>
            </a:r>
            <a:endParaRPr lang="en-US"/>
          </a:p>
        </p:txBody>
      </p:sp>
      <p:sp>
        <p:nvSpPr>
          <p:cNvPr id="144" name="Google Shape;372;p7">
            <a:extLst>
              <a:ext uri="{FF2B5EF4-FFF2-40B4-BE49-F238E27FC236}">
                <a16:creationId xmlns:a16="http://schemas.microsoft.com/office/drawing/2014/main" id="{5F9BE8EC-817B-E0D8-BED1-48F760C440B5}"/>
              </a:ext>
            </a:extLst>
          </p:cNvPr>
          <p:cNvSpPr/>
          <p:nvPr/>
        </p:nvSpPr>
        <p:spPr>
          <a:xfrm>
            <a:off x="9581558" y="4875476"/>
            <a:ext cx="1893945" cy="347660"/>
          </a:xfrm>
          <a:prstGeom prst="rect">
            <a:avLst/>
          </a:prstGeom>
          <a:solidFill>
            <a:schemeClr val="accent6"/>
          </a:solidFill>
          <a:ln w="9525" cap="flat" cmpd="sng">
            <a:solidFill>
              <a:schemeClr val="lt1"/>
            </a:solidFill>
            <a:prstDash val="solid"/>
            <a:round/>
            <a:headEnd type="none" w="sm" len="sm"/>
            <a:tailEnd type="none" w="sm" len="sm"/>
          </a:ln>
        </p:spPr>
        <p:txBody>
          <a:bodyPr spcFirstLastPara="1" wrap="square" lIns="60950" tIns="60925" rIns="60950" bIns="60925" anchor="ctr" anchorCtr="0">
            <a:noAutofit/>
          </a:bodyPr>
          <a:lstStyle/>
          <a:p>
            <a:r>
              <a:rPr lang="en-US" sz="900">
                <a:solidFill>
                  <a:schemeClr val="accent1"/>
                </a:solidFill>
                <a:latin typeface="Source Sans Pro"/>
                <a:ea typeface="Source Sans Pro"/>
                <a:sym typeface="Source Sans Pro"/>
              </a:rPr>
              <a:t>HH Kickoff</a:t>
            </a:r>
            <a:endParaRPr lang="en-US"/>
          </a:p>
        </p:txBody>
      </p:sp>
      <p:sp>
        <p:nvSpPr>
          <p:cNvPr id="93" name="Google Shape;370;p7">
            <a:extLst>
              <a:ext uri="{FF2B5EF4-FFF2-40B4-BE49-F238E27FC236}">
                <a16:creationId xmlns:a16="http://schemas.microsoft.com/office/drawing/2014/main" id="{1E0C47C8-1E7E-EADE-A56B-FAF12E915F6D}"/>
              </a:ext>
            </a:extLst>
          </p:cNvPr>
          <p:cNvSpPr txBox="1"/>
          <p:nvPr/>
        </p:nvSpPr>
        <p:spPr>
          <a:xfrm>
            <a:off x="9608267" y="1570168"/>
            <a:ext cx="845348" cy="138499"/>
          </a:xfrm>
          <a:prstGeom prst="rect">
            <a:avLst/>
          </a:prstGeom>
          <a:noFill/>
          <a:ln>
            <a:noFill/>
          </a:ln>
        </p:spPr>
        <p:txBody>
          <a:bodyPr spcFirstLastPara="1" wrap="square" lIns="0" tIns="0" rIns="0" bIns="0" anchor="b"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1" i="0" u="none" strike="noStrike" cap="none">
                <a:solidFill>
                  <a:srgbClr val="202120"/>
                </a:solidFill>
                <a:latin typeface="Source Sans Pro Semibold"/>
                <a:ea typeface="Source Sans Pro Semibold"/>
                <a:cs typeface="Source Sans Pro Semibold"/>
                <a:sym typeface="Source Sans Pro SemiBold"/>
              </a:rPr>
              <a:t>SPRINT </a:t>
            </a:r>
            <a:r>
              <a:rPr lang="en-US" sz="900" b="1">
                <a:solidFill>
                  <a:srgbClr val="202120"/>
                </a:solidFill>
                <a:latin typeface="Source Sans Pro Semibold"/>
                <a:ea typeface="Source Sans Pro Semibold"/>
                <a:cs typeface="Source Sans Pro Semibold"/>
                <a:sym typeface="Source Sans Pro SemiBold"/>
              </a:rPr>
              <a:t>0</a:t>
            </a:r>
            <a:endParaRPr/>
          </a:p>
        </p:txBody>
      </p:sp>
    </p:spTree>
    <p:extLst>
      <p:ext uri="{BB962C8B-B14F-4D97-AF65-F5344CB8AC3E}">
        <p14:creationId xmlns:p14="http://schemas.microsoft.com/office/powerpoint/2010/main" val="298830884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Shape 466"/>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AE7A1E5-B23E-48F6-B40F-A8EC6017F6F3}"/>
              </a:ext>
            </a:extLst>
          </p:cNvPr>
          <p:cNvGraphicFramePr>
            <a:graphicFrameLocks noChangeAspect="1"/>
          </p:cNvGraphicFramePr>
          <p:nvPr>
            <p:custDataLst>
              <p:tags r:id="rId2"/>
            </p:custDataLst>
            <p:extLst>
              <p:ext uri="{D42A27DB-BD31-4B8C-83A1-F6EECF244321}">
                <p14:modId xmlns:p14="http://schemas.microsoft.com/office/powerpoint/2010/main" val="37525020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889" name="think-cell Slide" r:id="rId5" imgW="395" imgH="396" progId="TCLayout.ActiveDocument.1">
                  <p:embed/>
                </p:oleObj>
              </mc:Choice>
              <mc:Fallback>
                <p:oleObj name="think-cell Slide" r:id="rId5" imgW="395" imgH="396" progId="TCLayout.ActiveDocument.1">
                  <p:embed/>
                  <p:pic>
                    <p:nvPicPr>
                      <p:cNvPr id="3" name="Object 2" hidden="1">
                        <a:extLst>
                          <a:ext uri="{FF2B5EF4-FFF2-40B4-BE49-F238E27FC236}">
                            <a16:creationId xmlns:a16="http://schemas.microsoft.com/office/drawing/2014/main" id="{AAE7A1E5-B23E-48F6-B40F-A8EC6017F6F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67" name="Google Shape;467;p9"/>
          <p:cNvSpPr txBox="1">
            <a:spLocks noGrp="1"/>
          </p:cNvSpPr>
          <p:nvPr>
            <p:ph type="title"/>
          </p:nvPr>
        </p:nvSpPr>
        <p:spPr>
          <a:xfrm>
            <a:off x="312812" y="373491"/>
            <a:ext cx="6519390" cy="746983"/>
          </a:xfrm>
          <a:prstGeom prst="rect">
            <a:avLst/>
          </a:prstGeom>
          <a:noFill/>
          <a:ln>
            <a:noFill/>
          </a:ln>
        </p:spPr>
        <p:txBody>
          <a:bodyPr spcFirstLastPara="1" wrap="square" lIns="91425" tIns="45700" rIns="91425" bIns="45700" anchor="t" anchorCtr="0">
            <a:normAutofit/>
          </a:bodyPr>
          <a:lstStyle/>
          <a:p>
            <a:pPr marL="0" lvl="0" indent="0" algn="l" rtl="0">
              <a:lnSpc>
                <a:spcPct val="90000"/>
              </a:lnSpc>
              <a:spcBef>
                <a:spcPts val="0"/>
              </a:spcBef>
              <a:spcAft>
                <a:spcPts val="0"/>
              </a:spcAft>
              <a:buClr>
                <a:schemeClr val="dk1"/>
              </a:buClr>
              <a:buSzPts val="3600"/>
              <a:buFont typeface="PT Serif"/>
              <a:buNone/>
            </a:pPr>
            <a:r>
              <a:rPr lang="en-US"/>
              <a:t>Agenda</a:t>
            </a:r>
            <a:endParaRPr/>
          </a:p>
        </p:txBody>
      </p:sp>
      <p:sp>
        <p:nvSpPr>
          <p:cNvPr id="468" name="Google Shape;468;p9"/>
          <p:cNvSpPr txBox="1">
            <a:spLocks noGrp="1"/>
          </p:cNvSpPr>
          <p:nvPr>
            <p:ph type="sldNum" idx="12"/>
          </p:nvPr>
        </p:nvSpPr>
        <p:spPr>
          <a:xfrm>
            <a:off x="11474969" y="6363970"/>
            <a:ext cx="406052" cy="365125"/>
          </a:xfrm>
          <a:prstGeom prst="rect">
            <a:avLst/>
          </a:prstGeom>
          <a:noFill/>
          <a:ln>
            <a:noFill/>
          </a:ln>
        </p:spPr>
        <p:txBody>
          <a:bodyPr spcFirstLastPara="1" wrap="square" lIns="91425" tIns="45700" rIns="91425" bIns="45700" anchor="ctr" anchorCtr="0">
            <a:noAutofit/>
          </a:bodyPr>
          <a:lstStyle/>
          <a:p>
            <a:pPr marL="0" lvl="0" indent="0" algn="r" rtl="0">
              <a:spcBef>
                <a:spcPts val="0"/>
              </a:spcBef>
              <a:spcAft>
                <a:spcPts val="0"/>
              </a:spcAft>
              <a:buNone/>
            </a:pPr>
            <a:fld id="{00000000-1234-1234-1234-123412341234}" type="slidenum">
              <a:rPr lang="en-US">
                <a:latin typeface="Source Sans Pro"/>
                <a:ea typeface="Source Sans Pro"/>
                <a:cs typeface="Source Sans Pro"/>
                <a:sym typeface="Source Sans Pro"/>
              </a:rPr>
              <a:t>6</a:t>
            </a:fld>
            <a:endParaRPr>
              <a:latin typeface="Source Sans Pro"/>
              <a:ea typeface="Source Sans Pro"/>
              <a:cs typeface="Source Sans Pro"/>
              <a:sym typeface="Source Sans Pro"/>
            </a:endParaRPr>
          </a:p>
        </p:txBody>
      </p:sp>
      <p:sp>
        <p:nvSpPr>
          <p:cNvPr id="470" name="Google Shape;470;p9"/>
          <p:cNvSpPr txBox="1"/>
          <p:nvPr/>
        </p:nvSpPr>
        <p:spPr>
          <a:xfrm>
            <a:off x="8917360" y="6408650"/>
            <a:ext cx="2723465" cy="276999"/>
          </a:xfrm>
          <a:prstGeom prst="rect">
            <a:avLst/>
          </a:prstGeom>
          <a:noFill/>
          <a:ln>
            <a:noFill/>
          </a:ln>
        </p:spPr>
        <p:txBody>
          <a:bodyPr spcFirstLastPara="1" wrap="square" lIns="91425" tIns="45700" rIns="91425" bIns="45700" anchor="t" anchorCtr="0">
            <a:spAutoFit/>
          </a:bodyPr>
          <a:lstStyle/>
          <a:p>
            <a:pPr marL="0" marR="0" lvl="0" indent="0" algn="r" rtl="0">
              <a:spcBef>
                <a:spcPts val="0"/>
              </a:spcBef>
              <a:spcAft>
                <a:spcPts val="0"/>
              </a:spcAft>
              <a:buClr>
                <a:srgbClr val="747C74"/>
              </a:buClr>
              <a:buSzPts val="1200"/>
              <a:buFont typeface="Source Sans Pro"/>
              <a:buNone/>
            </a:pPr>
            <a:r>
              <a:rPr lang="en-US" sz="1200" b="0" i="0" u="none" strike="noStrike" cap="none">
                <a:solidFill>
                  <a:srgbClr val="747C74"/>
                </a:solidFill>
                <a:latin typeface="Source Sans Pro"/>
                <a:ea typeface="Source Sans Pro"/>
                <a:cs typeface="Source Sans Pro"/>
                <a:sym typeface="Source Sans Pro"/>
              </a:rPr>
              <a:t>Agenda</a:t>
            </a:r>
            <a:endParaRPr sz="1800" b="0" i="0" u="none" strike="noStrike" cap="none">
              <a:solidFill>
                <a:schemeClr val="dk1"/>
              </a:solidFill>
              <a:latin typeface="Calibri"/>
              <a:ea typeface="Calibri"/>
              <a:cs typeface="Calibri"/>
              <a:sym typeface="Calibri"/>
            </a:endParaRPr>
          </a:p>
        </p:txBody>
      </p:sp>
      <p:sp>
        <p:nvSpPr>
          <p:cNvPr id="471" name="Google Shape;471;p9"/>
          <p:cNvSpPr txBox="1"/>
          <p:nvPr/>
        </p:nvSpPr>
        <p:spPr>
          <a:xfrm>
            <a:off x="419100" y="6408650"/>
            <a:ext cx="2723465" cy="276999"/>
          </a:xfrm>
          <a:prstGeom prst="rect">
            <a:avLst/>
          </a:prstGeom>
          <a:noFill/>
          <a:ln>
            <a:noFill/>
          </a:ln>
        </p:spPr>
        <p:txBody>
          <a:bodyPr spcFirstLastPara="1" wrap="square" lIns="0" tIns="45700" rIns="91425" bIns="45700" anchor="t" anchorCtr="0">
            <a:spAutoFit/>
          </a:bodyPr>
          <a:lstStyle/>
          <a:p>
            <a:pPr marL="0" marR="0" lvl="0" indent="0" algn="l" rtl="0">
              <a:spcBef>
                <a:spcPts val="0"/>
              </a:spcBef>
              <a:spcAft>
                <a:spcPts val="0"/>
              </a:spcAft>
              <a:buNone/>
            </a:pPr>
            <a:r>
              <a:rPr lang="en-US" sz="1200" b="0" i="0" u="none" strike="noStrike" cap="none">
                <a:solidFill>
                  <a:srgbClr val="747C74"/>
                </a:solidFill>
                <a:latin typeface="Source Sans Pro"/>
                <a:ea typeface="Source Sans Pro"/>
                <a:cs typeface="Source Sans Pro"/>
                <a:sym typeface="Source Sans Pro"/>
              </a:rPr>
              <a:t>04-19 Sprint 6 Demo</a:t>
            </a:r>
            <a:endParaRPr sz="1200" b="0" i="0" u="none" strike="noStrike" cap="none">
              <a:solidFill>
                <a:srgbClr val="747C74"/>
              </a:solidFill>
              <a:latin typeface="Calibri"/>
              <a:ea typeface="Calibri"/>
              <a:cs typeface="Calibri"/>
              <a:sym typeface="Calibri"/>
            </a:endParaRPr>
          </a:p>
        </p:txBody>
      </p:sp>
      <p:sp>
        <p:nvSpPr>
          <p:cNvPr id="472" name="Google Shape;472;p9"/>
          <p:cNvSpPr txBox="1"/>
          <p:nvPr/>
        </p:nvSpPr>
        <p:spPr>
          <a:xfrm>
            <a:off x="312862" y="1599897"/>
            <a:ext cx="2257024" cy="2189353"/>
          </a:xfrm>
          <a:prstGeom prst="rect">
            <a:avLst/>
          </a:prstGeom>
          <a:noFill/>
          <a:ln>
            <a:noFill/>
          </a:ln>
        </p:spPr>
        <p:txBody>
          <a:bodyPr spcFirstLastPara="1" wrap="square" lIns="91425" tIns="45700" rIns="91425" bIns="45700" anchor="t" anchorCtr="0">
            <a:normAutofit/>
          </a:bodyPr>
          <a:lstStyle/>
          <a:p>
            <a:pPr>
              <a:lnSpc>
                <a:spcPct val="115000"/>
              </a:lnSpc>
              <a:buClr>
                <a:schemeClr val="accent2"/>
              </a:buClr>
              <a:buSzPts val="1400"/>
            </a:pPr>
            <a:r>
              <a:rPr lang="en-US" sz="1400" b="0" i="0" u="none" strike="noStrike" cap="none">
                <a:solidFill>
                  <a:schemeClr val="accent2"/>
                </a:solidFill>
                <a:latin typeface="PT Serif"/>
                <a:ea typeface="PT Serif"/>
                <a:cs typeface="PT Serif"/>
                <a:sym typeface="PT Serif"/>
              </a:rPr>
              <a:t>Sprint Goal:</a:t>
            </a:r>
            <a:r>
              <a:rPr lang="en-US" sz="1400" b="0" i="0" u="none" strike="noStrike" cap="none">
                <a:solidFill>
                  <a:schemeClr val="dk2"/>
                </a:solidFill>
                <a:latin typeface="PT Serif"/>
                <a:ea typeface="PT Serif"/>
                <a:cs typeface="PT Serif"/>
                <a:sym typeface="PT Serif"/>
              </a:rPr>
              <a:t> For sprint 6 we </a:t>
            </a:r>
            <a:r>
              <a:rPr lang="en-US">
                <a:latin typeface="PT Serif"/>
              </a:rPr>
              <a:t>focused on getting the 1095-B launch-ready and continuing our discovery into the Community Care technology landscape.</a:t>
            </a:r>
            <a:endParaRPr lang="en-US" b="0" i="0" u="none" strike="noStrike" cap="none">
              <a:latin typeface="PT Serif"/>
            </a:endParaRPr>
          </a:p>
        </p:txBody>
      </p:sp>
      <p:graphicFrame>
        <p:nvGraphicFramePr>
          <p:cNvPr id="488" name="Google Shape;488;p9"/>
          <p:cNvGraphicFramePr/>
          <p:nvPr>
            <p:extLst>
              <p:ext uri="{D42A27DB-BD31-4B8C-83A1-F6EECF244321}">
                <p14:modId xmlns:p14="http://schemas.microsoft.com/office/powerpoint/2010/main" val="3079411316"/>
              </p:ext>
            </p:extLst>
          </p:nvPr>
        </p:nvGraphicFramePr>
        <p:xfrm>
          <a:off x="3038940" y="4435411"/>
          <a:ext cx="8722786" cy="755196"/>
        </p:xfrm>
        <a:graphic>
          <a:graphicData uri="http://schemas.openxmlformats.org/drawingml/2006/table">
            <a:tbl>
              <a:tblPr firstRow="1" bandRow="1">
                <a:noFill/>
                <a:tableStyleId>{AC820A2F-F511-4E25-9DDC-E36724F9A483}</a:tableStyleId>
              </a:tblPr>
              <a:tblGrid>
                <a:gridCol w="121075">
                  <a:extLst>
                    <a:ext uri="{9D8B030D-6E8A-4147-A177-3AD203B41FA5}">
                      <a16:colId xmlns:a16="http://schemas.microsoft.com/office/drawing/2014/main" val="20000"/>
                    </a:ext>
                  </a:extLst>
                </a:gridCol>
                <a:gridCol w="8601711">
                  <a:extLst>
                    <a:ext uri="{9D8B030D-6E8A-4147-A177-3AD203B41FA5}">
                      <a16:colId xmlns:a16="http://schemas.microsoft.com/office/drawing/2014/main" val="20001"/>
                    </a:ext>
                  </a:extLst>
                </a:gridCol>
              </a:tblGrid>
              <a:tr h="755196">
                <a:tc>
                  <a:txBody>
                    <a:bodyPr/>
                    <a:lstStyle/>
                    <a:p>
                      <a:pPr marL="0" marR="0" lvl="0" indent="0" algn="l" rtl="0">
                        <a:spcBef>
                          <a:spcPts val="0"/>
                        </a:spcBef>
                        <a:spcAft>
                          <a:spcPts val="0"/>
                        </a:spcAft>
                        <a:buNone/>
                      </a:pPr>
                      <a:endParaRPr sz="1800"/>
                    </a:p>
                  </a:txBody>
                  <a:tcPr marL="0" marR="0" marT="45725" marB="45725">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chemeClr val="accent3"/>
                    </a:solidFill>
                  </a:tcPr>
                </a:tc>
                <a:tc>
                  <a:txBody>
                    <a:bodyPr/>
                    <a:lstStyle/>
                    <a:p>
                      <a:pPr marL="0" marR="0" lvl="0" indent="0" algn="l" rtl="0">
                        <a:lnSpc>
                          <a:spcPct val="100000"/>
                        </a:lnSpc>
                        <a:spcBef>
                          <a:spcPts val="0"/>
                        </a:spcBef>
                        <a:spcAft>
                          <a:spcPts val="0"/>
                        </a:spcAft>
                        <a:buClr>
                          <a:srgbClr val="000000"/>
                        </a:buClr>
                        <a:buSzPts val="1200"/>
                        <a:buFont typeface="Arial"/>
                        <a:buNone/>
                      </a:pPr>
                      <a:r>
                        <a:rPr lang="en-US" sz="1200" b="0" i="0" u="none" strike="noStrike" cap="none">
                          <a:solidFill>
                            <a:schemeClr val="dk2"/>
                          </a:solidFill>
                          <a:latin typeface="Source Sans Pro"/>
                          <a:ea typeface="Source Sans Pro"/>
                          <a:cs typeface="Source Sans Pro"/>
                          <a:sym typeface="Source Sans Pro"/>
                        </a:rPr>
                        <a:t>We welcome all feedback! Feedback will be collectively reviewed and prioritized appropriately based on where it stacks against other stories in the backlog as well as technical feasibility.</a:t>
                      </a:r>
                      <a:endParaRPr sz="1200" b="0" i="0" u="none" strike="noStrike" cap="none">
                        <a:solidFill>
                          <a:schemeClr val="dk1"/>
                        </a:solidFill>
                        <a:latin typeface="Source Sans Pro"/>
                        <a:ea typeface="Source Sans Pro"/>
                        <a:cs typeface="Source Sans Pro"/>
                        <a:sym typeface="Source Sans Pro"/>
                      </a:endParaRPr>
                    </a:p>
                  </a:txBody>
                  <a:tcPr marL="182875" marR="182875" marT="182875" marB="182875">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rgbClr val="E8E8E8"/>
                    </a:solidFill>
                  </a:tcPr>
                </a:tc>
                <a:extLst>
                  <a:ext uri="{0D108BD9-81ED-4DB2-BD59-A6C34878D82A}">
                    <a16:rowId xmlns:a16="http://schemas.microsoft.com/office/drawing/2014/main" val="10000"/>
                  </a:ext>
                </a:extLst>
              </a:tr>
            </a:tbl>
          </a:graphicData>
        </a:graphic>
      </p:graphicFrame>
      <p:grpSp>
        <p:nvGrpSpPr>
          <p:cNvPr id="71" name="Group 70">
            <a:extLst>
              <a:ext uri="{FF2B5EF4-FFF2-40B4-BE49-F238E27FC236}">
                <a16:creationId xmlns:a16="http://schemas.microsoft.com/office/drawing/2014/main" id="{6AE99249-61B0-4010-A9C3-CCC1E2A6D758}"/>
              </a:ext>
            </a:extLst>
          </p:cNvPr>
          <p:cNvGrpSpPr/>
          <p:nvPr/>
        </p:nvGrpSpPr>
        <p:grpSpPr>
          <a:xfrm>
            <a:off x="3040851" y="3393153"/>
            <a:ext cx="1106250" cy="406001"/>
            <a:chOff x="3240398" y="1573764"/>
            <a:chExt cx="1106250" cy="406001"/>
          </a:xfrm>
        </p:grpSpPr>
        <p:sp>
          <p:nvSpPr>
            <p:cNvPr id="72" name="Google Shape;474;p9">
              <a:extLst>
                <a:ext uri="{FF2B5EF4-FFF2-40B4-BE49-F238E27FC236}">
                  <a16:creationId xmlns:a16="http://schemas.microsoft.com/office/drawing/2014/main" id="{D5C96F40-1821-472B-937D-A3A3238ECC48}"/>
                </a:ext>
              </a:extLst>
            </p:cNvPr>
            <p:cNvSpPr/>
            <p:nvPr/>
          </p:nvSpPr>
          <p:spPr>
            <a:xfrm>
              <a:off x="3240398" y="1576175"/>
              <a:ext cx="229970" cy="226723"/>
            </a:xfrm>
            <a:prstGeom prst="ellipse">
              <a:avLst/>
            </a:prstGeom>
            <a:solidFill>
              <a:srgbClr val="00548F"/>
            </a:solidFill>
            <a:ln>
              <a:noFill/>
            </a:ln>
          </p:spPr>
          <p:txBody>
            <a:bodyPr spcFirstLastPara="1" wrap="square" lIns="50800" tIns="50800" rIns="50800" bIns="50800" anchor="ctr" anchorCtr="0">
              <a:noAutofit/>
            </a:bodyPr>
            <a:lstStyle/>
            <a:p>
              <a:pPr marL="0" marR="0" lvl="0" indent="0" algn="ctr" rtl="0">
                <a:lnSpc>
                  <a:spcPct val="140000"/>
                </a:lnSpc>
                <a:spcBef>
                  <a:spcPts val="0"/>
                </a:spcBef>
                <a:spcAft>
                  <a:spcPts val="0"/>
                </a:spcAft>
                <a:buClr>
                  <a:srgbClr val="FDFFFD"/>
                </a:buClr>
                <a:buSzPts val="1600"/>
                <a:buFont typeface="PT Serif"/>
                <a:buNone/>
              </a:pPr>
              <a:r>
                <a:rPr lang="en-US" sz="1050">
                  <a:solidFill>
                    <a:schemeClr val="bg1"/>
                  </a:solidFill>
                </a:rPr>
                <a:t>3</a:t>
              </a:r>
              <a:endParaRPr sz="1000" b="0" i="0" u="none" strike="noStrike" cap="none">
                <a:solidFill>
                  <a:schemeClr val="bg1"/>
                </a:solidFill>
                <a:latin typeface="Arial"/>
                <a:ea typeface="Arial"/>
                <a:cs typeface="Arial"/>
                <a:sym typeface="Arial"/>
              </a:endParaRPr>
            </a:p>
          </p:txBody>
        </p:sp>
        <p:sp>
          <p:nvSpPr>
            <p:cNvPr id="73" name="Google Shape;478;p9">
              <a:extLst>
                <a:ext uri="{FF2B5EF4-FFF2-40B4-BE49-F238E27FC236}">
                  <a16:creationId xmlns:a16="http://schemas.microsoft.com/office/drawing/2014/main" id="{A01F0CD4-3151-470D-98D7-45285C90FD04}"/>
                </a:ext>
              </a:extLst>
            </p:cNvPr>
            <p:cNvSpPr txBox="1"/>
            <p:nvPr/>
          </p:nvSpPr>
          <p:spPr>
            <a:xfrm>
              <a:off x="3532057" y="1573764"/>
              <a:ext cx="814591" cy="406001"/>
            </a:xfrm>
            <a:prstGeom prst="rect">
              <a:avLst/>
            </a:prstGeom>
            <a:noFill/>
            <a:ln>
              <a:noFill/>
            </a:ln>
          </p:spPr>
          <p:txBody>
            <a:bodyPr spcFirstLastPara="1" wrap="square" lIns="0" tIns="45700" rIns="0" bIns="45700" anchor="t" anchorCtr="0">
              <a:normAutofit/>
            </a:bodyPr>
            <a:lstStyle/>
            <a:p>
              <a:pPr marL="0" marR="0" lvl="0" indent="0" algn="l">
                <a:lnSpc>
                  <a:spcPct val="90000"/>
                </a:lnSpc>
                <a:spcBef>
                  <a:spcPts val="0"/>
                </a:spcBef>
                <a:spcAft>
                  <a:spcPts val="0"/>
                </a:spcAft>
                <a:buNone/>
              </a:pPr>
              <a:r>
                <a:rPr lang="en-US" b="1">
                  <a:solidFill>
                    <a:srgbClr val="0365B9"/>
                  </a:solidFill>
                  <a:latin typeface="Source Sans Pro Semibold"/>
                  <a:ea typeface="Source Sans Pro Semibold"/>
                  <a:sym typeface="Source Sans Pro SemiBold"/>
                </a:rPr>
                <a:t>PRODUCT</a:t>
              </a:r>
              <a:endParaRPr lang="en-US"/>
            </a:p>
          </p:txBody>
        </p:sp>
      </p:grpSp>
      <p:grpSp>
        <p:nvGrpSpPr>
          <p:cNvPr id="75" name="Group 74">
            <a:extLst>
              <a:ext uri="{FF2B5EF4-FFF2-40B4-BE49-F238E27FC236}">
                <a16:creationId xmlns:a16="http://schemas.microsoft.com/office/drawing/2014/main" id="{2F4C0EEE-B2A5-4F5F-BA6D-5346F5BDD0C0}"/>
              </a:ext>
            </a:extLst>
          </p:cNvPr>
          <p:cNvGrpSpPr/>
          <p:nvPr/>
        </p:nvGrpSpPr>
        <p:grpSpPr>
          <a:xfrm>
            <a:off x="3058167" y="2552012"/>
            <a:ext cx="1161871" cy="297144"/>
            <a:chOff x="3262592" y="4234800"/>
            <a:chExt cx="1161871" cy="297144"/>
          </a:xfrm>
        </p:grpSpPr>
        <p:sp>
          <p:nvSpPr>
            <p:cNvPr id="76" name="Google Shape;475;p9">
              <a:extLst>
                <a:ext uri="{FF2B5EF4-FFF2-40B4-BE49-F238E27FC236}">
                  <a16:creationId xmlns:a16="http://schemas.microsoft.com/office/drawing/2014/main" id="{268B7FA2-6C97-4334-B410-4B8B13FCDB35}"/>
                </a:ext>
              </a:extLst>
            </p:cNvPr>
            <p:cNvSpPr txBox="1"/>
            <p:nvPr/>
          </p:nvSpPr>
          <p:spPr>
            <a:xfrm>
              <a:off x="3536983" y="4234800"/>
              <a:ext cx="887480" cy="297144"/>
            </a:xfrm>
            <a:prstGeom prst="rect">
              <a:avLst/>
            </a:prstGeom>
            <a:noFill/>
            <a:ln>
              <a:noFill/>
            </a:ln>
          </p:spPr>
          <p:txBody>
            <a:bodyPr spcFirstLastPara="1" wrap="square" lIns="0" tIns="45700" rIns="0" bIns="45700" anchor="t" anchorCtr="0">
              <a:normAutofit/>
            </a:bodyPr>
            <a:lstStyle/>
            <a:p>
              <a:pPr marL="0" marR="0" lvl="0" indent="0" algn="l">
                <a:lnSpc>
                  <a:spcPct val="90000"/>
                </a:lnSpc>
                <a:spcBef>
                  <a:spcPts val="0"/>
                </a:spcBef>
                <a:spcAft>
                  <a:spcPts val="0"/>
                </a:spcAft>
                <a:buNone/>
              </a:pPr>
              <a:r>
                <a:rPr lang="en-US" b="1">
                  <a:solidFill>
                    <a:srgbClr val="0365B9"/>
                  </a:solidFill>
                  <a:latin typeface="Source Sans Pro Semibold"/>
                  <a:ea typeface="Source Sans Pro Semibold"/>
                  <a:sym typeface="Source Sans Pro SemiBold"/>
                </a:rPr>
                <a:t>TECH</a:t>
              </a:r>
              <a:endParaRPr lang="en-US"/>
            </a:p>
          </p:txBody>
        </p:sp>
        <p:sp>
          <p:nvSpPr>
            <p:cNvPr id="77" name="Google Shape;479;p9">
              <a:extLst>
                <a:ext uri="{FF2B5EF4-FFF2-40B4-BE49-F238E27FC236}">
                  <a16:creationId xmlns:a16="http://schemas.microsoft.com/office/drawing/2014/main" id="{319F3EB9-B9AB-47B5-935A-2E77E1103EA2}"/>
                </a:ext>
              </a:extLst>
            </p:cNvPr>
            <p:cNvSpPr/>
            <p:nvPr/>
          </p:nvSpPr>
          <p:spPr>
            <a:xfrm>
              <a:off x="3262592" y="4242802"/>
              <a:ext cx="229970" cy="226723"/>
            </a:xfrm>
            <a:prstGeom prst="ellipse">
              <a:avLst/>
            </a:prstGeom>
            <a:solidFill>
              <a:srgbClr val="00548F"/>
            </a:solidFill>
            <a:ln>
              <a:noFill/>
            </a:ln>
          </p:spPr>
          <p:txBody>
            <a:bodyPr spcFirstLastPara="1" wrap="square" lIns="50800" tIns="50800" rIns="50800" bIns="50800" anchor="ctr" anchorCtr="0">
              <a:noAutofit/>
            </a:bodyPr>
            <a:lstStyle/>
            <a:p>
              <a:pPr marL="0" marR="0" lvl="0" indent="0" algn="ctr" rtl="0">
                <a:lnSpc>
                  <a:spcPct val="140000"/>
                </a:lnSpc>
                <a:spcBef>
                  <a:spcPts val="0"/>
                </a:spcBef>
                <a:spcAft>
                  <a:spcPts val="0"/>
                </a:spcAft>
                <a:buClr>
                  <a:srgbClr val="FDFFFD"/>
                </a:buClr>
                <a:buSzPts val="1600"/>
                <a:buFont typeface="PT Serif"/>
                <a:buNone/>
              </a:pPr>
              <a:r>
                <a:rPr lang="en-US" sz="1000" b="0" i="0" u="none" strike="noStrike" cap="none">
                  <a:solidFill>
                    <a:schemeClr val="bg1"/>
                  </a:solidFill>
                  <a:latin typeface="Arial"/>
                  <a:ea typeface="Arial"/>
                  <a:cs typeface="Arial"/>
                  <a:sym typeface="Arial"/>
                </a:rPr>
                <a:t>2</a:t>
              </a:r>
              <a:endParaRPr sz="1000" b="0" i="0" u="none" strike="noStrike" cap="none">
                <a:solidFill>
                  <a:schemeClr val="bg1"/>
                </a:solidFill>
                <a:latin typeface="Arial"/>
                <a:ea typeface="Arial"/>
                <a:cs typeface="Arial"/>
                <a:sym typeface="Arial"/>
              </a:endParaRPr>
            </a:p>
          </p:txBody>
        </p:sp>
      </p:grpSp>
      <p:grpSp>
        <p:nvGrpSpPr>
          <p:cNvPr id="78" name="Group 77">
            <a:extLst>
              <a:ext uri="{FF2B5EF4-FFF2-40B4-BE49-F238E27FC236}">
                <a16:creationId xmlns:a16="http://schemas.microsoft.com/office/drawing/2014/main" id="{F7502587-5DE6-406D-9E54-BB691FC4A86F}"/>
              </a:ext>
            </a:extLst>
          </p:cNvPr>
          <p:cNvGrpSpPr/>
          <p:nvPr/>
        </p:nvGrpSpPr>
        <p:grpSpPr>
          <a:xfrm>
            <a:off x="3052078" y="1621026"/>
            <a:ext cx="1155249" cy="406001"/>
            <a:chOff x="3247796" y="2994263"/>
            <a:chExt cx="1155249" cy="406001"/>
          </a:xfrm>
        </p:grpSpPr>
        <p:sp>
          <p:nvSpPr>
            <p:cNvPr id="79" name="Google Shape;477;p9">
              <a:extLst>
                <a:ext uri="{FF2B5EF4-FFF2-40B4-BE49-F238E27FC236}">
                  <a16:creationId xmlns:a16="http://schemas.microsoft.com/office/drawing/2014/main" id="{45BA4165-8BF6-4BD3-92B1-A3E8680CD879}"/>
                </a:ext>
              </a:extLst>
            </p:cNvPr>
            <p:cNvSpPr/>
            <p:nvPr/>
          </p:nvSpPr>
          <p:spPr>
            <a:xfrm>
              <a:off x="3247796" y="2996622"/>
              <a:ext cx="229970" cy="226723"/>
            </a:xfrm>
            <a:prstGeom prst="ellipse">
              <a:avLst/>
            </a:prstGeom>
            <a:solidFill>
              <a:srgbClr val="00548F"/>
            </a:solidFill>
            <a:ln>
              <a:noFill/>
            </a:ln>
          </p:spPr>
          <p:txBody>
            <a:bodyPr spcFirstLastPara="1" wrap="square" lIns="50800" tIns="50800" rIns="50800" bIns="50800" anchor="ctr" anchorCtr="0">
              <a:noAutofit/>
            </a:bodyPr>
            <a:lstStyle/>
            <a:p>
              <a:pPr marL="0" marR="0" lvl="0" indent="0" algn="ctr" rtl="0">
                <a:lnSpc>
                  <a:spcPct val="140000"/>
                </a:lnSpc>
                <a:spcBef>
                  <a:spcPts val="0"/>
                </a:spcBef>
                <a:spcAft>
                  <a:spcPts val="0"/>
                </a:spcAft>
                <a:buClr>
                  <a:srgbClr val="FDFFFD"/>
                </a:buClr>
                <a:buSzPts val="1600"/>
                <a:buFont typeface="PT Serif"/>
                <a:buNone/>
              </a:pPr>
              <a:r>
                <a:rPr lang="en-US" sz="1000" b="0" i="0" u="none" strike="noStrike" cap="none">
                  <a:solidFill>
                    <a:schemeClr val="bg1"/>
                  </a:solidFill>
                  <a:latin typeface="Arial"/>
                  <a:ea typeface="Arial"/>
                  <a:cs typeface="Arial"/>
                  <a:sym typeface="Arial"/>
                </a:rPr>
                <a:t>1</a:t>
              </a:r>
              <a:endParaRPr sz="1000" b="0" i="0" u="none" strike="noStrike" cap="none">
                <a:solidFill>
                  <a:schemeClr val="bg1"/>
                </a:solidFill>
                <a:latin typeface="Arial"/>
                <a:ea typeface="Arial"/>
                <a:cs typeface="Arial"/>
                <a:sym typeface="Arial"/>
              </a:endParaRPr>
            </a:p>
          </p:txBody>
        </p:sp>
        <p:sp>
          <p:nvSpPr>
            <p:cNvPr id="80" name="Google Shape;480;p9">
              <a:extLst>
                <a:ext uri="{FF2B5EF4-FFF2-40B4-BE49-F238E27FC236}">
                  <a16:creationId xmlns:a16="http://schemas.microsoft.com/office/drawing/2014/main" id="{262992FD-1F78-4278-9278-B8CD286D5ACA}"/>
                </a:ext>
              </a:extLst>
            </p:cNvPr>
            <p:cNvSpPr txBox="1"/>
            <p:nvPr/>
          </p:nvSpPr>
          <p:spPr>
            <a:xfrm>
              <a:off x="3530079" y="2994263"/>
              <a:ext cx="872966" cy="406001"/>
            </a:xfrm>
            <a:prstGeom prst="rect">
              <a:avLst/>
            </a:prstGeom>
            <a:noFill/>
            <a:ln>
              <a:noFill/>
            </a:ln>
          </p:spPr>
          <p:txBody>
            <a:bodyPr spcFirstLastPara="1" wrap="square" lIns="0" tIns="45700" rIns="0" bIns="45700" anchor="t" anchorCtr="0">
              <a:normAutofit/>
            </a:bodyPr>
            <a:lstStyle/>
            <a:p>
              <a:pPr marL="0" marR="0" lvl="0" indent="0" algn="l">
                <a:lnSpc>
                  <a:spcPct val="90000"/>
                </a:lnSpc>
                <a:spcBef>
                  <a:spcPts val="0"/>
                </a:spcBef>
                <a:spcAft>
                  <a:spcPts val="0"/>
                </a:spcAft>
                <a:buNone/>
              </a:pPr>
              <a:r>
                <a:rPr lang="en-US" b="1">
                  <a:solidFill>
                    <a:srgbClr val="0365B9"/>
                  </a:solidFill>
                  <a:latin typeface="Source Sans Pro Semibold"/>
                  <a:ea typeface="Source Sans Pro Semibold"/>
                  <a:sym typeface="Source Sans Pro SemiBold"/>
                </a:rPr>
                <a:t>DESIGN</a:t>
              </a:r>
              <a:endParaRPr lang="en-US"/>
            </a:p>
          </p:txBody>
        </p:sp>
      </p:grpSp>
      <p:cxnSp>
        <p:nvCxnSpPr>
          <p:cNvPr id="83" name="Google Shape;485;p9">
            <a:extLst>
              <a:ext uri="{FF2B5EF4-FFF2-40B4-BE49-F238E27FC236}">
                <a16:creationId xmlns:a16="http://schemas.microsoft.com/office/drawing/2014/main" id="{8A2F6C26-81D3-43E5-B4BE-4DD32D42E75D}"/>
              </a:ext>
            </a:extLst>
          </p:cNvPr>
          <p:cNvCxnSpPr/>
          <p:nvPr/>
        </p:nvCxnSpPr>
        <p:spPr>
          <a:xfrm>
            <a:off x="3058167" y="2396347"/>
            <a:ext cx="8697470" cy="13606"/>
          </a:xfrm>
          <a:prstGeom prst="straightConnector1">
            <a:avLst/>
          </a:prstGeom>
          <a:noFill/>
          <a:ln w="9525" cap="flat" cmpd="sng">
            <a:solidFill>
              <a:srgbClr val="747C74"/>
            </a:solidFill>
            <a:prstDash val="dot"/>
            <a:round/>
            <a:headEnd type="none" w="sm" len="sm"/>
            <a:tailEnd type="none" w="sm" len="sm"/>
          </a:ln>
        </p:spPr>
      </p:cxnSp>
      <p:cxnSp>
        <p:nvCxnSpPr>
          <p:cNvPr id="84" name="Google Shape;486;p9">
            <a:extLst>
              <a:ext uri="{FF2B5EF4-FFF2-40B4-BE49-F238E27FC236}">
                <a16:creationId xmlns:a16="http://schemas.microsoft.com/office/drawing/2014/main" id="{AC6210DF-562A-41C9-9E37-6F2588D8CA5A}"/>
              </a:ext>
            </a:extLst>
          </p:cNvPr>
          <p:cNvCxnSpPr/>
          <p:nvPr/>
        </p:nvCxnSpPr>
        <p:spPr>
          <a:xfrm>
            <a:off x="3093966" y="3329597"/>
            <a:ext cx="8697470" cy="0"/>
          </a:xfrm>
          <a:prstGeom prst="straightConnector1">
            <a:avLst/>
          </a:prstGeom>
          <a:noFill/>
          <a:ln w="9525" cap="flat" cmpd="sng">
            <a:solidFill>
              <a:srgbClr val="747C74"/>
            </a:solidFill>
            <a:prstDash val="dot"/>
            <a:round/>
            <a:headEnd type="none" w="sm" len="sm"/>
            <a:tailEnd type="none" w="sm" len="sm"/>
          </a:ln>
        </p:spPr>
      </p:cxnSp>
      <p:sp>
        <p:nvSpPr>
          <p:cNvPr id="26" name="Google Shape;482;p9">
            <a:extLst>
              <a:ext uri="{FF2B5EF4-FFF2-40B4-BE49-F238E27FC236}">
                <a16:creationId xmlns:a16="http://schemas.microsoft.com/office/drawing/2014/main" id="{63D5B65A-793E-4E79-B52C-834340BABD85}"/>
              </a:ext>
            </a:extLst>
          </p:cNvPr>
          <p:cNvSpPr txBox="1"/>
          <p:nvPr/>
        </p:nvSpPr>
        <p:spPr>
          <a:xfrm>
            <a:off x="4480897" y="2550015"/>
            <a:ext cx="6213890" cy="646331"/>
          </a:xfrm>
          <a:prstGeom prst="rect">
            <a:avLst/>
          </a:prstGeom>
          <a:noFill/>
          <a:ln>
            <a:noFill/>
          </a:ln>
        </p:spPr>
        <p:txBody>
          <a:bodyPr spcFirstLastPara="1" wrap="square" lIns="0" tIns="0" rIns="0" bIns="0" anchor="t" anchorCtr="0">
            <a:spAutoFit/>
          </a:bodyPr>
          <a:lstStyle/>
          <a:p>
            <a:pPr marL="228600" indent="-228600">
              <a:spcBef>
                <a:spcPts val="600"/>
              </a:spcBef>
              <a:buClr>
                <a:srgbClr val="747C74"/>
              </a:buClr>
              <a:buSzPts val="1200"/>
              <a:buAutoNum type="alphaUcPeriod"/>
            </a:pPr>
            <a:r>
              <a:rPr lang="en-US" sz="900">
                <a:latin typeface="PT Serif"/>
              </a:rPr>
              <a:t>Completed 1095-B build</a:t>
            </a:r>
          </a:p>
          <a:p>
            <a:pPr marL="228600" indent="-228600">
              <a:spcBef>
                <a:spcPts val="600"/>
              </a:spcBef>
              <a:buClr>
                <a:srgbClr val="747C74"/>
              </a:buClr>
              <a:buSzPts val="1200"/>
              <a:buAutoNum type="alphaUcPeriod"/>
            </a:pPr>
            <a:r>
              <a:rPr lang="en-US" sz="900">
                <a:latin typeface="PT Serif"/>
              </a:rPr>
              <a:t>Technical deep dive on community care</a:t>
            </a:r>
          </a:p>
          <a:p>
            <a:pPr marL="228600" indent="-228600">
              <a:spcBef>
                <a:spcPts val="600"/>
              </a:spcBef>
              <a:buClr>
                <a:srgbClr val="747C74"/>
              </a:buClr>
              <a:buSzPts val="1200"/>
              <a:buAutoNum type="alphaUcPeriod"/>
            </a:pPr>
            <a:r>
              <a:rPr lang="en-US" sz="900">
                <a:latin typeface="PT Serif"/>
              </a:rPr>
              <a:t>Updated Mural with CC technology system touchpoints</a:t>
            </a:r>
          </a:p>
        </p:txBody>
      </p:sp>
      <p:sp>
        <p:nvSpPr>
          <p:cNvPr id="30" name="Google Shape;482;p9">
            <a:extLst>
              <a:ext uri="{FF2B5EF4-FFF2-40B4-BE49-F238E27FC236}">
                <a16:creationId xmlns:a16="http://schemas.microsoft.com/office/drawing/2014/main" id="{100AEE39-1F64-4466-ACEE-5B01ED088536}"/>
              </a:ext>
            </a:extLst>
          </p:cNvPr>
          <p:cNvSpPr txBox="1"/>
          <p:nvPr/>
        </p:nvSpPr>
        <p:spPr>
          <a:xfrm>
            <a:off x="4487466" y="3451075"/>
            <a:ext cx="6083811" cy="646331"/>
          </a:xfrm>
          <a:prstGeom prst="rect">
            <a:avLst/>
          </a:prstGeom>
          <a:noFill/>
          <a:ln>
            <a:noFill/>
          </a:ln>
        </p:spPr>
        <p:txBody>
          <a:bodyPr spcFirstLastPara="1" wrap="square" lIns="0" tIns="0" rIns="0" bIns="0" anchor="t" anchorCtr="0">
            <a:spAutoFit/>
          </a:bodyPr>
          <a:lstStyle/>
          <a:p>
            <a:pPr marL="228600" indent="-228600">
              <a:spcBef>
                <a:spcPts val="600"/>
              </a:spcBef>
              <a:buClr>
                <a:srgbClr val="747C74"/>
              </a:buClr>
              <a:buSzPts val="1200"/>
              <a:buAutoNum type="alphaUcPeriod"/>
            </a:pPr>
            <a:r>
              <a:rPr lang="en-US" sz="900">
                <a:latin typeface="PT Serif"/>
              </a:rPr>
              <a:t>Completed Staging review for 1095-B</a:t>
            </a:r>
          </a:p>
          <a:p>
            <a:pPr marL="228600" indent="-228600">
              <a:spcBef>
                <a:spcPts val="600"/>
              </a:spcBef>
              <a:buClr>
                <a:srgbClr val="747C74"/>
              </a:buClr>
              <a:buSzPts val="1200"/>
              <a:buAutoNum type="alphaUcPeriod"/>
            </a:pPr>
            <a:r>
              <a:rPr lang="en-US" sz="900">
                <a:latin typeface="PT Serif"/>
              </a:rPr>
              <a:t>Deep dive on CC VHIE (Veterans Health Information Exchange)</a:t>
            </a:r>
          </a:p>
          <a:p>
            <a:pPr marL="228600" indent="-228600">
              <a:spcBef>
                <a:spcPts val="600"/>
              </a:spcBef>
              <a:buClr>
                <a:srgbClr val="747C74"/>
              </a:buClr>
              <a:buSzPts val="1200"/>
              <a:buAutoNum type="alphaUcPeriod"/>
            </a:pPr>
            <a:r>
              <a:rPr lang="en-US" sz="900">
                <a:latin typeface="PT Serif"/>
              </a:rPr>
              <a:t>Deep dive on CC VDIF EP (Veterans Data Integration &amp; Federation Enterprise Platform)</a:t>
            </a:r>
          </a:p>
        </p:txBody>
      </p:sp>
      <p:cxnSp>
        <p:nvCxnSpPr>
          <p:cNvPr id="23" name="Google Shape;485;p9">
            <a:extLst>
              <a:ext uri="{FF2B5EF4-FFF2-40B4-BE49-F238E27FC236}">
                <a16:creationId xmlns:a16="http://schemas.microsoft.com/office/drawing/2014/main" id="{7D7890BD-07EE-C7A8-3130-5C4B3C280C68}"/>
              </a:ext>
            </a:extLst>
          </p:cNvPr>
          <p:cNvCxnSpPr>
            <a:cxnSpLocks/>
          </p:cNvCxnSpPr>
          <p:nvPr/>
        </p:nvCxnSpPr>
        <p:spPr>
          <a:xfrm>
            <a:off x="3040851" y="1509815"/>
            <a:ext cx="8697469" cy="0"/>
          </a:xfrm>
          <a:prstGeom prst="straightConnector1">
            <a:avLst/>
          </a:prstGeom>
          <a:noFill/>
          <a:ln w="9525" cap="flat" cmpd="sng">
            <a:solidFill>
              <a:srgbClr val="747C74"/>
            </a:solidFill>
            <a:prstDash val="dot"/>
            <a:round/>
            <a:headEnd type="none" w="sm" len="sm"/>
            <a:tailEnd type="none" w="sm" len="sm"/>
          </a:ln>
        </p:spPr>
      </p:cxnSp>
      <p:cxnSp>
        <p:nvCxnSpPr>
          <p:cNvPr id="24" name="Google Shape;486;p9">
            <a:extLst>
              <a:ext uri="{FF2B5EF4-FFF2-40B4-BE49-F238E27FC236}">
                <a16:creationId xmlns:a16="http://schemas.microsoft.com/office/drawing/2014/main" id="{9895C561-40F6-FFF0-1D13-CF25703C5BED}"/>
              </a:ext>
            </a:extLst>
          </p:cNvPr>
          <p:cNvCxnSpPr>
            <a:cxnSpLocks/>
          </p:cNvCxnSpPr>
          <p:nvPr/>
        </p:nvCxnSpPr>
        <p:spPr>
          <a:xfrm>
            <a:off x="3057688" y="4250370"/>
            <a:ext cx="8697469" cy="6804"/>
          </a:xfrm>
          <a:prstGeom prst="straightConnector1">
            <a:avLst/>
          </a:prstGeom>
          <a:noFill/>
          <a:ln w="9525" cap="flat" cmpd="sng">
            <a:solidFill>
              <a:srgbClr val="747C74"/>
            </a:solidFill>
            <a:prstDash val="dot"/>
            <a:round/>
            <a:headEnd type="none" w="sm" len="sm"/>
            <a:tailEnd type="none" w="sm" len="sm"/>
          </a:ln>
        </p:spPr>
      </p:cxnSp>
      <p:sp>
        <p:nvSpPr>
          <p:cNvPr id="25" name="Google Shape;482;p9">
            <a:extLst>
              <a:ext uri="{FF2B5EF4-FFF2-40B4-BE49-F238E27FC236}">
                <a16:creationId xmlns:a16="http://schemas.microsoft.com/office/drawing/2014/main" id="{11D840CE-A644-49E7-90D3-1CDCD476DB41}"/>
              </a:ext>
            </a:extLst>
          </p:cNvPr>
          <p:cNvSpPr txBox="1"/>
          <p:nvPr/>
        </p:nvSpPr>
        <p:spPr>
          <a:xfrm>
            <a:off x="4487466" y="1702618"/>
            <a:ext cx="6213890" cy="430887"/>
          </a:xfrm>
          <a:prstGeom prst="rect">
            <a:avLst/>
          </a:prstGeom>
          <a:noFill/>
          <a:ln>
            <a:noFill/>
          </a:ln>
        </p:spPr>
        <p:txBody>
          <a:bodyPr spcFirstLastPara="1" wrap="square" lIns="0" tIns="0" rIns="0" bIns="0" anchor="t" anchorCtr="0">
            <a:spAutoFit/>
          </a:bodyPr>
          <a:lstStyle/>
          <a:p>
            <a:pPr marL="228600" indent="-228600">
              <a:spcBef>
                <a:spcPts val="600"/>
              </a:spcBef>
              <a:buSzPts val="1200"/>
              <a:buAutoNum type="alphaUcPeriod"/>
            </a:pPr>
            <a:r>
              <a:rPr lang="en-US" sz="900">
                <a:solidFill>
                  <a:schemeClr val="tx1"/>
                </a:solidFill>
                <a:latin typeface="PT Serif"/>
              </a:rPr>
              <a:t>Updated designs and content to reflect the ability to change one's address for 1095-Bc</a:t>
            </a:r>
            <a:endParaRPr lang="en-US" sz="900">
              <a:solidFill>
                <a:schemeClr val="tx1"/>
              </a:solidFill>
            </a:endParaRPr>
          </a:p>
          <a:p>
            <a:pPr marL="228600" indent="-228600">
              <a:spcBef>
                <a:spcPts val="600"/>
              </a:spcBef>
              <a:buSzPts val="1200"/>
              <a:buAutoNum type="alphaUcPeriod"/>
            </a:pPr>
            <a:r>
              <a:rPr lang="en-US" sz="900">
                <a:solidFill>
                  <a:schemeClr val="tx1"/>
                </a:solidFill>
                <a:latin typeface="PT Serif"/>
              </a:rPr>
              <a:t>Aligned CC landscape with tech</a:t>
            </a:r>
            <a:endParaRPr lang="en-US"/>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323"/>
        <p:cNvGrpSpPr/>
        <p:nvPr/>
      </p:nvGrpSpPr>
      <p:grpSpPr>
        <a:xfrm>
          <a:off x="0" y="0"/>
          <a:ext cx="0" cy="0"/>
          <a:chOff x="0" y="0"/>
          <a:chExt cx="0" cy="0"/>
        </a:xfrm>
      </p:grpSpPr>
      <p:sp>
        <p:nvSpPr>
          <p:cNvPr id="324" name="Google Shape;324;p5"/>
          <p:cNvSpPr txBox="1">
            <a:spLocks noGrp="1"/>
          </p:cNvSpPr>
          <p:nvPr>
            <p:ph type="ctrTitle"/>
          </p:nvPr>
        </p:nvSpPr>
        <p:spPr>
          <a:xfrm>
            <a:off x="248880" y="2938176"/>
            <a:ext cx="7261656" cy="1632577"/>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6600"/>
              <a:buFont typeface="PT Serif"/>
              <a:buNone/>
            </a:pPr>
            <a:r>
              <a:rPr lang="en-US"/>
              <a:t>1095-B Overview</a:t>
            </a:r>
            <a:endParaRPr/>
          </a:p>
        </p:txBody>
      </p:sp>
      <p:sp>
        <p:nvSpPr>
          <p:cNvPr id="325" name="Google Shape;325;p5"/>
          <p:cNvSpPr txBox="1">
            <a:spLocks noGrp="1"/>
          </p:cNvSpPr>
          <p:nvPr>
            <p:ph type="body" idx="1"/>
          </p:nvPr>
        </p:nvSpPr>
        <p:spPr>
          <a:xfrm>
            <a:off x="341868" y="2523777"/>
            <a:ext cx="4246607" cy="366651"/>
          </a:xfrm>
          <a:prstGeom prst="rect">
            <a:avLst/>
          </a:prstGeom>
          <a:noFill/>
          <a:ln>
            <a:noFill/>
          </a:ln>
        </p:spPr>
        <p:txBody>
          <a:bodyPr spcFirstLastPara="1" wrap="square" lIns="91425" tIns="45700" rIns="91425" bIns="45700" anchor="t" anchorCtr="0">
            <a:normAutofit/>
          </a:bodyPr>
          <a:lstStyle/>
          <a:p>
            <a:pPr marL="0" lvl="0" indent="0" algn="l" rtl="0">
              <a:lnSpc>
                <a:spcPct val="90000"/>
              </a:lnSpc>
              <a:spcBef>
                <a:spcPts val="0"/>
              </a:spcBef>
              <a:spcAft>
                <a:spcPts val="0"/>
              </a:spcAft>
              <a:buClr>
                <a:schemeClr val="lt1"/>
              </a:buClr>
              <a:buSzPts val="1600"/>
              <a:buNone/>
            </a:pPr>
            <a:r>
              <a:rPr lang="en-US"/>
              <a:t>SPRINT 6 DEMO</a:t>
            </a:r>
            <a:endParaRPr/>
          </a:p>
        </p:txBody>
      </p:sp>
      <p:sp>
        <p:nvSpPr>
          <p:cNvPr id="326" name="Google Shape;326;p5"/>
          <p:cNvSpPr txBox="1">
            <a:spLocks noGrp="1"/>
          </p:cNvSpPr>
          <p:nvPr>
            <p:ph type="sldNum" idx="12"/>
          </p:nvPr>
        </p:nvSpPr>
        <p:spPr>
          <a:xfrm>
            <a:off x="11474969" y="6356350"/>
            <a:ext cx="406052" cy="365125"/>
          </a:xfrm>
          <a:prstGeom prst="rect">
            <a:avLst/>
          </a:prstGeom>
          <a:noFill/>
          <a:ln>
            <a:noFill/>
          </a:ln>
        </p:spPr>
        <p:txBody>
          <a:bodyPr spcFirstLastPara="1" wrap="square" lIns="91425" tIns="45700" rIns="91425" bIns="45700" anchor="ctr" anchorCtr="0">
            <a:noAutofit/>
          </a:bodyPr>
          <a:lstStyle/>
          <a:p>
            <a:pPr marL="0" lvl="0" indent="0" algn="r" rtl="0">
              <a:spcBef>
                <a:spcPts val="0"/>
              </a:spcBef>
              <a:spcAft>
                <a:spcPts val="0"/>
              </a:spcAft>
              <a:buNone/>
            </a:pPr>
            <a:fld id="{00000000-1234-1234-1234-123412341234}" type="slidenum">
              <a:rPr lang="en-US"/>
              <a:t>7</a:t>
            </a:fld>
            <a:endParaRPr/>
          </a:p>
        </p:txBody>
      </p:sp>
      <p:sp>
        <p:nvSpPr>
          <p:cNvPr id="2" name="Google Shape;265;p4">
            <a:extLst>
              <a:ext uri="{FF2B5EF4-FFF2-40B4-BE49-F238E27FC236}">
                <a16:creationId xmlns:a16="http://schemas.microsoft.com/office/drawing/2014/main" id="{F23191FC-7B29-89F5-21F1-7FF0E32525D9}"/>
              </a:ext>
            </a:extLst>
          </p:cNvPr>
          <p:cNvSpPr txBox="1"/>
          <p:nvPr/>
        </p:nvSpPr>
        <p:spPr>
          <a:xfrm>
            <a:off x="419100" y="6408650"/>
            <a:ext cx="2723465" cy="276999"/>
          </a:xfrm>
          <a:prstGeom prst="rect">
            <a:avLst/>
          </a:prstGeom>
          <a:noFill/>
          <a:ln>
            <a:noFill/>
          </a:ln>
        </p:spPr>
        <p:txBody>
          <a:bodyPr spcFirstLastPara="1" wrap="square" lIns="0" tIns="45700" rIns="91425" bIns="45700" anchor="t" anchorCtr="0">
            <a:spAutoFit/>
          </a:bodyPr>
          <a:lstStyle/>
          <a:p>
            <a:pPr marL="0" marR="0" lvl="0" indent="0" algn="l" rtl="0">
              <a:spcBef>
                <a:spcPts val="0"/>
              </a:spcBef>
              <a:spcAft>
                <a:spcPts val="0"/>
              </a:spcAft>
              <a:buNone/>
            </a:pPr>
            <a:r>
              <a:rPr lang="en-US" sz="1200" b="0" i="0" u="none" strike="noStrike" cap="none">
                <a:solidFill>
                  <a:srgbClr val="747C74"/>
                </a:solidFill>
                <a:latin typeface="Source Sans Pro"/>
                <a:ea typeface="Source Sans Pro"/>
                <a:cs typeface="Source Sans Pro"/>
                <a:sym typeface="Source Sans Pro"/>
              </a:rPr>
              <a:t>04-19 Sprint 6 Demo</a:t>
            </a:r>
            <a:endParaRPr sz="1800" b="0" i="0" u="none" strike="noStrike" cap="none">
              <a:solidFill>
                <a:srgbClr val="747C74"/>
              </a:solidFill>
              <a:latin typeface="Calibri"/>
              <a:ea typeface="Calibri"/>
              <a:cs typeface="Calibri"/>
              <a:sym typeface="Calibri"/>
            </a:endParaRP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Shape 330"/>
        <p:cNvGrpSpPr/>
        <p:nvPr/>
      </p:nvGrpSpPr>
      <p:grpSpPr>
        <a:xfrm>
          <a:off x="0" y="0"/>
          <a:ext cx="0" cy="0"/>
          <a:chOff x="0" y="0"/>
          <a:chExt cx="0" cy="0"/>
        </a:xfrm>
      </p:grpSpPr>
      <p:sp>
        <p:nvSpPr>
          <p:cNvPr id="331" name="Google Shape;331;p6"/>
          <p:cNvSpPr txBox="1">
            <a:spLocks noGrp="1"/>
          </p:cNvSpPr>
          <p:nvPr>
            <p:ph type="body" idx="1"/>
          </p:nvPr>
        </p:nvSpPr>
        <p:spPr>
          <a:xfrm>
            <a:off x="327995" y="1721708"/>
            <a:ext cx="5336436" cy="4351338"/>
          </a:xfrm>
          <a:prstGeom prst="rect">
            <a:avLst/>
          </a:prstGeom>
          <a:noFill/>
          <a:ln>
            <a:noFill/>
          </a:ln>
        </p:spPr>
        <p:txBody>
          <a:bodyPr spcFirstLastPara="1" wrap="square" lIns="91425" tIns="45700" rIns="91425" bIns="45700" anchor="t" anchorCtr="0">
            <a:normAutofit/>
          </a:bodyPr>
          <a:lstStyle/>
          <a:p>
            <a:pPr marL="0" lvl="0" indent="0" algn="l" rtl="0">
              <a:lnSpc>
                <a:spcPct val="90000"/>
              </a:lnSpc>
              <a:spcBef>
                <a:spcPts val="0"/>
              </a:spcBef>
              <a:spcAft>
                <a:spcPts val="0"/>
              </a:spcAft>
              <a:buSzPts val="1400"/>
              <a:buNone/>
            </a:pPr>
            <a:r>
              <a:rPr lang="en-US"/>
              <a:t>Digitize 1095-B form on VA.gov so Veterans can easily access the form and download the form for their records.</a:t>
            </a:r>
            <a:endParaRPr/>
          </a:p>
          <a:p>
            <a:pPr marL="0" lvl="0" indent="0" algn="l" rtl="0">
              <a:lnSpc>
                <a:spcPct val="90000"/>
              </a:lnSpc>
              <a:spcBef>
                <a:spcPts val="1000"/>
              </a:spcBef>
              <a:spcAft>
                <a:spcPts val="0"/>
              </a:spcAft>
              <a:buSzPts val="1400"/>
              <a:buNone/>
            </a:pPr>
            <a:endParaRPr/>
          </a:p>
        </p:txBody>
      </p:sp>
      <p:sp>
        <p:nvSpPr>
          <p:cNvPr id="333" name="Google Shape;333;p6"/>
          <p:cNvSpPr txBox="1">
            <a:spLocks noGrp="1"/>
          </p:cNvSpPr>
          <p:nvPr>
            <p:ph type="title"/>
          </p:nvPr>
        </p:nvSpPr>
        <p:spPr>
          <a:xfrm>
            <a:off x="312812" y="831349"/>
            <a:ext cx="11353800" cy="746983"/>
          </a:xfrm>
          <a:prstGeom prst="rect">
            <a:avLst/>
          </a:prstGeom>
          <a:noFill/>
          <a:ln>
            <a:noFill/>
          </a:ln>
        </p:spPr>
        <p:txBody>
          <a:bodyPr spcFirstLastPara="1" wrap="square" lIns="91425" tIns="45700" rIns="91425" bIns="45700" anchor="t" anchorCtr="0">
            <a:normAutofit/>
          </a:bodyPr>
          <a:lstStyle/>
          <a:p>
            <a:pPr marL="0" lvl="0" indent="0" algn="l" rtl="0">
              <a:lnSpc>
                <a:spcPct val="90000"/>
              </a:lnSpc>
              <a:spcBef>
                <a:spcPts val="0"/>
              </a:spcBef>
              <a:spcAft>
                <a:spcPts val="0"/>
              </a:spcAft>
              <a:buClr>
                <a:schemeClr val="dk1"/>
              </a:buClr>
              <a:buSzPts val="3600"/>
              <a:buFont typeface="PT Serif"/>
              <a:buNone/>
            </a:pPr>
            <a:r>
              <a:rPr lang="en-US"/>
              <a:t>Project objectives</a:t>
            </a:r>
            <a:endParaRPr/>
          </a:p>
        </p:txBody>
      </p:sp>
      <p:sp>
        <p:nvSpPr>
          <p:cNvPr id="334" name="Google Shape;334;p6"/>
          <p:cNvSpPr txBox="1">
            <a:spLocks noGrp="1"/>
          </p:cNvSpPr>
          <p:nvPr>
            <p:ph type="body" idx="3"/>
          </p:nvPr>
        </p:nvSpPr>
        <p:spPr>
          <a:xfrm>
            <a:off x="327680" y="486053"/>
            <a:ext cx="4246607" cy="366651"/>
          </a:xfrm>
          <a:prstGeom prst="rect">
            <a:avLst/>
          </a:prstGeom>
          <a:noFill/>
          <a:ln>
            <a:noFill/>
          </a:ln>
        </p:spPr>
        <p:txBody>
          <a:bodyPr spcFirstLastPara="1" wrap="square" lIns="91425" tIns="45700" rIns="91425" bIns="45700" anchor="t" anchorCtr="0">
            <a:normAutofit/>
          </a:bodyPr>
          <a:lstStyle/>
          <a:p>
            <a:pPr marL="0" lvl="0" indent="0" algn="l" rtl="0">
              <a:lnSpc>
                <a:spcPct val="90000"/>
              </a:lnSpc>
              <a:spcBef>
                <a:spcPts val="0"/>
              </a:spcBef>
              <a:spcAft>
                <a:spcPts val="0"/>
              </a:spcAft>
              <a:buClr>
                <a:schemeClr val="dk1"/>
              </a:buClr>
              <a:buSzPts val="1400"/>
              <a:buNone/>
            </a:pPr>
            <a:r>
              <a:rPr lang="en-US"/>
              <a:t>OVERVIEW</a:t>
            </a:r>
            <a:endParaRPr/>
          </a:p>
        </p:txBody>
      </p:sp>
      <p:sp>
        <p:nvSpPr>
          <p:cNvPr id="337" name="Google Shape;337;p6"/>
          <p:cNvSpPr txBox="1"/>
          <p:nvPr/>
        </p:nvSpPr>
        <p:spPr>
          <a:xfrm>
            <a:off x="419100" y="6408650"/>
            <a:ext cx="2723465" cy="276999"/>
          </a:xfrm>
          <a:prstGeom prst="rect">
            <a:avLst/>
          </a:prstGeom>
          <a:noFill/>
          <a:ln>
            <a:noFill/>
          </a:ln>
        </p:spPr>
        <p:txBody>
          <a:bodyPr spcFirstLastPara="1" wrap="square" lIns="0" tIns="45700" rIns="91425" bIns="45700" anchor="t" anchorCtr="0">
            <a:spAutoFit/>
          </a:bodyPr>
          <a:lstStyle/>
          <a:p>
            <a:pPr marL="0" marR="0" lvl="0" indent="0" algn="l" rtl="0">
              <a:spcBef>
                <a:spcPts val="0"/>
              </a:spcBef>
              <a:spcAft>
                <a:spcPts val="0"/>
              </a:spcAft>
              <a:buNone/>
            </a:pPr>
            <a:r>
              <a:rPr lang="en-US" sz="1200" b="0" i="0" u="none" strike="noStrike" cap="none">
                <a:solidFill>
                  <a:srgbClr val="747C74"/>
                </a:solidFill>
                <a:latin typeface="Source Sans Pro"/>
                <a:ea typeface="Source Sans Pro"/>
                <a:cs typeface="Source Sans Pro"/>
                <a:sym typeface="Source Sans Pro"/>
              </a:rPr>
              <a:t>04-19 Sprint 6 Demo</a:t>
            </a:r>
            <a:endParaRPr sz="1200" b="0" i="0" u="none" strike="noStrike" cap="none">
              <a:solidFill>
                <a:srgbClr val="747C74"/>
              </a:solidFill>
              <a:latin typeface="Calibri"/>
              <a:ea typeface="Calibri"/>
              <a:cs typeface="Calibri"/>
              <a:sym typeface="Calibri"/>
            </a:endParaRPr>
          </a:p>
        </p:txBody>
      </p:sp>
      <p:pic>
        <p:nvPicPr>
          <p:cNvPr id="338" name="Google Shape;338;p6"/>
          <p:cNvPicPr preferRelativeResize="0"/>
          <p:nvPr/>
        </p:nvPicPr>
        <p:blipFill rotWithShape="1">
          <a:blip r:embed="rId3">
            <a:alphaModFix/>
          </a:blip>
          <a:srcRect l="5900" r="34664"/>
          <a:stretch/>
        </p:blipFill>
        <p:spPr>
          <a:xfrm>
            <a:off x="6855565" y="14515"/>
            <a:ext cx="5336436" cy="6858000"/>
          </a:xfrm>
          <a:prstGeom prst="rect">
            <a:avLst/>
          </a:prstGeom>
          <a:noFill/>
          <a:ln>
            <a:noFill/>
          </a:ln>
        </p:spPr>
      </p:pic>
      <p:sp>
        <p:nvSpPr>
          <p:cNvPr id="3" name="Google Shape;263;p4">
            <a:extLst>
              <a:ext uri="{FF2B5EF4-FFF2-40B4-BE49-F238E27FC236}">
                <a16:creationId xmlns:a16="http://schemas.microsoft.com/office/drawing/2014/main" id="{66006C5B-9348-4EDF-A4CD-C4D1A1D98F6F}"/>
              </a:ext>
            </a:extLst>
          </p:cNvPr>
          <p:cNvSpPr txBox="1">
            <a:spLocks noGrp="1"/>
          </p:cNvSpPr>
          <p:nvPr>
            <p:ph type="sldNum" idx="12"/>
          </p:nvPr>
        </p:nvSpPr>
        <p:spPr>
          <a:xfrm>
            <a:off x="11474969" y="6363970"/>
            <a:ext cx="406052" cy="365125"/>
          </a:xfrm>
          <a:prstGeom prst="rect">
            <a:avLst/>
          </a:prstGeom>
          <a:noFill/>
          <a:ln>
            <a:noFill/>
          </a:ln>
        </p:spPr>
        <p:txBody>
          <a:bodyPr spcFirstLastPara="1" wrap="square" lIns="91425" tIns="45700" rIns="91425" bIns="45700" anchor="ctr" anchorCtr="0">
            <a:noAutofit/>
          </a:bodyPr>
          <a:lstStyle/>
          <a:p>
            <a:pPr marL="0" lvl="0" indent="0" algn="r" rtl="0">
              <a:spcBef>
                <a:spcPts val="0"/>
              </a:spcBef>
              <a:spcAft>
                <a:spcPts val="0"/>
              </a:spcAft>
              <a:buNone/>
            </a:pPr>
            <a:fld id="{00000000-1234-1234-1234-123412341234}" type="slidenum">
              <a:rPr lang="en-US">
                <a:latin typeface="Source Sans Pro"/>
                <a:ea typeface="Source Sans Pro"/>
                <a:cs typeface="Source Sans Pro"/>
                <a:sym typeface="Source Sans Pro"/>
              </a:rPr>
              <a:t>8</a:t>
            </a:fld>
            <a:endParaRPr>
              <a:latin typeface="Source Sans Pro"/>
              <a:ea typeface="Source Sans Pro"/>
              <a:cs typeface="Source Sans Pro"/>
              <a:sym typeface="Source Sans Pro"/>
            </a:endParaRPr>
          </a:p>
        </p:txBody>
      </p:sp>
      <p:sp>
        <p:nvSpPr>
          <p:cNvPr id="4" name="Google Shape;264;p4">
            <a:extLst>
              <a:ext uri="{FF2B5EF4-FFF2-40B4-BE49-F238E27FC236}">
                <a16:creationId xmlns:a16="http://schemas.microsoft.com/office/drawing/2014/main" id="{8A222FD3-0C71-47F8-8E70-78DCD7F2B113}"/>
              </a:ext>
            </a:extLst>
          </p:cNvPr>
          <p:cNvSpPr txBox="1"/>
          <p:nvPr/>
        </p:nvSpPr>
        <p:spPr>
          <a:xfrm>
            <a:off x="8917360" y="6408650"/>
            <a:ext cx="2723465" cy="276999"/>
          </a:xfrm>
          <a:prstGeom prst="rect">
            <a:avLst/>
          </a:prstGeom>
          <a:noFill/>
          <a:ln>
            <a:noFill/>
          </a:ln>
        </p:spPr>
        <p:txBody>
          <a:bodyPr spcFirstLastPara="1" wrap="square" lIns="91425" tIns="45700" rIns="91425" bIns="45700" anchor="t" anchorCtr="0">
            <a:spAutoFit/>
          </a:bodyPr>
          <a:lstStyle/>
          <a:p>
            <a:pPr marL="0" marR="0" lvl="0" indent="0" algn="r">
              <a:spcBef>
                <a:spcPts val="0"/>
              </a:spcBef>
              <a:spcAft>
                <a:spcPts val="0"/>
              </a:spcAft>
              <a:buNone/>
            </a:pPr>
            <a:r>
              <a:rPr lang="en-US" sz="1200">
                <a:solidFill>
                  <a:srgbClr val="747C74"/>
                </a:solidFill>
                <a:latin typeface="Source Sans Pro"/>
                <a:ea typeface="Source Sans Pro"/>
                <a:sym typeface="Source Sans Pro"/>
              </a:rPr>
              <a:t>Overview</a:t>
            </a:r>
            <a:endParaRPr lang="en-US"/>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Shape 613"/>
        <p:cNvGrpSpPr/>
        <p:nvPr/>
      </p:nvGrpSpPr>
      <p:grpSpPr>
        <a:xfrm>
          <a:off x="0" y="0"/>
          <a:ext cx="0" cy="0"/>
          <a:chOff x="0" y="0"/>
          <a:chExt cx="0" cy="0"/>
        </a:xfrm>
      </p:grpSpPr>
      <p:sp>
        <p:nvSpPr>
          <p:cNvPr id="616" name="Google Shape;616;p15"/>
          <p:cNvSpPr txBox="1"/>
          <p:nvPr/>
        </p:nvSpPr>
        <p:spPr>
          <a:xfrm>
            <a:off x="410080" y="750806"/>
            <a:ext cx="3129534" cy="482431"/>
          </a:xfrm>
          <a:prstGeom prst="rect">
            <a:avLst/>
          </a:prstGeom>
          <a:noFill/>
          <a:ln>
            <a:noFill/>
          </a:ln>
        </p:spPr>
        <p:txBody>
          <a:bodyPr spcFirstLastPara="1" wrap="square" lIns="0" tIns="0" rIns="0" bIns="0" anchor="t" anchorCtr="0">
            <a:noAutofit/>
          </a:bodyPr>
          <a:lstStyle/>
          <a:p>
            <a:pPr>
              <a:lnSpc>
                <a:spcPct val="90000"/>
              </a:lnSpc>
              <a:buClr>
                <a:schemeClr val="dk1"/>
              </a:buClr>
              <a:buSzPts val="3600"/>
            </a:pPr>
            <a:r>
              <a:rPr lang="en-US" sz="2800">
                <a:solidFill>
                  <a:schemeClr val="dk1"/>
                </a:solidFill>
                <a:latin typeface="PT Serif"/>
                <a:ea typeface="PT Serif"/>
                <a:cs typeface="PT Serif"/>
                <a:sym typeface="PT Serif"/>
              </a:rPr>
              <a:t>We got the 1096-B launch-ready (and approved!)</a:t>
            </a:r>
            <a:endParaRPr lang="en-US" sz="2800" b="0" i="0" u="none" strike="noStrike" cap="none">
              <a:solidFill>
                <a:schemeClr val="dk1"/>
              </a:solidFill>
              <a:latin typeface="PT Serif"/>
              <a:ea typeface="PT Serif"/>
              <a:cs typeface="PT Serif"/>
            </a:endParaRPr>
          </a:p>
        </p:txBody>
      </p:sp>
      <p:sp>
        <p:nvSpPr>
          <p:cNvPr id="11" name="Google Shape;337;p6">
            <a:extLst>
              <a:ext uri="{FF2B5EF4-FFF2-40B4-BE49-F238E27FC236}">
                <a16:creationId xmlns:a16="http://schemas.microsoft.com/office/drawing/2014/main" id="{B8747EB6-5160-4889-A9E1-0A810192FC7B}"/>
              </a:ext>
            </a:extLst>
          </p:cNvPr>
          <p:cNvSpPr txBox="1"/>
          <p:nvPr/>
        </p:nvSpPr>
        <p:spPr>
          <a:xfrm>
            <a:off x="419100" y="6408650"/>
            <a:ext cx="2723465" cy="276999"/>
          </a:xfrm>
          <a:prstGeom prst="rect">
            <a:avLst/>
          </a:prstGeom>
          <a:noFill/>
          <a:ln>
            <a:noFill/>
          </a:ln>
        </p:spPr>
        <p:txBody>
          <a:bodyPr spcFirstLastPara="1" wrap="square" lIns="0" tIns="45700" rIns="91425" bIns="45700" anchor="t" anchorCtr="0">
            <a:spAutoFit/>
          </a:bodyPr>
          <a:lstStyle/>
          <a:p>
            <a:pPr marL="0" marR="0" lvl="0" indent="0" algn="l" rtl="0">
              <a:spcBef>
                <a:spcPts val="0"/>
              </a:spcBef>
              <a:spcAft>
                <a:spcPts val="0"/>
              </a:spcAft>
              <a:buNone/>
            </a:pPr>
            <a:r>
              <a:rPr lang="en-US" sz="1200" b="0" i="0" u="none" strike="noStrike" cap="none">
                <a:solidFill>
                  <a:srgbClr val="747C74"/>
                </a:solidFill>
                <a:latin typeface="Source Sans Pro"/>
                <a:ea typeface="Source Sans Pro"/>
                <a:cs typeface="Source Sans Pro"/>
                <a:sym typeface="Source Sans Pro"/>
              </a:rPr>
              <a:t>04-19 Sprint 6 Demo</a:t>
            </a:r>
            <a:endParaRPr sz="1200" b="0" i="0" u="none" strike="noStrike" cap="none">
              <a:solidFill>
                <a:srgbClr val="747C74"/>
              </a:solidFill>
              <a:latin typeface="Calibri"/>
              <a:ea typeface="Calibri"/>
              <a:cs typeface="Calibri"/>
              <a:sym typeface="Calibri"/>
            </a:endParaRPr>
          </a:p>
        </p:txBody>
      </p:sp>
      <p:sp>
        <p:nvSpPr>
          <p:cNvPr id="614" name="Google Shape;614;p15"/>
          <p:cNvSpPr txBox="1"/>
          <p:nvPr/>
        </p:nvSpPr>
        <p:spPr>
          <a:xfrm>
            <a:off x="11474969" y="6356350"/>
            <a:ext cx="406052" cy="365125"/>
          </a:xfrm>
          <a:prstGeom prst="rect">
            <a:avLst/>
          </a:prstGeom>
          <a:noFill/>
          <a:ln>
            <a:noFill/>
          </a:ln>
        </p:spPr>
        <p:txBody>
          <a:bodyPr spcFirstLastPara="1" wrap="square" lIns="91425" tIns="45700" rIns="91425" bIns="45700" anchor="ctr" anchorCtr="0">
            <a:noAutofit/>
          </a:bodyPr>
          <a:lstStyle/>
          <a:p>
            <a:pPr marL="0" marR="0" lvl="0" indent="0" algn="r" rtl="0">
              <a:lnSpc>
                <a:spcPct val="100000"/>
              </a:lnSpc>
              <a:spcBef>
                <a:spcPts val="0"/>
              </a:spcBef>
              <a:spcAft>
                <a:spcPts val="0"/>
              </a:spcAft>
              <a:buClr>
                <a:srgbClr val="8A8A8A"/>
              </a:buClr>
              <a:buSzPts val="1200"/>
              <a:buFont typeface="Arial"/>
              <a:buNone/>
            </a:pPr>
            <a:fld id="{00000000-1234-1234-1234-123412341234}" type="slidenum">
              <a:rPr lang="en-US" sz="1200" b="0" i="0" u="none" strike="noStrike" cap="none">
                <a:solidFill>
                  <a:srgbClr val="8A8A8A"/>
                </a:solidFill>
                <a:latin typeface="Source Sans Pro"/>
                <a:ea typeface="Source Sans Pro"/>
                <a:cs typeface="Source Sans Pro"/>
                <a:sym typeface="Source Sans Pro"/>
              </a:rPr>
              <a:t>9</a:t>
            </a:fld>
            <a:endParaRPr sz="1200" b="0" i="0" u="none" strike="noStrike" cap="none">
              <a:solidFill>
                <a:srgbClr val="8A8A8A"/>
              </a:solidFill>
              <a:latin typeface="Source Sans Pro"/>
              <a:ea typeface="Source Sans Pro"/>
              <a:cs typeface="Source Sans Pro"/>
              <a:sym typeface="Source Sans Pro"/>
            </a:endParaRPr>
          </a:p>
        </p:txBody>
      </p:sp>
      <p:sp>
        <p:nvSpPr>
          <p:cNvPr id="10" name="Google Shape;470;p9">
            <a:extLst>
              <a:ext uri="{FF2B5EF4-FFF2-40B4-BE49-F238E27FC236}">
                <a16:creationId xmlns:a16="http://schemas.microsoft.com/office/drawing/2014/main" id="{07509EF3-7D95-47DB-B37C-6EF4E0F9EE9D}"/>
              </a:ext>
            </a:extLst>
          </p:cNvPr>
          <p:cNvSpPr txBox="1"/>
          <p:nvPr/>
        </p:nvSpPr>
        <p:spPr>
          <a:xfrm>
            <a:off x="10881407" y="6408650"/>
            <a:ext cx="759418" cy="276959"/>
          </a:xfrm>
          <a:prstGeom prst="rect">
            <a:avLst/>
          </a:prstGeom>
          <a:noFill/>
          <a:ln>
            <a:noFill/>
          </a:ln>
        </p:spPr>
        <p:txBody>
          <a:bodyPr spcFirstLastPara="1" wrap="square" lIns="91425" tIns="45700" rIns="91425" bIns="45700" anchor="t" anchorCtr="0">
            <a:spAutoFit/>
          </a:bodyPr>
          <a:lstStyle/>
          <a:p>
            <a:pPr marL="0" marR="0" lvl="0" indent="0" algn="r" rtl="0">
              <a:spcBef>
                <a:spcPts val="0"/>
              </a:spcBef>
              <a:spcAft>
                <a:spcPts val="0"/>
              </a:spcAft>
              <a:buClr>
                <a:srgbClr val="747C74"/>
              </a:buClr>
              <a:buSzPts val="1200"/>
              <a:buFont typeface="Source Sans Pro"/>
              <a:buNone/>
            </a:pPr>
            <a:r>
              <a:rPr lang="en-US" sz="1200">
                <a:solidFill>
                  <a:srgbClr val="747C74"/>
                </a:solidFill>
                <a:latin typeface="Source Sans Pro"/>
                <a:ea typeface="Source Sans Pro"/>
                <a:cs typeface="Calibri"/>
                <a:sym typeface="Source Sans Pro"/>
              </a:rPr>
              <a:t>Design</a:t>
            </a:r>
            <a:endParaRPr sz="1800" b="0" i="0" u="none" strike="noStrike" cap="none">
              <a:solidFill>
                <a:schemeClr val="dk1"/>
              </a:solidFill>
              <a:latin typeface="Calibri"/>
              <a:ea typeface="Calibri"/>
              <a:cs typeface="Calibri"/>
              <a:sym typeface="Calibri"/>
            </a:endParaRPr>
          </a:p>
        </p:txBody>
      </p:sp>
      <p:sp>
        <p:nvSpPr>
          <p:cNvPr id="12" name="Google Shape;605;p14">
            <a:extLst>
              <a:ext uri="{FF2B5EF4-FFF2-40B4-BE49-F238E27FC236}">
                <a16:creationId xmlns:a16="http://schemas.microsoft.com/office/drawing/2014/main" id="{2A18C4E8-C461-494D-81E4-7EB6C08B7B32}"/>
              </a:ext>
            </a:extLst>
          </p:cNvPr>
          <p:cNvSpPr txBox="1"/>
          <p:nvPr/>
        </p:nvSpPr>
        <p:spPr>
          <a:xfrm>
            <a:off x="403512" y="2119951"/>
            <a:ext cx="3104891" cy="2229841"/>
          </a:xfrm>
          <a:prstGeom prst="rect">
            <a:avLst/>
          </a:prstGeom>
          <a:noFill/>
          <a:ln>
            <a:noFill/>
          </a:ln>
        </p:spPr>
        <p:txBody>
          <a:bodyPr spcFirstLastPara="1" wrap="square" lIns="0" tIns="0" rIns="0" bIns="0" anchor="t" anchorCtr="0">
            <a:spAutoFit/>
          </a:bodyPr>
          <a:lstStyle/>
          <a:p>
            <a:pPr>
              <a:lnSpc>
                <a:spcPct val="115000"/>
              </a:lnSpc>
              <a:buSzPts val="1400"/>
            </a:pPr>
            <a:r>
              <a:rPr lang="en-US" b="0" i="0" strike="noStrike" cap="none">
                <a:solidFill>
                  <a:schemeClr val="tx1"/>
                </a:solidFill>
                <a:latin typeface="PT Serif"/>
                <a:ea typeface="PT Serif"/>
                <a:cs typeface="PT Serif"/>
                <a:sym typeface="PT Serif"/>
                <a:hlinkClick r:id="rId3"/>
              </a:rPr>
              <a:t>User Story</a:t>
            </a:r>
            <a:r>
              <a:rPr lang="en-US" b="0" i="0" strike="noStrike" cap="none">
                <a:solidFill>
                  <a:schemeClr val="tx1"/>
                </a:solidFill>
                <a:latin typeface="PT Serif"/>
                <a:ea typeface="PT Serif"/>
                <a:cs typeface="PT Serif"/>
                <a:sym typeface="PT Serif"/>
              </a:rPr>
              <a:t>: </a:t>
            </a:r>
            <a:r>
              <a:rPr lang="en-US">
                <a:solidFill>
                  <a:schemeClr val="tx1">
                    <a:lumMod val="50000"/>
                    <a:lumOff val="50000"/>
                  </a:schemeClr>
                </a:solidFill>
                <a:latin typeface="PT Serif"/>
                <a:ea typeface="PT Serif"/>
                <a:cs typeface="PT Serif"/>
                <a:sym typeface="PT Serif"/>
              </a:rPr>
              <a:t>Conduct design QA of coded designs</a:t>
            </a:r>
            <a:endParaRPr lang="en-US">
              <a:solidFill>
                <a:schemeClr val="tx1">
                  <a:lumMod val="50000"/>
                  <a:lumOff val="50000"/>
                </a:schemeClr>
              </a:solidFill>
              <a:latin typeface="PT Serif"/>
              <a:ea typeface="PT Serif"/>
              <a:cs typeface="PT Serif"/>
            </a:endParaRPr>
          </a:p>
          <a:p>
            <a:pPr>
              <a:lnSpc>
                <a:spcPct val="115000"/>
              </a:lnSpc>
              <a:buSzPts val="1400"/>
            </a:pPr>
            <a:r>
              <a:rPr lang="en-US" b="0" i="0" strike="noStrike" cap="none">
                <a:solidFill>
                  <a:schemeClr val="tx1"/>
                </a:solidFill>
                <a:latin typeface="PT Serif"/>
                <a:ea typeface="PT Serif"/>
                <a:cs typeface="PT Serif"/>
                <a:sym typeface="PT Serif"/>
                <a:hlinkClick r:id="rId4"/>
              </a:rPr>
              <a:t>User Story</a:t>
            </a:r>
            <a:r>
              <a:rPr lang="en-US" b="0" i="0" strike="noStrike" cap="none">
                <a:solidFill>
                  <a:schemeClr val="tx1"/>
                </a:solidFill>
                <a:latin typeface="PT Serif"/>
                <a:ea typeface="PT Serif"/>
                <a:cs typeface="PT Serif"/>
                <a:sym typeface="PT Serif"/>
              </a:rPr>
              <a:t>:</a:t>
            </a:r>
            <a:r>
              <a:rPr lang="en-US" b="0" i="0" strike="noStrike" cap="none">
                <a:solidFill>
                  <a:schemeClr val="tx1">
                    <a:lumMod val="50000"/>
                    <a:lumOff val="50000"/>
                  </a:schemeClr>
                </a:solidFill>
                <a:latin typeface="PT Serif"/>
                <a:ea typeface="PT Serif"/>
                <a:cs typeface="PT Serif"/>
                <a:sym typeface="PT Serif"/>
              </a:rPr>
              <a:t> Iterate designs from staging review feedback</a:t>
            </a:r>
            <a:endParaRPr lang="en-US" b="0" i="0" strike="noStrike" cap="none">
              <a:solidFill>
                <a:schemeClr val="tx1">
                  <a:lumMod val="50000"/>
                  <a:lumOff val="50000"/>
                </a:schemeClr>
              </a:solidFill>
              <a:latin typeface="PT Serif"/>
              <a:ea typeface="PT Serif"/>
              <a:cs typeface="PT Serif"/>
            </a:endParaRPr>
          </a:p>
          <a:p>
            <a:pPr>
              <a:lnSpc>
                <a:spcPct val="115000"/>
              </a:lnSpc>
              <a:buSzPts val="1400"/>
            </a:pPr>
            <a:r>
              <a:rPr lang="en-US" b="0" i="0" strike="noStrike" cap="none">
                <a:solidFill>
                  <a:schemeClr val="tx1"/>
                </a:solidFill>
                <a:latin typeface="PT Serif"/>
                <a:ea typeface="PT Serif"/>
                <a:cs typeface="PT Serif"/>
                <a:sym typeface="PT Serif"/>
                <a:hlinkClick r:id="rId5"/>
              </a:rPr>
              <a:t>User Story</a:t>
            </a:r>
            <a:r>
              <a:rPr lang="en-US" b="0" i="0" strike="noStrike" cap="none">
                <a:solidFill>
                  <a:schemeClr val="tx1"/>
                </a:solidFill>
                <a:latin typeface="PT Serif"/>
                <a:ea typeface="PT Serif"/>
                <a:cs typeface="PT Serif"/>
                <a:sym typeface="PT Serif"/>
              </a:rPr>
              <a:t>: </a:t>
            </a:r>
            <a:r>
              <a:rPr lang="en-US" b="0" i="0" strike="noStrike" cap="none">
                <a:solidFill>
                  <a:schemeClr val="tx1">
                    <a:lumMod val="50000"/>
                    <a:lumOff val="50000"/>
                  </a:schemeClr>
                </a:solidFill>
                <a:latin typeface="PT Serif"/>
                <a:ea typeface="PT Serif"/>
                <a:cs typeface="PT Serif"/>
                <a:sym typeface="PT Serif"/>
              </a:rPr>
              <a:t>Collaboration cycle: staging review</a:t>
            </a:r>
            <a:endParaRPr lang="en-US" b="0" i="0" strike="noStrike" cap="none">
              <a:solidFill>
                <a:schemeClr val="tx1">
                  <a:lumMod val="50000"/>
                  <a:lumOff val="50000"/>
                </a:schemeClr>
              </a:solidFill>
              <a:latin typeface="PT Serif"/>
              <a:ea typeface="PT Serif"/>
              <a:cs typeface="PT Serif"/>
            </a:endParaRPr>
          </a:p>
          <a:p>
            <a:pPr>
              <a:lnSpc>
                <a:spcPct val="115000"/>
              </a:lnSpc>
              <a:buSzPts val="1400"/>
            </a:pPr>
            <a:r>
              <a:rPr lang="en-US" b="0" i="0" strike="noStrike" cap="none">
                <a:solidFill>
                  <a:schemeClr val="tx1"/>
                </a:solidFill>
                <a:latin typeface="PT Serif"/>
                <a:ea typeface="PT Serif"/>
                <a:cs typeface="PT Serif"/>
                <a:sym typeface="PT Serif"/>
                <a:hlinkClick r:id="rId6"/>
              </a:rPr>
              <a:t>User Story</a:t>
            </a:r>
            <a:r>
              <a:rPr lang="en-US" b="0" i="0" strike="noStrike" cap="none">
                <a:solidFill>
                  <a:schemeClr val="tx1"/>
                </a:solidFill>
                <a:latin typeface="PT Serif"/>
                <a:ea typeface="PT Serif"/>
                <a:cs typeface="PT Serif"/>
                <a:sym typeface="PT Serif"/>
              </a:rPr>
              <a:t>: </a:t>
            </a:r>
            <a:r>
              <a:rPr lang="en-US" b="0" i="0" strike="noStrike" cap="none">
                <a:solidFill>
                  <a:schemeClr val="tx1">
                    <a:lumMod val="50000"/>
                    <a:lumOff val="50000"/>
                  </a:schemeClr>
                </a:solidFill>
                <a:latin typeface="PT Serif"/>
                <a:ea typeface="PT Serif"/>
                <a:cs typeface="PT Serif"/>
                <a:sym typeface="PT Serif"/>
              </a:rPr>
              <a:t>Make updates to code based on feedback from VA GitHub review for staging</a:t>
            </a:r>
            <a:endParaRPr lang="en-US" b="0" i="0" strike="noStrike" cap="none">
              <a:solidFill>
                <a:schemeClr val="tx1">
                  <a:lumMod val="50000"/>
                  <a:lumOff val="50000"/>
                </a:schemeClr>
              </a:solidFill>
              <a:latin typeface="PT Serif"/>
              <a:ea typeface="PT Serif"/>
              <a:cs typeface="PT Serif"/>
            </a:endParaRPr>
          </a:p>
        </p:txBody>
      </p:sp>
      <p:sp>
        <p:nvSpPr>
          <p:cNvPr id="14" name="Google Shape;609;p14">
            <a:extLst>
              <a:ext uri="{FF2B5EF4-FFF2-40B4-BE49-F238E27FC236}">
                <a16:creationId xmlns:a16="http://schemas.microsoft.com/office/drawing/2014/main" id="{59B9098F-2628-4EF5-89DD-EDEFBCFB2940}"/>
              </a:ext>
            </a:extLst>
          </p:cNvPr>
          <p:cNvSpPr txBox="1"/>
          <p:nvPr/>
        </p:nvSpPr>
        <p:spPr>
          <a:xfrm>
            <a:off x="9131193" y="6122168"/>
            <a:ext cx="2743200" cy="276959"/>
          </a:xfrm>
          <a:prstGeom prst="rect">
            <a:avLst/>
          </a:prstGeom>
          <a:noFill/>
          <a:ln>
            <a:noFill/>
          </a:ln>
        </p:spPr>
        <p:txBody>
          <a:bodyPr spcFirstLastPara="1" wrap="square" lIns="91425" tIns="45700" rIns="91425" bIns="45700" anchor="t" anchorCtr="0">
            <a:spAutoFit/>
          </a:bodyPr>
          <a:lstStyle/>
          <a:p>
            <a:pPr marL="0" marR="0" lvl="0" indent="0" algn="r" rtl="0">
              <a:lnSpc>
                <a:spcPct val="100000"/>
              </a:lnSpc>
              <a:spcBef>
                <a:spcPts val="0"/>
              </a:spcBef>
              <a:spcAft>
                <a:spcPts val="0"/>
              </a:spcAft>
              <a:buClr>
                <a:srgbClr val="000000"/>
              </a:buClr>
              <a:buSzPts val="1400"/>
              <a:buFont typeface="Arial"/>
              <a:buNone/>
            </a:pPr>
            <a:r>
              <a:rPr lang="en-US" sz="1200">
                <a:solidFill>
                  <a:srgbClr val="000000"/>
                </a:solidFill>
                <a:latin typeface="Source Sans Pro"/>
                <a:ea typeface="Source Sans Pro"/>
                <a:sym typeface="Arial"/>
                <a:hlinkClick r:id="rId7"/>
              </a:rPr>
              <a:t>GitHub Link</a:t>
            </a:r>
            <a:endParaRPr lang="en-US" sz="1200" b="0" i="0" strike="noStrike" cap="none">
              <a:solidFill>
                <a:srgbClr val="000000"/>
              </a:solidFill>
              <a:latin typeface="Source Sans Pro"/>
              <a:ea typeface="Source Sans Pro"/>
              <a:sym typeface="Arial"/>
            </a:endParaRPr>
          </a:p>
        </p:txBody>
      </p:sp>
      <p:grpSp>
        <p:nvGrpSpPr>
          <p:cNvPr id="13" name="Google Shape;602;p14">
            <a:extLst>
              <a:ext uri="{FF2B5EF4-FFF2-40B4-BE49-F238E27FC236}">
                <a16:creationId xmlns:a16="http://schemas.microsoft.com/office/drawing/2014/main" id="{22F99862-B995-4428-9899-A2DE5DA4C888}"/>
              </a:ext>
            </a:extLst>
          </p:cNvPr>
          <p:cNvGrpSpPr/>
          <p:nvPr/>
        </p:nvGrpSpPr>
        <p:grpSpPr>
          <a:xfrm>
            <a:off x="1489852" y="289402"/>
            <a:ext cx="821576" cy="369094"/>
            <a:chOff x="410431" y="309109"/>
            <a:chExt cx="821576" cy="369094"/>
          </a:xfrm>
        </p:grpSpPr>
        <p:sp>
          <p:nvSpPr>
            <p:cNvPr id="15" name="Google Shape;603;p14">
              <a:extLst>
                <a:ext uri="{FF2B5EF4-FFF2-40B4-BE49-F238E27FC236}">
                  <a16:creationId xmlns:a16="http://schemas.microsoft.com/office/drawing/2014/main" id="{0A731ACF-D454-40D1-85BC-72922DE6253D}"/>
                </a:ext>
              </a:extLst>
            </p:cNvPr>
            <p:cNvSpPr/>
            <p:nvPr/>
          </p:nvSpPr>
          <p:spPr>
            <a:xfrm>
              <a:off x="410431" y="313703"/>
              <a:ext cx="255129" cy="263129"/>
            </a:xfrm>
            <a:prstGeom prst="ellipse">
              <a:avLst/>
            </a:prstGeom>
            <a:solidFill>
              <a:srgbClr val="014479"/>
            </a:solidFill>
            <a:ln>
              <a:noFill/>
            </a:ln>
          </p:spPr>
          <p:txBody>
            <a:bodyPr spcFirstLastPara="1" wrap="square" lIns="0" tIns="0" rIns="0" bIns="0" anchor="ctr" anchorCtr="1">
              <a:noAutofit/>
            </a:bodyPr>
            <a:lstStyle/>
            <a:p>
              <a:pPr marL="0" marR="0" lvl="0" indent="0" algn="ctr" rtl="0">
                <a:lnSpc>
                  <a:spcPct val="100000"/>
                </a:lnSpc>
                <a:spcBef>
                  <a:spcPts val="0"/>
                </a:spcBef>
                <a:spcAft>
                  <a:spcPts val="0"/>
                </a:spcAft>
                <a:buClr>
                  <a:srgbClr val="FFFFFF"/>
                </a:buClr>
                <a:buSzPts val="3600"/>
                <a:buFont typeface="PT Serif"/>
                <a:buNone/>
              </a:pPr>
              <a:r>
                <a:rPr lang="en-US" sz="1200">
                  <a:solidFill>
                    <a:srgbClr val="FFFFFF"/>
                  </a:solidFill>
                  <a:latin typeface="PT Serif"/>
                </a:rPr>
                <a:t>2</a:t>
              </a:r>
              <a:endParaRPr lang="en-US" sz="1200" b="0" i="0" u="none" strike="noStrike" cap="none">
                <a:solidFill>
                  <a:srgbClr val="FFFFFF"/>
                </a:solidFill>
                <a:latin typeface="PT Serif"/>
                <a:ea typeface="Arial"/>
                <a:cs typeface="Arial"/>
              </a:endParaRPr>
            </a:p>
          </p:txBody>
        </p:sp>
        <p:sp>
          <p:nvSpPr>
            <p:cNvPr id="16" name="Google Shape;604;p14">
              <a:extLst>
                <a:ext uri="{FF2B5EF4-FFF2-40B4-BE49-F238E27FC236}">
                  <a16:creationId xmlns:a16="http://schemas.microsoft.com/office/drawing/2014/main" id="{F59BF18F-9019-474B-B8DB-73251A78B48B}"/>
                </a:ext>
              </a:extLst>
            </p:cNvPr>
            <p:cNvSpPr txBox="1"/>
            <p:nvPr/>
          </p:nvSpPr>
          <p:spPr>
            <a:xfrm>
              <a:off x="749635" y="309109"/>
              <a:ext cx="482372" cy="369094"/>
            </a:xfrm>
            <a:prstGeom prst="rect">
              <a:avLst/>
            </a:prstGeom>
            <a:noFill/>
            <a:ln>
              <a:noFill/>
            </a:ln>
          </p:spPr>
          <p:txBody>
            <a:bodyPr spcFirstLastPara="1" wrap="square" lIns="0" tIns="45700" rIns="0" bIns="45700" anchor="t" anchorCtr="0">
              <a:normAutofit/>
            </a:bodyPr>
            <a:lstStyle/>
            <a:p>
              <a:pPr marL="0" marR="0" lvl="0" indent="0" algn="l">
                <a:lnSpc>
                  <a:spcPct val="100000"/>
                </a:lnSpc>
                <a:spcBef>
                  <a:spcPts val="0"/>
                </a:spcBef>
                <a:spcAft>
                  <a:spcPts val="0"/>
                </a:spcAft>
                <a:buNone/>
              </a:pPr>
              <a:r>
                <a:rPr lang="en-US">
                  <a:solidFill>
                    <a:srgbClr val="0071BF"/>
                  </a:solidFill>
                  <a:latin typeface="Source Sans Pro"/>
                  <a:ea typeface="Source Sans Pro"/>
                  <a:sym typeface="Source Sans Pro"/>
                </a:rPr>
                <a:t>TECH</a:t>
              </a:r>
              <a:endParaRPr lang="en-US"/>
            </a:p>
          </p:txBody>
        </p:sp>
      </p:grpSp>
      <p:grpSp>
        <p:nvGrpSpPr>
          <p:cNvPr id="22" name="Google Shape;602;p14">
            <a:extLst>
              <a:ext uri="{FF2B5EF4-FFF2-40B4-BE49-F238E27FC236}">
                <a16:creationId xmlns:a16="http://schemas.microsoft.com/office/drawing/2014/main" id="{54E8C039-5AD4-4118-8CD3-BA2B6CE4B700}"/>
              </a:ext>
            </a:extLst>
          </p:cNvPr>
          <p:cNvGrpSpPr/>
          <p:nvPr/>
        </p:nvGrpSpPr>
        <p:grpSpPr>
          <a:xfrm>
            <a:off x="410431" y="309109"/>
            <a:ext cx="966093" cy="369094"/>
            <a:chOff x="410431" y="309109"/>
            <a:chExt cx="966093" cy="369094"/>
          </a:xfrm>
        </p:grpSpPr>
        <p:sp>
          <p:nvSpPr>
            <p:cNvPr id="23" name="Google Shape;603;p14">
              <a:extLst>
                <a:ext uri="{FF2B5EF4-FFF2-40B4-BE49-F238E27FC236}">
                  <a16:creationId xmlns:a16="http://schemas.microsoft.com/office/drawing/2014/main" id="{6349303C-5EAA-4B3A-91B0-92F6C70427A5}"/>
                </a:ext>
              </a:extLst>
            </p:cNvPr>
            <p:cNvSpPr/>
            <p:nvPr/>
          </p:nvSpPr>
          <p:spPr>
            <a:xfrm>
              <a:off x="410431" y="313703"/>
              <a:ext cx="255129" cy="263129"/>
            </a:xfrm>
            <a:prstGeom prst="ellipse">
              <a:avLst/>
            </a:prstGeom>
            <a:solidFill>
              <a:srgbClr val="014479"/>
            </a:solidFill>
            <a:ln>
              <a:noFill/>
            </a:ln>
          </p:spPr>
          <p:txBody>
            <a:bodyPr spcFirstLastPara="1" wrap="square" lIns="0" tIns="0" rIns="0" bIns="0" anchor="ctr" anchorCtr="1">
              <a:noAutofit/>
            </a:bodyPr>
            <a:lstStyle/>
            <a:p>
              <a:pPr marL="0" marR="0" lvl="0" indent="0" algn="ctr" rtl="0">
                <a:lnSpc>
                  <a:spcPct val="100000"/>
                </a:lnSpc>
                <a:spcBef>
                  <a:spcPts val="0"/>
                </a:spcBef>
                <a:spcAft>
                  <a:spcPts val="0"/>
                </a:spcAft>
                <a:buClr>
                  <a:srgbClr val="FFFFFF"/>
                </a:buClr>
                <a:buSzPts val="3600"/>
                <a:buFont typeface="PT Serif"/>
                <a:buNone/>
              </a:pPr>
              <a:r>
                <a:rPr lang="en-US" sz="1200">
                  <a:solidFill>
                    <a:srgbClr val="FFFFFF"/>
                  </a:solidFill>
                  <a:latin typeface="PT Serif"/>
                  <a:sym typeface="PT Serif"/>
                </a:rPr>
                <a:t>1</a:t>
              </a:r>
              <a:endParaRPr sz="1200" b="0" i="0" u="none" strike="noStrike" cap="none">
                <a:solidFill>
                  <a:srgbClr val="000000"/>
                </a:solidFill>
                <a:latin typeface="Arial"/>
                <a:ea typeface="Arial"/>
                <a:cs typeface="Arial"/>
                <a:sym typeface="Arial"/>
              </a:endParaRPr>
            </a:p>
          </p:txBody>
        </p:sp>
        <p:sp>
          <p:nvSpPr>
            <p:cNvPr id="24" name="Google Shape;604;p14">
              <a:extLst>
                <a:ext uri="{FF2B5EF4-FFF2-40B4-BE49-F238E27FC236}">
                  <a16:creationId xmlns:a16="http://schemas.microsoft.com/office/drawing/2014/main" id="{E866F250-DD27-49C2-A23E-D8AB80A3C73F}"/>
                </a:ext>
              </a:extLst>
            </p:cNvPr>
            <p:cNvSpPr txBox="1"/>
            <p:nvPr/>
          </p:nvSpPr>
          <p:spPr>
            <a:xfrm>
              <a:off x="736498" y="309109"/>
              <a:ext cx="640026" cy="369094"/>
            </a:xfrm>
            <a:prstGeom prst="rect">
              <a:avLst/>
            </a:prstGeom>
            <a:noFill/>
            <a:ln>
              <a:noFill/>
            </a:ln>
          </p:spPr>
          <p:txBody>
            <a:bodyPr spcFirstLastPara="1" wrap="square" lIns="0" tIns="45700" rIns="0" bIns="45700" anchor="t" anchorCtr="0">
              <a:normAutofit/>
            </a:bodyPr>
            <a:lstStyle/>
            <a:p>
              <a:pPr marL="0" marR="0" lvl="0" indent="0" algn="l" rtl="0">
                <a:lnSpc>
                  <a:spcPct val="100000"/>
                </a:lnSpc>
                <a:spcBef>
                  <a:spcPts val="0"/>
                </a:spcBef>
                <a:spcAft>
                  <a:spcPts val="0"/>
                </a:spcAft>
                <a:buClr>
                  <a:srgbClr val="000000"/>
                </a:buClr>
                <a:buSzPts val="1400"/>
                <a:buFont typeface="Arial"/>
                <a:buNone/>
              </a:pPr>
              <a:r>
                <a:rPr lang="en-US" sz="1400" b="0" i="0" u="none" strike="noStrike" cap="none">
                  <a:solidFill>
                    <a:srgbClr val="0071BF"/>
                  </a:solidFill>
                  <a:latin typeface="Source Sans Pro"/>
                  <a:ea typeface="Source Sans Pro"/>
                  <a:cs typeface="Source Sans Pro"/>
                  <a:sym typeface="Source Sans Pro"/>
                </a:rPr>
                <a:t>DESIGN</a:t>
              </a:r>
              <a:endParaRPr sz="1400" b="0" i="0" u="none" strike="noStrike" cap="none">
                <a:solidFill>
                  <a:srgbClr val="000000"/>
                </a:solidFill>
                <a:latin typeface="Arial"/>
                <a:ea typeface="Arial"/>
                <a:cs typeface="Arial"/>
                <a:sym typeface="Arial"/>
              </a:endParaRPr>
            </a:p>
          </p:txBody>
        </p:sp>
      </p:grpSp>
      <p:pic>
        <p:nvPicPr>
          <p:cNvPr id="4" name="Picture 3">
            <a:extLst>
              <a:ext uri="{FF2B5EF4-FFF2-40B4-BE49-F238E27FC236}">
                <a16:creationId xmlns:a16="http://schemas.microsoft.com/office/drawing/2014/main" id="{4072D814-F19F-4E83-B2EA-954E712A21E1}"/>
              </a:ext>
            </a:extLst>
          </p:cNvPr>
          <p:cNvPicPr>
            <a:picLocks noChangeAspect="1"/>
          </p:cNvPicPr>
          <p:nvPr/>
        </p:nvPicPr>
        <p:blipFill>
          <a:blip r:embed="rId8"/>
          <a:stretch>
            <a:fillRect/>
          </a:stretch>
        </p:blipFill>
        <p:spPr>
          <a:xfrm>
            <a:off x="4258130" y="359284"/>
            <a:ext cx="2607284" cy="5713620"/>
          </a:xfrm>
          <a:prstGeom prst="rect">
            <a:avLst/>
          </a:prstGeom>
          <a:ln>
            <a:solidFill>
              <a:schemeClr val="tx1">
                <a:lumMod val="10000"/>
                <a:lumOff val="90000"/>
              </a:schemeClr>
            </a:solidFill>
          </a:ln>
        </p:spPr>
      </p:pic>
      <p:pic>
        <p:nvPicPr>
          <p:cNvPr id="6" name="Picture 5">
            <a:extLst>
              <a:ext uri="{FF2B5EF4-FFF2-40B4-BE49-F238E27FC236}">
                <a16:creationId xmlns:a16="http://schemas.microsoft.com/office/drawing/2014/main" id="{DDB5A74C-7422-42C6-85B2-2AF4A545DE23}"/>
              </a:ext>
            </a:extLst>
          </p:cNvPr>
          <p:cNvPicPr>
            <a:picLocks noChangeAspect="1"/>
          </p:cNvPicPr>
          <p:nvPr/>
        </p:nvPicPr>
        <p:blipFill>
          <a:blip r:embed="rId9"/>
          <a:stretch>
            <a:fillRect/>
          </a:stretch>
        </p:blipFill>
        <p:spPr>
          <a:xfrm>
            <a:off x="7055085" y="359284"/>
            <a:ext cx="573747" cy="5713620"/>
          </a:xfrm>
          <a:prstGeom prst="rect">
            <a:avLst/>
          </a:prstGeom>
          <a:ln>
            <a:solidFill>
              <a:schemeClr val="tx1">
                <a:lumMod val="10000"/>
                <a:lumOff val="90000"/>
              </a:schemeClr>
            </a:solidFill>
          </a:ln>
        </p:spPr>
      </p:pic>
      <p:pic>
        <p:nvPicPr>
          <p:cNvPr id="8" name="Picture 7" descr="Text, application&#10;&#10;Description automatically generated">
            <a:extLst>
              <a:ext uri="{FF2B5EF4-FFF2-40B4-BE49-F238E27FC236}">
                <a16:creationId xmlns:a16="http://schemas.microsoft.com/office/drawing/2014/main" id="{453E7F76-0721-471F-A02E-8719F05BE661}"/>
              </a:ext>
            </a:extLst>
          </p:cNvPr>
          <p:cNvPicPr>
            <a:picLocks noChangeAspect="1"/>
          </p:cNvPicPr>
          <p:nvPr/>
        </p:nvPicPr>
        <p:blipFill>
          <a:blip r:embed="rId10"/>
          <a:stretch>
            <a:fillRect/>
          </a:stretch>
        </p:blipFill>
        <p:spPr>
          <a:xfrm>
            <a:off x="7828901" y="352715"/>
            <a:ext cx="2626008" cy="5713620"/>
          </a:xfrm>
          <a:prstGeom prst="rect">
            <a:avLst/>
          </a:prstGeom>
          <a:ln>
            <a:solidFill>
              <a:schemeClr val="tx1">
                <a:lumMod val="10000"/>
                <a:lumOff val="90000"/>
              </a:schemeClr>
            </a:solidFill>
          </a:ln>
        </p:spPr>
      </p:pic>
      <p:pic>
        <p:nvPicPr>
          <p:cNvPr id="17" name="Picture 16">
            <a:extLst>
              <a:ext uri="{FF2B5EF4-FFF2-40B4-BE49-F238E27FC236}">
                <a16:creationId xmlns:a16="http://schemas.microsoft.com/office/drawing/2014/main" id="{A49395E6-7338-4E76-A893-5573168DCC7E}"/>
              </a:ext>
            </a:extLst>
          </p:cNvPr>
          <p:cNvPicPr>
            <a:picLocks noChangeAspect="1"/>
          </p:cNvPicPr>
          <p:nvPr/>
        </p:nvPicPr>
        <p:blipFill>
          <a:blip r:embed="rId11"/>
          <a:stretch>
            <a:fillRect/>
          </a:stretch>
        </p:blipFill>
        <p:spPr>
          <a:xfrm>
            <a:off x="10645896" y="352715"/>
            <a:ext cx="594429" cy="5713620"/>
          </a:xfrm>
          <a:prstGeom prst="rect">
            <a:avLst/>
          </a:prstGeom>
          <a:ln>
            <a:solidFill>
              <a:schemeClr val="tx1">
                <a:lumMod val="10000"/>
                <a:lumOff val="90000"/>
              </a:schemeClr>
            </a:solidFill>
          </a:ln>
        </p:spPr>
      </p:pic>
      <p:sp>
        <p:nvSpPr>
          <p:cNvPr id="2" name="TextBox 1">
            <a:extLst>
              <a:ext uri="{FF2B5EF4-FFF2-40B4-BE49-F238E27FC236}">
                <a16:creationId xmlns:a16="http://schemas.microsoft.com/office/drawing/2014/main" id="{5E9E9411-384E-A6A3-41A6-F26CB141ADA6}"/>
              </a:ext>
            </a:extLst>
          </p:cNvPr>
          <p:cNvSpPr txBox="1"/>
          <p:nvPr/>
        </p:nvSpPr>
        <p:spPr>
          <a:xfrm>
            <a:off x="321002" y="4506292"/>
            <a:ext cx="2920562" cy="1277273"/>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182880" indent="-182880">
              <a:spcAft>
                <a:spcPts val="600"/>
              </a:spcAft>
              <a:buFont typeface="Wingdings"/>
              <a:buChar char="§"/>
            </a:pPr>
            <a:r>
              <a:rPr lang="en-US" sz="1200">
                <a:latin typeface="PT Serif"/>
              </a:rPr>
              <a:t>Went through Staging Review on April 12 and were cleared for launch. Accessibility and UAT will happen post-launch</a:t>
            </a:r>
            <a:endParaRPr lang="en-US"/>
          </a:p>
          <a:p>
            <a:pPr marL="182880" indent="-182880">
              <a:buFont typeface="Wingdings"/>
              <a:buChar char="§"/>
            </a:pPr>
            <a:r>
              <a:rPr lang="en-US" sz="1200">
                <a:latin typeface="PT Serif"/>
              </a:rPr>
              <a:t>Coordinated content feedback tickets with sitewide team</a:t>
            </a:r>
          </a:p>
        </p:txBody>
      </p:sp>
    </p:spTree>
    <p:extLst>
      <p:ext uri="{BB962C8B-B14F-4D97-AF65-F5344CB8AC3E}">
        <p14:creationId xmlns:p14="http://schemas.microsoft.com/office/powerpoint/2010/main" val="174687320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SCLIENT" val="True"/>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VA Custom 1">
      <a:dk1>
        <a:srgbClr val="202120"/>
      </a:dk1>
      <a:lt1>
        <a:srgbClr val="FDFFFD"/>
      </a:lt1>
      <a:dk2>
        <a:srgbClr val="303A46"/>
      </a:dk2>
      <a:lt2>
        <a:srgbClr val="F0F1F0"/>
      </a:lt2>
      <a:accent1>
        <a:srgbClr val="022D50"/>
      </a:accent1>
      <a:accent2>
        <a:srgbClr val="0071BF"/>
      </a:accent2>
      <a:accent3>
        <a:srgbClr val="FEB600"/>
      </a:accent3>
      <a:accent4>
        <a:srgbClr val="522597"/>
      </a:accent4>
      <a:accent5>
        <a:srgbClr val="00C0E2"/>
      </a:accent5>
      <a:accent6>
        <a:srgbClr val="DAE4F0"/>
      </a:accent6>
      <a:hlink>
        <a:srgbClr val="0071C0"/>
      </a:hlink>
      <a:folHlink>
        <a:srgbClr val="003D77"/>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Application>Microsoft Office PowerPoint</Application>
  <PresentationFormat>Widescreen</PresentationFormat>
  <Slides>36</Slides>
  <Notes>30</Notes>
  <HiddenSlides>0</HiddenSlides>
  <ScaleCrop>false</ScaleCrop>
  <HeadingPairs>
    <vt:vector size="4" baseType="variant">
      <vt:variant>
        <vt:lpstr>Theme</vt:lpstr>
      </vt:variant>
      <vt:variant>
        <vt:i4>1</vt:i4>
      </vt:variant>
      <vt:variant>
        <vt:lpstr>Slide Titles</vt:lpstr>
      </vt:variant>
      <vt:variant>
        <vt:i4>36</vt:i4>
      </vt:variant>
    </vt:vector>
  </HeadingPairs>
  <TitlesOfParts>
    <vt:vector size="37" baseType="lpstr">
      <vt:lpstr>1_Office Theme</vt:lpstr>
      <vt:lpstr>Sprint 6 Demo</vt:lpstr>
      <vt:lpstr>Get to know the team</vt:lpstr>
      <vt:lpstr>At the end of each sprint on Tuesdays, the team will run sprint reviews to showcase the sprint’s work for approval. The purpose of this meeting is:</vt:lpstr>
      <vt:lpstr>Roadmap overview</vt:lpstr>
      <vt:lpstr>Current Workplan</vt:lpstr>
      <vt:lpstr>Agenda</vt:lpstr>
      <vt:lpstr>1095-B Overview</vt:lpstr>
      <vt:lpstr>Project objectives</vt:lpstr>
      <vt:lpstr>PowerPoint Presentation</vt:lpstr>
      <vt:lpstr>PowerPoint Presentation</vt:lpstr>
      <vt:lpstr>PowerPoint Presentation</vt:lpstr>
      <vt:lpstr>PowerPoint Presentation</vt:lpstr>
      <vt:lpstr>Follow up on outstanding external tickets for 508 assistance and VA Profile Opt-in</vt:lpstr>
      <vt:lpstr>Blockers for 1095-B launch</vt:lpstr>
      <vt:lpstr>1095-B Remaining actions, with external dependencies</vt:lpstr>
      <vt:lpstr>Community Care</vt:lpstr>
      <vt:lpstr>Community Care focused workplan v2 </vt:lpstr>
      <vt:lpstr>We conducted a high-level technical discovery into the systems that drive Community Care</vt:lpstr>
      <vt:lpstr>Sprint Deliverables</vt:lpstr>
      <vt:lpstr>Sprint 6 Deliverables 1095-B (1 of 2)</vt:lpstr>
      <vt:lpstr>Sprint 6 Deliverables 1095-B (2 of 2)</vt:lpstr>
      <vt:lpstr>Sprint 6 Deliverables Community Care </vt:lpstr>
      <vt:lpstr>Preview of Sprint 1</vt:lpstr>
      <vt:lpstr>PowerPoint Presentation</vt:lpstr>
      <vt:lpstr>Sprint 1 will run April 20 to May 3rd</vt:lpstr>
      <vt:lpstr>Appendix</vt:lpstr>
      <vt:lpstr>PowerPoint Presentation</vt:lpstr>
      <vt:lpstr>Project risks and mitigation strategies</vt:lpstr>
      <vt:lpstr>PowerPoint Presentation</vt:lpstr>
      <vt:lpstr>PowerPoint Presentation</vt:lpstr>
      <vt:lpstr>PowerPoint Presentation</vt:lpstr>
      <vt:lpstr>PowerPoint Presentation</vt:lpstr>
      <vt:lpstr>Lorem</vt:lpstr>
      <vt:lpstr>Lorem</vt:lpstr>
      <vt:lpstr>Lorem</vt:lpstr>
      <vt:lpstr>Lorem</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print 2 Demo</dc:title>
  <dc:creator>Jordan White</dc:creator>
  <cp:revision>1</cp:revision>
  <cp:lastPrinted>2022-04-18T16:22:55Z</cp:lastPrinted>
  <dcterms:created xsi:type="dcterms:W3CDTF">2022-02-09T22:10:49Z</dcterms:created>
  <dcterms:modified xsi:type="dcterms:W3CDTF">2022-04-19T17:16:27Z</dcterms:modified>
</cp:coreProperties>
</file>